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1"/>
  </p:sldMasterIdLst>
  <p:notesMasterIdLst>
    <p:notesMasterId r:id="rId18"/>
  </p:notesMasterIdLst>
  <p:sldIdLst>
    <p:sldId id="268" r:id="rId12"/>
    <p:sldId id="282" r:id="rId13"/>
    <p:sldId id="275" r:id="rId14"/>
    <p:sldId id="273" r:id="rId15"/>
    <p:sldId id="284" r:id="rId16"/>
    <p:sldId id="283" r:id="rId17"/>
  </p:sldIdLst>
  <p:sldSz cx="7772400" cy="100584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53" userDrawn="1">
          <p15:clr>
            <a:srgbClr val="A4A3A4"/>
          </p15:clr>
        </p15:guide>
        <p15:guide id="3" pos="3659" userDrawn="1">
          <p15:clr>
            <a:srgbClr val="A4A3A4"/>
          </p15:clr>
        </p15:guide>
        <p15:guide id="14" orient="horz" pos="5040" userDrawn="1">
          <p15:clr>
            <a:srgbClr val="A4A3A4"/>
          </p15:clr>
        </p15:guide>
        <p15:guide id="15" orient="horz" pos="37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hushan" initials="BK" lastIdx="1" clrIdx="0">
    <p:extLst>
      <p:ext uri="{19B8F6BF-5375-455C-9EA6-DF929625EA0E}">
        <p15:presenceInfo xmlns:p15="http://schemas.microsoft.com/office/powerpoint/2012/main" userId="Bhush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C3E6"/>
    <a:srgbClr val="11496E"/>
    <a:srgbClr val="F2F2F2"/>
    <a:srgbClr val="EBF5FB"/>
    <a:srgbClr val="D1E8F7"/>
    <a:srgbClr val="145078"/>
    <a:srgbClr val="F5FAFD"/>
    <a:srgbClr val="F9F9F9"/>
    <a:srgbClr val="8B8B8B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CA08D9-7734-4276-9CDB-D702C4959DC9}" v="9" dt="2024-04-23T11:51:37.9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3036" y="72"/>
      </p:cViewPr>
      <p:guideLst>
        <p:guide pos="753"/>
        <p:guide pos="3659"/>
        <p:guide orient="horz" pos="5040"/>
        <p:guide orient="horz" pos="37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https://sgaindia-my.sharepoint.com/personal/mohit_sharma_sganalytics_com/Documents/Peakstone/19.04.2024/Packaging/Peakstone%20Packaging%20Peer%20Analysis_12.31.2023%20Q4_2023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https://sgaindia-my.sharepoint.com/personal/mohit_sharma_sganalytics_com/Documents/Peakstone/19.04.2024/Packaging/Peakstone%20Packaging%20Peer%20Analysis_12.31.2023%20Q4_20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80188348381199E-2"/>
          <c:y val="6.0613698122171815E-2"/>
          <c:w val="0.91580143021196159"/>
          <c:h val="0.630264190899978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ategic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31</c:v>
                </c:pt>
                <c:pt idx="1">
                  <c:v>30</c:v>
                </c:pt>
                <c:pt idx="2">
                  <c:v>26</c:v>
                </c:pt>
                <c:pt idx="3">
                  <c:v>34</c:v>
                </c:pt>
                <c:pt idx="4">
                  <c:v>34</c:v>
                </c:pt>
                <c:pt idx="5">
                  <c:v>46</c:v>
                </c:pt>
                <c:pt idx="6">
                  <c:v>47</c:v>
                </c:pt>
                <c:pt idx="7">
                  <c:v>47</c:v>
                </c:pt>
                <c:pt idx="8">
                  <c:v>35</c:v>
                </c:pt>
                <c:pt idx="9">
                  <c:v>30</c:v>
                </c:pt>
                <c:pt idx="10">
                  <c:v>41</c:v>
                </c:pt>
                <c:pt idx="11">
                  <c:v>50</c:v>
                </c:pt>
                <c:pt idx="12">
                  <c:v>43</c:v>
                </c:pt>
                <c:pt idx="13">
                  <c:v>33</c:v>
                </c:pt>
                <c:pt idx="14">
                  <c:v>54</c:v>
                </c:pt>
                <c:pt idx="15">
                  <c:v>48</c:v>
                </c:pt>
                <c:pt idx="16">
                  <c:v>60</c:v>
                </c:pt>
                <c:pt idx="17">
                  <c:v>52</c:v>
                </c:pt>
                <c:pt idx="18">
                  <c:v>60</c:v>
                </c:pt>
                <c:pt idx="19">
                  <c:v>50</c:v>
                </c:pt>
                <c:pt idx="20">
                  <c:v>48</c:v>
                </c:pt>
                <c:pt idx="21">
                  <c:v>78</c:v>
                </c:pt>
                <c:pt idx="22">
                  <c:v>79</c:v>
                </c:pt>
                <c:pt idx="23">
                  <c:v>43</c:v>
                </c:pt>
                <c:pt idx="2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26-49A8-937B-412F3362110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nancial</c:v>
                </c:pt>
              </c:strCache>
            </c:strRef>
          </c:tx>
          <c:spPr>
            <a:solidFill>
              <a:srgbClr val="D1E8F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C$2:$C$26</c:f>
              <c:numCache>
                <c:formatCode>General</c:formatCode>
                <c:ptCount val="25"/>
                <c:pt idx="0">
                  <c:v>6</c:v>
                </c:pt>
                <c:pt idx="1">
                  <c:v>7</c:v>
                </c:pt>
                <c:pt idx="2">
                  <c:v>7</c:v>
                </c:pt>
                <c:pt idx="3">
                  <c:v>4</c:v>
                </c:pt>
                <c:pt idx="4">
                  <c:v>9</c:v>
                </c:pt>
                <c:pt idx="5">
                  <c:v>9</c:v>
                </c:pt>
                <c:pt idx="6">
                  <c:v>11</c:v>
                </c:pt>
                <c:pt idx="7">
                  <c:v>9</c:v>
                </c:pt>
                <c:pt idx="8">
                  <c:v>6</c:v>
                </c:pt>
                <c:pt idx="9">
                  <c:v>5</c:v>
                </c:pt>
                <c:pt idx="10">
                  <c:v>12</c:v>
                </c:pt>
                <c:pt idx="11">
                  <c:v>4</c:v>
                </c:pt>
                <c:pt idx="12">
                  <c:v>13</c:v>
                </c:pt>
                <c:pt idx="13">
                  <c:v>6</c:v>
                </c:pt>
                <c:pt idx="14">
                  <c:v>18</c:v>
                </c:pt>
                <c:pt idx="15">
                  <c:v>9</c:v>
                </c:pt>
                <c:pt idx="16">
                  <c:v>9</c:v>
                </c:pt>
                <c:pt idx="17">
                  <c:v>10</c:v>
                </c:pt>
                <c:pt idx="18">
                  <c:v>7</c:v>
                </c:pt>
                <c:pt idx="19">
                  <c:v>11</c:v>
                </c:pt>
                <c:pt idx="20">
                  <c:v>12</c:v>
                </c:pt>
                <c:pt idx="21">
                  <c:v>14</c:v>
                </c:pt>
                <c:pt idx="22">
                  <c:v>10</c:v>
                </c:pt>
                <c:pt idx="23">
                  <c:v>8</c:v>
                </c:pt>
                <c:pt idx="2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26-49A8-937B-412F3362110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606642432"/>
        <c:axId val="-606633184"/>
      </c:barChart>
      <c:catAx>
        <c:axId val="-606642432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606633184"/>
        <c:crosses val="autoZero"/>
        <c:auto val="1"/>
        <c:lblAlgn val="ctr"/>
        <c:lblOffset val="100"/>
        <c:tickLblSkip val="1"/>
        <c:noMultiLvlLbl val="1"/>
      </c:catAx>
      <c:valAx>
        <c:axId val="-6066331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606642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1889700473403204"/>
          <c:y val="0.94229958630998945"/>
          <c:w val="0.37997934608991141"/>
          <c:h val="4.8502474028494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006204000187385E-2"/>
          <c:y val="4.8960560393526968E-2"/>
          <c:w val="0.90771723813105132"/>
          <c:h val="0.773310258816985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an 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\$0.0</c:formatCode>
                <c:ptCount val="25"/>
                <c:pt idx="0">
                  <c:v>100</c:v>
                </c:pt>
                <c:pt idx="1">
                  <c:v>26.5</c:v>
                </c:pt>
                <c:pt idx="2">
                  <c:v>52</c:v>
                </c:pt>
                <c:pt idx="3">
                  <c:v>16.5</c:v>
                </c:pt>
                <c:pt idx="4">
                  <c:v>23</c:v>
                </c:pt>
                <c:pt idx="5">
                  <c:v>43.085000000000001</c:v>
                </c:pt>
                <c:pt idx="6">
                  <c:v>56.4</c:v>
                </c:pt>
                <c:pt idx="7">
                  <c:v>73.954999999999998</c:v>
                </c:pt>
                <c:pt idx="8">
                  <c:v>10.004999999999999</c:v>
                </c:pt>
                <c:pt idx="9">
                  <c:v>26.38</c:v>
                </c:pt>
                <c:pt idx="10">
                  <c:v>64.790000000000006</c:v>
                </c:pt>
                <c:pt idx="11">
                  <c:v>44.5</c:v>
                </c:pt>
                <c:pt idx="12">
                  <c:v>45.75</c:v>
                </c:pt>
                <c:pt idx="13">
                  <c:v>83.7</c:v>
                </c:pt>
                <c:pt idx="14">
                  <c:v>80</c:v>
                </c:pt>
                <c:pt idx="15">
                  <c:v>78.849999999999994</c:v>
                </c:pt>
                <c:pt idx="16">
                  <c:v>67.25</c:v>
                </c:pt>
                <c:pt idx="17">
                  <c:v>170</c:v>
                </c:pt>
                <c:pt idx="18">
                  <c:v>54.3</c:v>
                </c:pt>
                <c:pt idx="19">
                  <c:v>74</c:v>
                </c:pt>
                <c:pt idx="20">
                  <c:v>65</c:v>
                </c:pt>
                <c:pt idx="21">
                  <c:v>189</c:v>
                </c:pt>
                <c:pt idx="22">
                  <c:v>151.5</c:v>
                </c:pt>
                <c:pt idx="23" formatCode="General">
                  <c:v>168.8</c:v>
                </c:pt>
                <c:pt idx="24" formatCode="General">
                  <c:v>16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57-4115-B55C-1CBB98A2C8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606637536"/>
        <c:axId val="-427258080"/>
      </c:barChart>
      <c:catAx>
        <c:axId val="-606637536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27258080"/>
        <c:crosses val="autoZero"/>
        <c:auto val="1"/>
        <c:lblAlgn val="ctr"/>
        <c:lblOffset val="100"/>
        <c:tickLblSkip val="1"/>
        <c:noMultiLvlLbl val="1"/>
      </c:catAx>
      <c:valAx>
        <c:axId val="-427258080"/>
        <c:scaling>
          <c:orientation val="minMax"/>
        </c:scaling>
        <c:delete val="0"/>
        <c:axPos val="l"/>
        <c:numFmt formatCode="&quot;$&quot;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606637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713077458761351E-2"/>
          <c:y val="5.5367501679066851E-2"/>
          <c:w val="0.91566690196126832"/>
          <c:h val="0.6606811342519798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V/EBITDA</c:v>
                </c:pt>
              </c:strCache>
            </c:strRef>
          </c:tx>
          <c:spPr>
            <a:ln w="19050" cap="rnd">
              <a:solidFill>
                <a:srgbClr val="145078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5.2540477554683052E-2"/>
                  <c:y val="2.58771673445649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BBB-496A-A9F3-5EF3B21364A6}"/>
                </c:ext>
              </c:extLst>
            </c:dLbl>
            <c:dLbl>
              <c:idx val="2"/>
              <c:layout>
                <c:manualLayout>
                  <c:x val="-4.450216836555064E-2"/>
                  <c:y val="4.46713642293158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BBB-496A-A9F3-5EF3B21364A6}"/>
                </c:ext>
              </c:extLst>
            </c:dLbl>
            <c:dLbl>
              <c:idx val="3"/>
              <c:layout>
                <c:manualLayout>
                  <c:x val="-2.2396818095436567E-2"/>
                  <c:y val="3.52742657869403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BB-496A-A9F3-5EF3B21364A6}"/>
                </c:ext>
              </c:extLst>
            </c:dLbl>
            <c:dLbl>
              <c:idx val="4"/>
              <c:layout>
                <c:manualLayout>
                  <c:x val="-3.0143659459246484E-2"/>
                  <c:y val="-4.22869429906894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9C-4D71-8261-2F55556DBCF8}"/>
                </c:ext>
              </c:extLst>
            </c:dLbl>
            <c:dLbl>
              <c:idx val="5"/>
              <c:layout>
                <c:manualLayout>
                  <c:x val="-3.2444704581852064E-2"/>
                  <c:y val="3.52742657869403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BB-496A-A9F3-5EF3B21364A6}"/>
                </c:ext>
              </c:extLst>
            </c:dLbl>
            <c:dLbl>
              <c:idx val="6"/>
              <c:layout>
                <c:manualLayout>
                  <c:x val="-4.2492591068267554E-2"/>
                  <c:y val="-3.05054233096876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98D-416D-99E6-DF525C4FC1B8}"/>
                </c:ext>
              </c:extLst>
            </c:dLbl>
            <c:dLbl>
              <c:idx val="7"/>
              <c:layout>
                <c:manualLayout>
                  <c:x val="-2.6415972690002839E-2"/>
                  <c:y val="-3.52039725308754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8D-416D-99E6-DF525C4FC1B8}"/>
                </c:ext>
              </c:extLst>
            </c:dLbl>
            <c:dLbl>
              <c:idx val="8"/>
              <c:layout>
                <c:manualLayout>
                  <c:x val="-3.2444704581852064E-2"/>
                  <c:y val="4.37881053888254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5D-4F91-BCCC-E031A0177ECE}"/>
                </c:ext>
              </c:extLst>
            </c:dLbl>
            <c:dLbl>
              <c:idx val="10"/>
              <c:layout>
                <c:manualLayout>
                  <c:x val="-2.4406395392719667E-2"/>
                  <c:y val="3.45768098745087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5D-4F91-BCCC-E031A0177ECE}"/>
                </c:ext>
              </c:extLst>
            </c:dLbl>
            <c:dLbl>
              <c:idx val="11"/>
              <c:layout>
                <c:manualLayout>
                  <c:x val="-3.2444704581852134E-2"/>
                  <c:y val="-3.45079064828662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A0B-41F7-A280-F08C838E155C}"/>
                </c:ext>
              </c:extLst>
            </c:dLbl>
            <c:dLbl>
              <c:idx val="12"/>
              <c:layout>
                <c:manualLayout>
                  <c:x val="-1.6368086203587269E-2"/>
                  <c:y val="-3.05054233096876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2CB-429C-AF88-5F35866E0D4A}"/>
                </c:ext>
              </c:extLst>
            </c:dLbl>
            <c:dLbl>
              <c:idx val="13"/>
              <c:layout>
                <c:manualLayout>
                  <c:x val="-3.0435127284569111E-2"/>
                  <c:y val="3.22938317297838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35D-4F91-BCCC-E031A0177ECE}"/>
                </c:ext>
              </c:extLst>
            </c:dLbl>
            <c:dLbl>
              <c:idx val="14"/>
              <c:layout>
                <c:manualLayout>
                  <c:x val="-4.9084004603356192E-2"/>
                  <c:y val="-3.05054233096877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98D-416D-99E6-DF525C4FC1B8}"/>
                </c:ext>
              </c:extLst>
            </c:dLbl>
            <c:dLbl>
              <c:idx val="15"/>
              <c:layout>
                <c:manualLayout>
                  <c:x val="-1.6930767846826539E-2"/>
                  <c:y val="-2.97162890192314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35D-4F91-BCCC-E031A0177ECE}"/>
                </c:ext>
              </c:extLst>
            </c:dLbl>
            <c:dLbl>
              <c:idx val="16"/>
              <c:layout>
                <c:manualLayout>
                  <c:x val="-3.8545907843949838E-2"/>
                  <c:y val="2.8460364593230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9C-4D71-8261-2F55556DBCF8}"/>
                </c:ext>
              </c:extLst>
            </c:dLbl>
            <c:dLbl>
              <c:idx val="17"/>
              <c:layout>
                <c:manualLayout>
                  <c:x val="-4.5064850008790069E-2"/>
                  <c:y val="-4.38119366827946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0B-41F7-A280-F08C838E155C}"/>
                </c:ext>
              </c:extLst>
            </c:dLbl>
            <c:dLbl>
              <c:idx val="18"/>
              <c:layout>
                <c:manualLayout>
                  <c:x val="-2.4969077035959082E-2"/>
                  <c:y val="-3.44148382404192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5D-4F91-BCCC-E031A0177ECE}"/>
                </c:ext>
              </c:extLst>
            </c:dLbl>
            <c:dLbl>
              <c:idx val="19"/>
              <c:layout>
                <c:manualLayout>
                  <c:x val="-5.0239432432077472E-2"/>
                  <c:y val="3.223953430010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9C-4D71-8261-2F55556DBCF8}"/>
                </c:ext>
              </c:extLst>
            </c:dLbl>
            <c:dLbl>
              <c:idx val="20"/>
              <c:layout>
                <c:manualLayout>
                  <c:x val="-3.0435127284569111E-2"/>
                  <c:y val="-3.43219771495123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35D-4F91-BCCC-E031A0177ECE}"/>
                </c:ext>
              </c:extLst>
            </c:dLbl>
            <c:dLbl>
              <c:idx val="21"/>
              <c:layout>
                <c:manualLayout>
                  <c:x val="-1.0902035954977388E-2"/>
                  <c:y val="2.11786181233772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BE-4A18-BFCB-97F110B721FA}"/>
                </c:ext>
              </c:extLst>
            </c:dLbl>
            <c:dLbl>
              <c:idx val="23"/>
              <c:layout>
                <c:manualLayout>
                  <c:x val="-3.0773116033151526E-2"/>
                  <c:y val="4.93699134505035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DD6-40A2-9826-32CBEB3E53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0.0\x</c:formatCode>
                <c:ptCount val="25"/>
                <c:pt idx="0">
                  <c:v>10.09</c:v>
                </c:pt>
                <c:pt idx="1">
                  <c:v>7.55</c:v>
                </c:pt>
                <c:pt idx="2">
                  <c:v>7.18</c:v>
                </c:pt>
                <c:pt idx="3">
                  <c:v>7.35</c:v>
                </c:pt>
                <c:pt idx="4">
                  <c:v>7</c:v>
                </c:pt>
                <c:pt idx="5">
                  <c:v>6.68</c:v>
                </c:pt>
                <c:pt idx="6">
                  <c:v>7.99</c:v>
                </c:pt>
                <c:pt idx="7">
                  <c:v>8.08</c:v>
                </c:pt>
                <c:pt idx="8">
                  <c:v>7.68</c:v>
                </c:pt>
                <c:pt idx="9">
                  <c:v>11.68</c:v>
                </c:pt>
                <c:pt idx="10">
                  <c:v>7.4350000000000005</c:v>
                </c:pt>
                <c:pt idx="11">
                  <c:v>9.1550000000000011</c:v>
                </c:pt>
                <c:pt idx="12">
                  <c:v>8.6050000000000004</c:v>
                </c:pt>
                <c:pt idx="13">
                  <c:v>6.63</c:v>
                </c:pt>
                <c:pt idx="14">
                  <c:v>10.6</c:v>
                </c:pt>
                <c:pt idx="15">
                  <c:v>11.55</c:v>
                </c:pt>
                <c:pt idx="16">
                  <c:v>5.5600000000000005</c:v>
                </c:pt>
                <c:pt idx="17">
                  <c:v>10.52</c:v>
                </c:pt>
                <c:pt idx="18">
                  <c:v>11.83</c:v>
                </c:pt>
                <c:pt idx="19">
                  <c:v>8.2899999999999991</c:v>
                </c:pt>
                <c:pt idx="20">
                  <c:v>8.9</c:v>
                </c:pt>
                <c:pt idx="21">
                  <c:v>7.04</c:v>
                </c:pt>
                <c:pt idx="22">
                  <c:v>14.5</c:v>
                </c:pt>
                <c:pt idx="23">
                  <c:v>6.3</c:v>
                </c:pt>
                <c:pt idx="24">
                  <c:v>9.30000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9C-4D71-8261-2F55556DBCF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/Revenue</c:v>
                </c:pt>
              </c:strCache>
            </c:strRef>
          </c:tx>
          <c:spPr>
            <a:ln w="19050" cap="sq">
              <a:solidFill>
                <a:srgbClr val="9DC3E6"/>
              </a:solidFill>
              <a:round/>
            </a:ln>
            <a:effectLst/>
          </c:spPr>
          <c:marker>
            <c:symbol val="none"/>
          </c:marker>
          <c:dLbls>
            <c:dLbl>
              <c:idx val="22"/>
              <c:layout>
                <c:manualLayout>
                  <c:x val="-2.8142310352471948E-2"/>
                  <c:y val="-3.05054233096877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98D-416D-99E6-DF525C4FC1B8}"/>
                </c:ext>
              </c:extLst>
            </c:dLbl>
            <c:dLbl>
              <c:idx val="23"/>
              <c:layout>
                <c:manualLayout>
                  <c:x val="-3.0143659459246484E-2"/>
                  <c:y val="-6.33952678580017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DC-48D7-B6DA-F3479FCBC7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C$2:$C$26</c:f>
              <c:numCache>
                <c:formatCode>0.0\x</c:formatCode>
                <c:ptCount val="25"/>
                <c:pt idx="0">
                  <c:v>1.17</c:v>
                </c:pt>
                <c:pt idx="1">
                  <c:v>0.82799999999999996</c:v>
                </c:pt>
                <c:pt idx="2">
                  <c:v>1.1399999999999999</c:v>
                </c:pt>
                <c:pt idx="3">
                  <c:v>0.92249999999999999</c:v>
                </c:pt>
                <c:pt idx="4">
                  <c:v>1.016</c:v>
                </c:pt>
                <c:pt idx="5">
                  <c:v>0.63200000000000001</c:v>
                </c:pt>
                <c:pt idx="6">
                  <c:v>0.8155</c:v>
                </c:pt>
                <c:pt idx="7">
                  <c:v>0.97550000000000003</c:v>
                </c:pt>
                <c:pt idx="8">
                  <c:v>0.86</c:v>
                </c:pt>
                <c:pt idx="9">
                  <c:v>1.405</c:v>
                </c:pt>
                <c:pt idx="10">
                  <c:v>0.98899999999999999</c:v>
                </c:pt>
                <c:pt idx="11">
                  <c:v>0.76900000000000002</c:v>
                </c:pt>
                <c:pt idx="12">
                  <c:v>1.0900000000000001</c:v>
                </c:pt>
                <c:pt idx="13">
                  <c:v>1.016</c:v>
                </c:pt>
                <c:pt idx="14">
                  <c:v>0.92300000000000004</c:v>
                </c:pt>
                <c:pt idx="15">
                  <c:v>0.89300000000000002</c:v>
                </c:pt>
                <c:pt idx="16">
                  <c:v>1.19</c:v>
                </c:pt>
                <c:pt idx="17">
                  <c:v>1.43</c:v>
                </c:pt>
                <c:pt idx="18">
                  <c:v>1.67</c:v>
                </c:pt>
                <c:pt idx="19">
                  <c:v>1.81</c:v>
                </c:pt>
                <c:pt idx="20">
                  <c:v>1.33</c:v>
                </c:pt>
                <c:pt idx="21">
                  <c:v>0.86649999999999994</c:v>
                </c:pt>
                <c:pt idx="22">
                  <c:v>1.52</c:v>
                </c:pt>
                <c:pt idx="23">
                  <c:v>0.5</c:v>
                </c:pt>
                <c:pt idx="2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69C-4D71-8261-2F55556DBC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427256992"/>
        <c:axId val="-427260256"/>
      </c:lineChart>
      <c:catAx>
        <c:axId val="-427256992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27260256"/>
        <c:crosses val="autoZero"/>
        <c:auto val="1"/>
        <c:lblAlgn val="ctr"/>
        <c:lblOffset val="100"/>
        <c:tickLblSkip val="1"/>
        <c:noMultiLvlLbl val="1"/>
      </c:catAx>
      <c:valAx>
        <c:axId val="-427260256"/>
        <c:scaling>
          <c:orientation val="minMax"/>
        </c:scaling>
        <c:delete val="0"/>
        <c:axPos val="l"/>
        <c:numFmt formatCode="0.0\x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427256992"/>
        <c:crosses val="autoZero"/>
        <c:crossBetween val="between"/>
        <c:majorUnit val="3"/>
      </c:valAx>
      <c:spPr>
        <a:noFill/>
        <a:ln w="0" cap="rnd">
          <a:noFill/>
        </a:ln>
        <a:effectLst/>
      </c:spPr>
    </c:plotArea>
    <c:legend>
      <c:legendPos val="b"/>
      <c:layout>
        <c:manualLayout>
          <c:xMode val="edge"/>
          <c:yMode val="edge"/>
          <c:x val="0.34920329754228696"/>
          <c:y val="0.93353578842161911"/>
          <c:w val="0.30132450377271958"/>
          <c:h val="6.19819387017024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190950201324993E-2"/>
          <c:y val="6.0626102292768956E-2"/>
          <c:w val="0.72203119191646103"/>
          <c:h val="0.84102607310272981"/>
        </c:manualLayout>
      </c:layout>
      <c:lineChart>
        <c:grouping val="standard"/>
        <c:varyColors val="0"/>
        <c:ser>
          <c:idx val="0"/>
          <c:order val="0"/>
          <c:tx>
            <c:strRef>
              <c:f>'[Peakstone Packaging Peer Analysis_12.31.2023 Q4_2023.xlsx]EBITDA Graph'!$D$24</c:f>
              <c:strCache>
                <c:ptCount val="1"/>
                <c:pt idx="0">
                  <c:v>Peakstone Plastic, Metal and Glass Containers Index</c:v>
                </c:pt>
              </c:strCache>
            </c:strRef>
          </c:tx>
          <c:spPr>
            <a:ln w="19050">
              <a:solidFill>
                <a:srgbClr val="145078"/>
              </a:solidFill>
            </a:ln>
          </c:spPr>
          <c:marker>
            <c:symbol val="none"/>
          </c:marker>
          <c:cat>
            <c:numRef>
              <c:f>'[Peakstone Packaging Peer Analysis_12.31.2023 Q4_2023.xlsx]EBITDA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EBITDA Graph'!$D$26:$D$312</c:f>
              <c:numCache>
                <c:formatCode>#,##0.0\x</c:formatCode>
                <c:ptCount val="287"/>
                <c:pt idx="0">
                  <c:v>8.7248900000000003</c:v>
                </c:pt>
                <c:pt idx="1">
                  <c:v>8.6724700000000006</c:v>
                </c:pt>
                <c:pt idx="2">
                  <c:v>8.2681450000000005</c:v>
                </c:pt>
                <c:pt idx="3">
                  <c:v>8.3128849999999996</c:v>
                </c:pt>
                <c:pt idx="4">
                  <c:v>9.1843900000000005</c:v>
                </c:pt>
                <c:pt idx="5">
                  <c:v>9.1829400000000003</c:v>
                </c:pt>
                <c:pt idx="6">
                  <c:v>9.3122100000000003</c:v>
                </c:pt>
                <c:pt idx="7">
                  <c:v>9.3766099999999994</c:v>
                </c:pt>
                <c:pt idx="8">
                  <c:v>9.0887950000000011</c:v>
                </c:pt>
                <c:pt idx="9">
                  <c:v>8.8936250000000001</c:v>
                </c:pt>
                <c:pt idx="10">
                  <c:v>8.7465450000000011</c:v>
                </c:pt>
                <c:pt idx="11">
                  <c:v>8.6044799999999988</c:v>
                </c:pt>
                <c:pt idx="12">
                  <c:v>8.5118500000000008</c:v>
                </c:pt>
                <c:pt idx="13">
                  <c:v>8.7068600000000007</c:v>
                </c:pt>
                <c:pt idx="14">
                  <c:v>8.7556949999999993</c:v>
                </c:pt>
                <c:pt idx="15">
                  <c:v>8.8874849999999999</c:v>
                </c:pt>
                <c:pt idx="16">
                  <c:v>8.6119249999999994</c:v>
                </c:pt>
                <c:pt idx="17">
                  <c:v>8.8028900000000014</c:v>
                </c:pt>
                <c:pt idx="18">
                  <c:v>8.9090249999999997</c:v>
                </c:pt>
                <c:pt idx="19">
                  <c:v>8.4025299999999987</c:v>
                </c:pt>
                <c:pt idx="20">
                  <c:v>8.267199999999999</c:v>
                </c:pt>
                <c:pt idx="21">
                  <c:v>8.4075750000000014</c:v>
                </c:pt>
                <c:pt idx="22">
                  <c:v>8.4534300000000009</c:v>
                </c:pt>
                <c:pt idx="23">
                  <c:v>8.7188149999999993</c:v>
                </c:pt>
                <c:pt idx="24">
                  <c:v>8.7221100000000007</c:v>
                </c:pt>
                <c:pt idx="25">
                  <c:v>8.3309800000000003</c:v>
                </c:pt>
                <c:pt idx="26">
                  <c:v>8.419789999999999</c:v>
                </c:pt>
                <c:pt idx="27">
                  <c:v>8.0892900000000001</c:v>
                </c:pt>
                <c:pt idx="28">
                  <c:v>8.7023599999999988</c:v>
                </c:pt>
                <c:pt idx="29">
                  <c:v>9.1951099999999997</c:v>
                </c:pt>
                <c:pt idx="30">
                  <c:v>8.97912</c:v>
                </c:pt>
                <c:pt idx="31">
                  <c:v>8.7809299999999997</c:v>
                </c:pt>
                <c:pt idx="32">
                  <c:v>8.6018849999999993</c:v>
                </c:pt>
                <c:pt idx="33">
                  <c:v>8.5978549999999991</c:v>
                </c:pt>
                <c:pt idx="34">
                  <c:v>8.6443750000000001</c:v>
                </c:pt>
                <c:pt idx="35">
                  <c:v>8.8232350000000004</c:v>
                </c:pt>
                <c:pt idx="36">
                  <c:v>8.5369349999999997</c:v>
                </c:pt>
                <c:pt idx="37">
                  <c:v>8.4811350000000001</c:v>
                </c:pt>
                <c:pt idx="38">
                  <c:v>8.347764999999999</c:v>
                </c:pt>
                <c:pt idx="39">
                  <c:v>8.1964550000000003</c:v>
                </c:pt>
                <c:pt idx="40">
                  <c:v>8.6883099999999995</c:v>
                </c:pt>
                <c:pt idx="41">
                  <c:v>8.788219999999999</c:v>
                </c:pt>
                <c:pt idx="42">
                  <c:v>9.4772549999999995</c:v>
                </c:pt>
                <c:pt idx="43">
                  <c:v>9.1745049999999999</c:v>
                </c:pt>
                <c:pt idx="44">
                  <c:v>9.5011799999999997</c:v>
                </c:pt>
                <c:pt idx="45">
                  <c:v>9.3523400000000017</c:v>
                </c:pt>
                <c:pt idx="46">
                  <c:v>9.649560000000001</c:v>
                </c:pt>
                <c:pt idx="47">
                  <c:v>9.9414499999999997</c:v>
                </c:pt>
                <c:pt idx="48">
                  <c:v>9.9729500000000009</c:v>
                </c:pt>
                <c:pt idx="49">
                  <c:v>9.9657649999999993</c:v>
                </c:pt>
                <c:pt idx="50">
                  <c:v>10.120950000000001</c:v>
                </c:pt>
                <c:pt idx="51">
                  <c:v>9.8386549999999993</c:v>
                </c:pt>
                <c:pt idx="52">
                  <c:v>9.7545400000000004</c:v>
                </c:pt>
                <c:pt idx="53">
                  <c:v>9.856539999999999</c:v>
                </c:pt>
                <c:pt idx="54">
                  <c:v>9.636215</c:v>
                </c:pt>
                <c:pt idx="55">
                  <c:v>10.65273</c:v>
                </c:pt>
                <c:pt idx="56">
                  <c:v>9.5419049999999999</c:v>
                </c:pt>
                <c:pt idx="57">
                  <c:v>9.5296300000000009</c:v>
                </c:pt>
                <c:pt idx="58">
                  <c:v>9.5036100000000001</c:v>
                </c:pt>
                <c:pt idx="59">
                  <c:v>9.248265</c:v>
                </c:pt>
                <c:pt idx="60">
                  <c:v>9.3957200000000007</c:v>
                </c:pt>
                <c:pt idx="61">
                  <c:v>9.5098449999999985</c:v>
                </c:pt>
                <c:pt idx="62">
                  <c:v>9.6507700000000014</c:v>
                </c:pt>
                <c:pt idx="63">
                  <c:v>9.6169049999999991</c:v>
                </c:pt>
                <c:pt idx="64">
                  <c:v>9.6309350000000009</c:v>
                </c:pt>
                <c:pt idx="65">
                  <c:v>9.513539999999999</c:v>
                </c:pt>
                <c:pt idx="66">
                  <c:v>9.9762900000000005</c:v>
                </c:pt>
                <c:pt idx="67">
                  <c:v>10.267175</c:v>
                </c:pt>
                <c:pt idx="68">
                  <c:v>10.026624999999999</c:v>
                </c:pt>
                <c:pt idx="69">
                  <c:v>9.9164349999999999</c:v>
                </c:pt>
                <c:pt idx="70">
                  <c:v>10.46471</c:v>
                </c:pt>
                <c:pt idx="71">
                  <c:v>11.104579999999999</c:v>
                </c:pt>
                <c:pt idx="72">
                  <c:v>10.90676</c:v>
                </c:pt>
                <c:pt idx="73">
                  <c:v>11.0063</c:v>
                </c:pt>
                <c:pt idx="74">
                  <c:v>10.894769999999999</c:v>
                </c:pt>
                <c:pt idx="75">
                  <c:v>11.176410000000001</c:v>
                </c:pt>
                <c:pt idx="76">
                  <c:v>10.933545000000001</c:v>
                </c:pt>
                <c:pt idx="77">
                  <c:v>11.09811</c:v>
                </c:pt>
                <c:pt idx="78">
                  <c:v>10.978120000000001</c:v>
                </c:pt>
                <c:pt idx="79">
                  <c:v>10.901119999999999</c:v>
                </c:pt>
                <c:pt idx="80">
                  <c:v>10.585834999999999</c:v>
                </c:pt>
                <c:pt idx="81">
                  <c:v>10.715575000000001</c:v>
                </c:pt>
                <c:pt idx="82">
                  <c:v>10.814540000000001</c:v>
                </c:pt>
                <c:pt idx="83">
                  <c:v>10.916435</c:v>
                </c:pt>
                <c:pt idx="84">
                  <c:v>10.521265</c:v>
                </c:pt>
                <c:pt idx="85">
                  <c:v>9.9858799999999999</c:v>
                </c:pt>
                <c:pt idx="86">
                  <c:v>9.7794300000000014</c:v>
                </c:pt>
                <c:pt idx="87">
                  <c:v>9.7962099999999985</c:v>
                </c:pt>
                <c:pt idx="88">
                  <c:v>9.6496549999999992</c:v>
                </c:pt>
                <c:pt idx="89">
                  <c:v>9.4613250000000004</c:v>
                </c:pt>
                <c:pt idx="90">
                  <c:v>10.635035</c:v>
                </c:pt>
                <c:pt idx="91">
                  <c:v>10.319600000000001</c:v>
                </c:pt>
                <c:pt idx="92">
                  <c:v>10.539709999999999</c:v>
                </c:pt>
                <c:pt idx="93">
                  <c:v>10.276425</c:v>
                </c:pt>
                <c:pt idx="94">
                  <c:v>10.165659999999999</c:v>
                </c:pt>
                <c:pt idx="95">
                  <c:v>10.40474</c:v>
                </c:pt>
                <c:pt idx="96">
                  <c:v>10.097905000000001</c:v>
                </c:pt>
                <c:pt idx="97">
                  <c:v>9.1969650000000005</c:v>
                </c:pt>
                <c:pt idx="98">
                  <c:v>8.9632649999999998</c:v>
                </c:pt>
                <c:pt idx="99">
                  <c:v>9.061869999999999</c:v>
                </c:pt>
                <c:pt idx="100">
                  <c:v>9.2914600000000007</c:v>
                </c:pt>
                <c:pt idx="101">
                  <c:v>9.06935</c:v>
                </c:pt>
                <c:pt idx="102">
                  <c:v>9.200289999999999</c:v>
                </c:pt>
                <c:pt idx="103">
                  <c:v>8.963709999999999</c:v>
                </c:pt>
                <c:pt idx="104">
                  <c:v>8.30002</c:v>
                </c:pt>
                <c:pt idx="105">
                  <c:v>7.7979849999999997</c:v>
                </c:pt>
                <c:pt idx="106">
                  <c:v>8.735199999999999</c:v>
                </c:pt>
                <c:pt idx="107">
                  <c:v>9.7584750000000007</c:v>
                </c:pt>
                <c:pt idx="108">
                  <c:v>10.29523</c:v>
                </c:pt>
                <c:pt idx="109">
                  <c:v>11.194345</c:v>
                </c:pt>
                <c:pt idx="110">
                  <c:v>10.981845</c:v>
                </c:pt>
                <c:pt idx="111">
                  <c:v>11.16994</c:v>
                </c:pt>
                <c:pt idx="112">
                  <c:v>11.095124999999999</c:v>
                </c:pt>
                <c:pt idx="113">
                  <c:v>11.257529999999999</c:v>
                </c:pt>
                <c:pt idx="114">
                  <c:v>9.8483000000000001</c:v>
                </c:pt>
                <c:pt idx="115">
                  <c:v>11.072295</c:v>
                </c:pt>
                <c:pt idx="116">
                  <c:v>10.71618</c:v>
                </c:pt>
                <c:pt idx="117">
                  <c:v>10.389745000000001</c:v>
                </c:pt>
                <c:pt idx="118">
                  <c:v>10.658429999999999</c:v>
                </c:pt>
                <c:pt idx="119">
                  <c:v>10.55644</c:v>
                </c:pt>
                <c:pt idx="120">
                  <c:v>10.162230000000001</c:v>
                </c:pt>
                <c:pt idx="121">
                  <c:v>10.3604</c:v>
                </c:pt>
                <c:pt idx="122">
                  <c:v>10.740604999999999</c:v>
                </c:pt>
                <c:pt idx="123">
                  <c:v>10.580275</c:v>
                </c:pt>
                <c:pt idx="124">
                  <c:v>10.68369</c:v>
                </c:pt>
                <c:pt idx="125">
                  <c:v>10.346450000000001</c:v>
                </c:pt>
                <c:pt idx="126">
                  <c:v>9.9762200000000014</c:v>
                </c:pt>
                <c:pt idx="127">
                  <c:v>10.079039999999999</c:v>
                </c:pt>
                <c:pt idx="128">
                  <c:v>10.483029999999999</c:v>
                </c:pt>
                <c:pt idx="129">
                  <c:v>10.385635000000001</c:v>
                </c:pt>
                <c:pt idx="130">
                  <c:v>10.66752</c:v>
                </c:pt>
                <c:pt idx="131">
                  <c:v>10.367560000000001</c:v>
                </c:pt>
                <c:pt idx="132">
                  <c:v>10.256879999999999</c:v>
                </c:pt>
                <c:pt idx="133">
                  <c:v>10.32423</c:v>
                </c:pt>
                <c:pt idx="134">
                  <c:v>9.1526350000000001</c:v>
                </c:pt>
                <c:pt idx="135">
                  <c:v>9.495000000000001</c:v>
                </c:pt>
                <c:pt idx="136">
                  <c:v>9.3034649999999992</c:v>
                </c:pt>
                <c:pt idx="137">
                  <c:v>8.8780599999999996</c:v>
                </c:pt>
                <c:pt idx="138">
                  <c:v>9.3055650000000014</c:v>
                </c:pt>
                <c:pt idx="139">
                  <c:v>9.5034950000000009</c:v>
                </c:pt>
                <c:pt idx="140">
                  <c:v>9.1147200000000002</c:v>
                </c:pt>
                <c:pt idx="141">
                  <c:v>9.3182000000000009</c:v>
                </c:pt>
                <c:pt idx="142">
                  <c:v>9.1596299999999999</c:v>
                </c:pt>
                <c:pt idx="143">
                  <c:v>9.3672649999999997</c:v>
                </c:pt>
                <c:pt idx="144">
                  <c:v>9.8228349999999995</c:v>
                </c:pt>
                <c:pt idx="145">
                  <c:v>9.5998599999999996</c:v>
                </c:pt>
                <c:pt idx="146">
                  <c:v>9.6211599999999997</c:v>
                </c:pt>
                <c:pt idx="147">
                  <c:v>9.6264399999999988</c:v>
                </c:pt>
                <c:pt idx="148">
                  <c:v>10.182275000000001</c:v>
                </c:pt>
                <c:pt idx="149">
                  <c:v>9.8934500000000014</c:v>
                </c:pt>
                <c:pt idx="150">
                  <c:v>10.024585</c:v>
                </c:pt>
                <c:pt idx="151">
                  <c:v>10.17023</c:v>
                </c:pt>
                <c:pt idx="152">
                  <c:v>10.197185000000001</c:v>
                </c:pt>
                <c:pt idx="153">
                  <c:v>10.303184999999999</c:v>
                </c:pt>
                <c:pt idx="154">
                  <c:v>10.333909999999999</c:v>
                </c:pt>
                <c:pt idx="155">
                  <c:v>10.48699</c:v>
                </c:pt>
                <c:pt idx="156">
                  <c:v>10.405324999999999</c:v>
                </c:pt>
                <c:pt idx="157">
                  <c:v>10.305569999999999</c:v>
                </c:pt>
                <c:pt idx="158">
                  <c:v>10.684685</c:v>
                </c:pt>
                <c:pt idx="159">
                  <c:v>10.055199999999999</c:v>
                </c:pt>
                <c:pt idx="160">
                  <c:v>9.92971</c:v>
                </c:pt>
                <c:pt idx="161">
                  <c:v>10.750145</c:v>
                </c:pt>
                <c:pt idx="162">
                  <c:v>10.910309999999999</c:v>
                </c:pt>
                <c:pt idx="163">
                  <c:v>10.8736</c:v>
                </c:pt>
                <c:pt idx="164">
                  <c:v>11.015105</c:v>
                </c:pt>
                <c:pt idx="165">
                  <c:v>10.991714999999999</c:v>
                </c:pt>
                <c:pt idx="166">
                  <c:v>10.93342</c:v>
                </c:pt>
                <c:pt idx="167">
                  <c:v>11.530204999999999</c:v>
                </c:pt>
                <c:pt idx="168">
                  <c:v>11.663945</c:v>
                </c:pt>
                <c:pt idx="169">
                  <c:v>11.80674</c:v>
                </c:pt>
                <c:pt idx="170">
                  <c:v>11.59751</c:v>
                </c:pt>
                <c:pt idx="171">
                  <c:v>11.60534</c:v>
                </c:pt>
                <c:pt idx="172">
                  <c:v>11.499749999999999</c:v>
                </c:pt>
                <c:pt idx="173">
                  <c:v>11.495194999999999</c:v>
                </c:pt>
                <c:pt idx="174">
                  <c:v>11.572065</c:v>
                </c:pt>
                <c:pt idx="175">
                  <c:v>11.219484999999999</c:v>
                </c:pt>
                <c:pt idx="176">
                  <c:v>11.202065000000001</c:v>
                </c:pt>
                <c:pt idx="177">
                  <c:v>11.496635000000001</c:v>
                </c:pt>
                <c:pt idx="178">
                  <c:v>11.452555</c:v>
                </c:pt>
                <c:pt idx="179">
                  <c:v>11.202605</c:v>
                </c:pt>
                <c:pt idx="180">
                  <c:v>11.231260000000001</c:v>
                </c:pt>
                <c:pt idx="181">
                  <c:v>10.727415000000001</c:v>
                </c:pt>
                <c:pt idx="182">
                  <c:v>10.593250000000001</c:v>
                </c:pt>
                <c:pt idx="183">
                  <c:v>10.504774999999999</c:v>
                </c:pt>
                <c:pt idx="184">
                  <c:v>10.273465</c:v>
                </c:pt>
                <c:pt idx="185">
                  <c:v>10.538160000000001</c:v>
                </c:pt>
                <c:pt idx="186">
                  <c:v>10.403230000000001</c:v>
                </c:pt>
                <c:pt idx="187">
                  <c:v>10.705884999999999</c:v>
                </c:pt>
                <c:pt idx="188">
                  <c:v>10.3484</c:v>
                </c:pt>
                <c:pt idx="189">
                  <c:v>10.207460000000001</c:v>
                </c:pt>
                <c:pt idx="190">
                  <c:v>10.457660000000001</c:v>
                </c:pt>
                <c:pt idx="191">
                  <c:v>10.23733</c:v>
                </c:pt>
                <c:pt idx="192">
                  <c:v>10.60172</c:v>
                </c:pt>
                <c:pt idx="193">
                  <c:v>10.38349</c:v>
                </c:pt>
                <c:pt idx="194">
                  <c:v>10.654645</c:v>
                </c:pt>
                <c:pt idx="195">
                  <c:v>10.644785000000001</c:v>
                </c:pt>
                <c:pt idx="196">
                  <c:v>10.891335</c:v>
                </c:pt>
                <c:pt idx="197">
                  <c:v>10.581230000000001</c:v>
                </c:pt>
                <c:pt idx="198">
                  <c:v>10.8987</c:v>
                </c:pt>
                <c:pt idx="199">
                  <c:v>10.90264</c:v>
                </c:pt>
                <c:pt idx="200">
                  <c:v>10.906395</c:v>
                </c:pt>
                <c:pt idx="201">
                  <c:v>10.611744999999999</c:v>
                </c:pt>
                <c:pt idx="202">
                  <c:v>10.491869999999999</c:v>
                </c:pt>
                <c:pt idx="203">
                  <c:v>10.55002</c:v>
                </c:pt>
                <c:pt idx="204">
                  <c:v>10.70487</c:v>
                </c:pt>
                <c:pt idx="205">
                  <c:v>10.395824999999999</c:v>
                </c:pt>
                <c:pt idx="206">
                  <c:v>10.582995</c:v>
                </c:pt>
                <c:pt idx="207">
                  <c:v>10.553834999999999</c:v>
                </c:pt>
                <c:pt idx="208">
                  <c:v>10.126365</c:v>
                </c:pt>
                <c:pt idx="209">
                  <c:v>10.08071</c:v>
                </c:pt>
                <c:pt idx="210">
                  <c:v>9.9588999999999999</c:v>
                </c:pt>
                <c:pt idx="211">
                  <c:v>9.6755800000000001</c:v>
                </c:pt>
                <c:pt idx="212">
                  <c:v>9.298235</c:v>
                </c:pt>
                <c:pt idx="213">
                  <c:v>9.6927649999999996</c:v>
                </c:pt>
                <c:pt idx="214">
                  <c:v>9.6333750000000009</c:v>
                </c:pt>
                <c:pt idx="215">
                  <c:v>10.25615</c:v>
                </c:pt>
                <c:pt idx="216">
                  <c:v>10.003399999999999</c:v>
                </c:pt>
                <c:pt idx="217">
                  <c:v>10.332000000000001</c:v>
                </c:pt>
                <c:pt idx="218">
                  <c:v>10.175405000000001</c:v>
                </c:pt>
                <c:pt idx="219">
                  <c:v>9.9708500000000004</c:v>
                </c:pt>
                <c:pt idx="220">
                  <c:v>10.0321</c:v>
                </c:pt>
                <c:pt idx="221">
                  <c:v>10.043485</c:v>
                </c:pt>
                <c:pt idx="222">
                  <c:v>9.6012199999999996</c:v>
                </c:pt>
                <c:pt idx="223">
                  <c:v>9.6800350000000002</c:v>
                </c:pt>
                <c:pt idx="224">
                  <c:v>9.6923700000000004</c:v>
                </c:pt>
                <c:pt idx="225">
                  <c:v>10.010014999999999</c:v>
                </c:pt>
                <c:pt idx="226">
                  <c:v>9.9048100000000012</c:v>
                </c:pt>
                <c:pt idx="227">
                  <c:v>10.171720000000001</c:v>
                </c:pt>
                <c:pt idx="228">
                  <c:v>10.12744</c:v>
                </c:pt>
                <c:pt idx="229">
                  <c:v>10.193455</c:v>
                </c:pt>
                <c:pt idx="230">
                  <c:v>10.090005000000001</c:v>
                </c:pt>
                <c:pt idx="231">
                  <c:v>10.276365</c:v>
                </c:pt>
                <c:pt idx="232">
                  <c:v>10.084595</c:v>
                </c:pt>
                <c:pt idx="233">
                  <c:v>10.513680000000001</c:v>
                </c:pt>
                <c:pt idx="234">
                  <c:v>9.9020799999999998</c:v>
                </c:pt>
                <c:pt idx="235">
                  <c:v>9.8131500000000003</c:v>
                </c:pt>
                <c:pt idx="236">
                  <c:v>9.4972799999999999</c:v>
                </c:pt>
                <c:pt idx="237">
                  <c:v>10.304925000000001</c:v>
                </c:pt>
                <c:pt idx="238">
                  <c:v>10.08085</c:v>
                </c:pt>
                <c:pt idx="239">
                  <c:v>9.549455</c:v>
                </c:pt>
                <c:pt idx="240">
                  <c:v>9.6796000000000006</c:v>
                </c:pt>
                <c:pt idx="241">
                  <c:v>9.9252099999999999</c:v>
                </c:pt>
                <c:pt idx="242">
                  <c:v>9.9751450000000013</c:v>
                </c:pt>
                <c:pt idx="243">
                  <c:v>9.7832049999999988</c:v>
                </c:pt>
                <c:pt idx="244">
                  <c:v>9.4669399999999992</c:v>
                </c:pt>
                <c:pt idx="245">
                  <c:v>9.4435400000000005</c:v>
                </c:pt>
                <c:pt idx="246">
                  <c:v>9.3365949999999991</c:v>
                </c:pt>
                <c:pt idx="247">
                  <c:v>9.2850099999999998</c:v>
                </c:pt>
                <c:pt idx="248">
                  <c:v>9.4004399999999997</c:v>
                </c:pt>
                <c:pt idx="249">
                  <c:v>9.6581100000000006</c:v>
                </c:pt>
                <c:pt idx="250">
                  <c:v>9.7116049999999987</c:v>
                </c:pt>
                <c:pt idx="251">
                  <c:v>9.5866749999999996</c:v>
                </c:pt>
                <c:pt idx="252">
                  <c:v>9.5847799999999985</c:v>
                </c:pt>
                <c:pt idx="253">
                  <c:v>9.8367599999999999</c:v>
                </c:pt>
                <c:pt idx="254">
                  <c:v>9.8525200000000002</c:v>
                </c:pt>
                <c:pt idx="255">
                  <c:v>9.690529999999999</c:v>
                </c:pt>
                <c:pt idx="256">
                  <c:v>9.8873350000000002</c:v>
                </c:pt>
                <c:pt idx="257">
                  <c:v>9.8593250000000001</c:v>
                </c:pt>
                <c:pt idx="258">
                  <c:v>9.6074799999999989</c:v>
                </c:pt>
                <c:pt idx="259">
                  <c:v>9.4688350000000003</c:v>
                </c:pt>
                <c:pt idx="260">
                  <c:v>9.1855000000000011</c:v>
                </c:pt>
                <c:pt idx="261">
                  <c:v>9.0888650000000002</c:v>
                </c:pt>
                <c:pt idx="262">
                  <c:v>9.0473250000000007</c:v>
                </c:pt>
                <c:pt idx="263">
                  <c:v>9.0579649999999994</c:v>
                </c:pt>
                <c:pt idx="264">
                  <c:v>8.9521599999999992</c:v>
                </c:pt>
                <c:pt idx="265">
                  <c:v>8.8848649999999996</c:v>
                </c:pt>
                <c:pt idx="266">
                  <c:v>9.2197949999999995</c:v>
                </c:pt>
                <c:pt idx="267">
                  <c:v>9.4435450000000003</c:v>
                </c:pt>
                <c:pt idx="268">
                  <c:v>9.3319650000000003</c:v>
                </c:pt>
                <c:pt idx="269">
                  <c:v>9.2746199999999988</c:v>
                </c:pt>
                <c:pt idx="270">
                  <c:v>9.2482849999999992</c:v>
                </c:pt>
                <c:pt idx="271">
                  <c:v>9.1078600000000005</c:v>
                </c:pt>
                <c:pt idx="272">
                  <c:v>8.9752650000000003</c:v>
                </c:pt>
                <c:pt idx="273">
                  <c:v>8.7969450000000009</c:v>
                </c:pt>
                <c:pt idx="274">
                  <c:v>8.8157350000000001</c:v>
                </c:pt>
                <c:pt idx="275">
                  <c:v>8.8037099999999988</c:v>
                </c:pt>
                <c:pt idx="276">
                  <c:v>8.8708050000000007</c:v>
                </c:pt>
                <c:pt idx="277">
                  <c:v>8.9582300000000004</c:v>
                </c:pt>
                <c:pt idx="278">
                  <c:v>9.1577249999999992</c:v>
                </c:pt>
                <c:pt idx="279">
                  <c:v>9.0368950000000012</c:v>
                </c:pt>
                <c:pt idx="280">
                  <c:v>8.8398599999999998</c:v>
                </c:pt>
                <c:pt idx="281">
                  <c:v>8.73569</c:v>
                </c:pt>
                <c:pt idx="282">
                  <c:v>8.9044950000000007</c:v>
                </c:pt>
                <c:pt idx="283">
                  <c:v>8.8964350000000003</c:v>
                </c:pt>
                <c:pt idx="284">
                  <c:v>8.9804150000000007</c:v>
                </c:pt>
                <c:pt idx="285">
                  <c:v>8.6494150000000012</c:v>
                </c:pt>
                <c:pt idx="286">
                  <c:v>8.580590000000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CCC-4D2C-B398-81D883D77703}"/>
            </c:ext>
          </c:extLst>
        </c:ser>
        <c:ser>
          <c:idx val="1"/>
          <c:order val="1"/>
          <c:tx>
            <c:strRef>
              <c:f>'[Peakstone Packaging Peer Analysis_12.31.2023 Q4_2023.xlsx]EBITDA Graph'!$E$24</c:f>
              <c:strCache>
                <c:ptCount val="1"/>
                <c:pt idx="0">
                  <c:v>Peakstone Paper Packaging Index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[Peakstone Packaging Peer Analysis_12.31.2023 Q4_2023.xlsx]EBITDA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EBITDA Graph'!$E$26:$E$312</c:f>
              <c:numCache>
                <c:formatCode>#,##0.0\x</c:formatCode>
                <c:ptCount val="287"/>
                <c:pt idx="0">
                  <c:v>7.8060400000000003</c:v>
                </c:pt>
                <c:pt idx="1">
                  <c:v>7.7269699999999997</c:v>
                </c:pt>
                <c:pt idx="2">
                  <c:v>7.7029899999999998</c:v>
                </c:pt>
                <c:pt idx="3">
                  <c:v>7.6783900000000003</c:v>
                </c:pt>
                <c:pt idx="4">
                  <c:v>7.8499299999999996</c:v>
                </c:pt>
                <c:pt idx="5">
                  <c:v>7.8853600000000004</c:v>
                </c:pt>
                <c:pt idx="6">
                  <c:v>7.9406600000000003</c:v>
                </c:pt>
                <c:pt idx="7">
                  <c:v>7.7808099999999998</c:v>
                </c:pt>
                <c:pt idx="8">
                  <c:v>7.6373699999999998</c:v>
                </c:pt>
                <c:pt idx="9">
                  <c:v>7.7220500000000003</c:v>
                </c:pt>
                <c:pt idx="10">
                  <c:v>7.5933099999999998</c:v>
                </c:pt>
                <c:pt idx="11">
                  <c:v>7.0766400000000003</c:v>
                </c:pt>
                <c:pt idx="12">
                  <c:v>7.2676299999999996</c:v>
                </c:pt>
                <c:pt idx="13">
                  <c:v>7.3952400000000003</c:v>
                </c:pt>
                <c:pt idx="14">
                  <c:v>7.5005800000000002</c:v>
                </c:pt>
                <c:pt idx="15">
                  <c:v>7.6692999999999998</c:v>
                </c:pt>
                <c:pt idx="16">
                  <c:v>7.516</c:v>
                </c:pt>
                <c:pt idx="17">
                  <c:v>7.6787200000000002</c:v>
                </c:pt>
                <c:pt idx="18">
                  <c:v>7.2737299999999996</c:v>
                </c:pt>
                <c:pt idx="19">
                  <c:v>7.0569800000000003</c:v>
                </c:pt>
                <c:pt idx="20">
                  <c:v>6.8925200000000002</c:v>
                </c:pt>
                <c:pt idx="21">
                  <c:v>7.3187699999999998</c:v>
                </c:pt>
                <c:pt idx="22">
                  <c:v>7.0185899999999997</c:v>
                </c:pt>
                <c:pt idx="23">
                  <c:v>7.22424</c:v>
                </c:pt>
                <c:pt idx="24">
                  <c:v>7.7338500000000003</c:v>
                </c:pt>
                <c:pt idx="25">
                  <c:v>7.5411999999999999</c:v>
                </c:pt>
                <c:pt idx="26">
                  <c:v>7.66873</c:v>
                </c:pt>
                <c:pt idx="27">
                  <c:v>7.1994800000000003</c:v>
                </c:pt>
                <c:pt idx="28">
                  <c:v>7.5061400000000003</c:v>
                </c:pt>
                <c:pt idx="29">
                  <c:v>7.9403699999999997</c:v>
                </c:pt>
                <c:pt idx="30">
                  <c:v>8.15001</c:v>
                </c:pt>
                <c:pt idx="31">
                  <c:v>7.9328900000000004</c:v>
                </c:pt>
                <c:pt idx="32">
                  <c:v>7.98421</c:v>
                </c:pt>
                <c:pt idx="33">
                  <c:v>7.8578900000000003</c:v>
                </c:pt>
                <c:pt idx="34">
                  <c:v>7.8421000000000003</c:v>
                </c:pt>
                <c:pt idx="35">
                  <c:v>7.9763200000000003</c:v>
                </c:pt>
                <c:pt idx="36">
                  <c:v>7.7473599999999996</c:v>
                </c:pt>
                <c:pt idx="37">
                  <c:v>8.0256600000000002</c:v>
                </c:pt>
                <c:pt idx="38">
                  <c:v>8.4636300000000002</c:v>
                </c:pt>
                <c:pt idx="39">
                  <c:v>8.3007000000000009</c:v>
                </c:pt>
                <c:pt idx="40">
                  <c:v>8.7450500000000009</c:v>
                </c:pt>
                <c:pt idx="41">
                  <c:v>8.9845500000000005</c:v>
                </c:pt>
                <c:pt idx="42">
                  <c:v>9.1691099999999999</c:v>
                </c:pt>
                <c:pt idx="43">
                  <c:v>8.8307400000000005</c:v>
                </c:pt>
                <c:pt idx="44">
                  <c:v>9.3680099999999999</c:v>
                </c:pt>
                <c:pt idx="45">
                  <c:v>9.7391199999999998</c:v>
                </c:pt>
                <c:pt idx="46">
                  <c:v>9.6290999999999993</c:v>
                </c:pt>
                <c:pt idx="47">
                  <c:v>9.8638100000000009</c:v>
                </c:pt>
                <c:pt idx="48">
                  <c:v>10.10586</c:v>
                </c:pt>
                <c:pt idx="49">
                  <c:v>9.6119800000000009</c:v>
                </c:pt>
                <c:pt idx="50">
                  <c:v>9.9469399999999997</c:v>
                </c:pt>
                <c:pt idx="51">
                  <c:v>10.720470000000001</c:v>
                </c:pt>
                <c:pt idx="52">
                  <c:v>10.642799999999999</c:v>
                </c:pt>
                <c:pt idx="53">
                  <c:v>10.46692</c:v>
                </c:pt>
                <c:pt idx="54">
                  <c:v>10.53096</c:v>
                </c:pt>
                <c:pt idx="55">
                  <c:v>11.34577</c:v>
                </c:pt>
                <c:pt idx="56">
                  <c:v>9.2199399999999994</c:v>
                </c:pt>
                <c:pt idx="57">
                  <c:v>8.7795299999999994</c:v>
                </c:pt>
                <c:pt idx="58">
                  <c:v>9.0620799999999999</c:v>
                </c:pt>
                <c:pt idx="59">
                  <c:v>8.7740399999999994</c:v>
                </c:pt>
                <c:pt idx="60">
                  <c:v>9.1800300000000004</c:v>
                </c:pt>
                <c:pt idx="61">
                  <c:v>9.3583400000000001</c:v>
                </c:pt>
                <c:pt idx="62">
                  <c:v>9.3199400000000008</c:v>
                </c:pt>
                <c:pt idx="63">
                  <c:v>9.4600899999999992</c:v>
                </c:pt>
                <c:pt idx="64">
                  <c:v>9.49742</c:v>
                </c:pt>
                <c:pt idx="65">
                  <c:v>9.8400200000000009</c:v>
                </c:pt>
                <c:pt idx="66">
                  <c:v>9.9577899999999993</c:v>
                </c:pt>
                <c:pt idx="67">
                  <c:v>10.67764</c:v>
                </c:pt>
                <c:pt idx="68">
                  <c:v>10.41628</c:v>
                </c:pt>
                <c:pt idx="69">
                  <c:v>9.9294499999999992</c:v>
                </c:pt>
                <c:pt idx="70">
                  <c:v>10.17182</c:v>
                </c:pt>
                <c:pt idx="71">
                  <c:v>9.7899100000000008</c:v>
                </c:pt>
                <c:pt idx="72">
                  <c:v>9.7345500000000005</c:v>
                </c:pt>
                <c:pt idx="73">
                  <c:v>9.8007399999999993</c:v>
                </c:pt>
                <c:pt idx="74">
                  <c:v>9.8163900000000002</c:v>
                </c:pt>
                <c:pt idx="75">
                  <c:v>9.9824599999999997</c:v>
                </c:pt>
                <c:pt idx="76">
                  <c:v>9.4967500000000005</c:v>
                </c:pt>
                <c:pt idx="77">
                  <c:v>9.4159699999999997</c:v>
                </c:pt>
                <c:pt idx="78">
                  <c:v>9.3116099999999999</c:v>
                </c:pt>
                <c:pt idx="79">
                  <c:v>9.2321500000000007</c:v>
                </c:pt>
                <c:pt idx="80">
                  <c:v>9.09117</c:v>
                </c:pt>
                <c:pt idx="81">
                  <c:v>9.6249900000000004</c:v>
                </c:pt>
                <c:pt idx="82">
                  <c:v>9.1232299999999995</c:v>
                </c:pt>
                <c:pt idx="83">
                  <c:v>9.7948199999999996</c:v>
                </c:pt>
                <c:pt idx="84">
                  <c:v>9.9070599999999995</c:v>
                </c:pt>
                <c:pt idx="85">
                  <c:v>9.8811599999999995</c:v>
                </c:pt>
                <c:pt idx="86">
                  <c:v>9.6897699999999993</c:v>
                </c:pt>
                <c:pt idx="87">
                  <c:v>9.6312700000000007</c:v>
                </c:pt>
                <c:pt idx="88">
                  <c:v>9.3185699999999994</c:v>
                </c:pt>
                <c:pt idx="89">
                  <c:v>8.6786600000000007</c:v>
                </c:pt>
                <c:pt idx="90">
                  <c:v>9.1320700000000006</c:v>
                </c:pt>
                <c:pt idx="91">
                  <c:v>8.3942399999999999</c:v>
                </c:pt>
                <c:pt idx="92">
                  <c:v>8.7060200000000005</c:v>
                </c:pt>
                <c:pt idx="93">
                  <c:v>8.2707099999999993</c:v>
                </c:pt>
                <c:pt idx="94">
                  <c:v>8.0605399999999996</c:v>
                </c:pt>
                <c:pt idx="95">
                  <c:v>8.0616900000000005</c:v>
                </c:pt>
                <c:pt idx="96">
                  <c:v>8.0413099999999993</c:v>
                </c:pt>
                <c:pt idx="97">
                  <c:v>7.8394000000000004</c:v>
                </c:pt>
                <c:pt idx="98">
                  <c:v>7.6548100000000003</c:v>
                </c:pt>
                <c:pt idx="99">
                  <c:v>7.64581</c:v>
                </c:pt>
                <c:pt idx="100">
                  <c:v>7.8776700000000002</c:v>
                </c:pt>
                <c:pt idx="101">
                  <c:v>7.1483299999999996</c:v>
                </c:pt>
                <c:pt idx="102">
                  <c:v>7.7532800000000002</c:v>
                </c:pt>
                <c:pt idx="103">
                  <c:v>7.00793</c:v>
                </c:pt>
                <c:pt idx="104">
                  <c:v>6.5336800000000004</c:v>
                </c:pt>
                <c:pt idx="105">
                  <c:v>6.4930199999999996</c:v>
                </c:pt>
                <c:pt idx="106">
                  <c:v>7.26546</c:v>
                </c:pt>
                <c:pt idx="107">
                  <c:v>8.1043400000000005</c:v>
                </c:pt>
                <c:pt idx="108">
                  <c:v>8.3003599999999995</c:v>
                </c:pt>
                <c:pt idx="109">
                  <c:v>8.1694899999999997</c:v>
                </c:pt>
                <c:pt idx="110">
                  <c:v>8.0900400000000001</c:v>
                </c:pt>
                <c:pt idx="111">
                  <c:v>8.2407199999999996</c:v>
                </c:pt>
                <c:pt idx="112">
                  <c:v>8.1886700000000001</c:v>
                </c:pt>
                <c:pt idx="113">
                  <c:v>8.1256500000000003</c:v>
                </c:pt>
                <c:pt idx="114">
                  <c:v>8.2051099999999995</c:v>
                </c:pt>
                <c:pt idx="115">
                  <c:v>7.9557900000000004</c:v>
                </c:pt>
                <c:pt idx="116">
                  <c:v>7.7018700000000004</c:v>
                </c:pt>
                <c:pt idx="117">
                  <c:v>7.6222899999999996</c:v>
                </c:pt>
                <c:pt idx="118">
                  <c:v>7.6003299999999996</c:v>
                </c:pt>
                <c:pt idx="119">
                  <c:v>7.4878200000000001</c:v>
                </c:pt>
                <c:pt idx="120">
                  <c:v>7.2874800000000004</c:v>
                </c:pt>
                <c:pt idx="121">
                  <c:v>7.36707</c:v>
                </c:pt>
                <c:pt idx="122">
                  <c:v>7.8363399999999999</c:v>
                </c:pt>
                <c:pt idx="123">
                  <c:v>7.8687199999999997</c:v>
                </c:pt>
                <c:pt idx="124">
                  <c:v>7.8151000000000002</c:v>
                </c:pt>
                <c:pt idx="125">
                  <c:v>7.79535</c:v>
                </c:pt>
                <c:pt idx="126">
                  <c:v>7.5385600000000004</c:v>
                </c:pt>
                <c:pt idx="127">
                  <c:v>7.5696000000000003</c:v>
                </c:pt>
                <c:pt idx="128">
                  <c:v>7.8404999999999996</c:v>
                </c:pt>
                <c:pt idx="129">
                  <c:v>8.12453</c:v>
                </c:pt>
                <c:pt idx="130">
                  <c:v>8.0347100000000005</c:v>
                </c:pt>
                <c:pt idx="131">
                  <c:v>7.9470999999999998</c:v>
                </c:pt>
                <c:pt idx="132">
                  <c:v>7.9148399999999999</c:v>
                </c:pt>
                <c:pt idx="133">
                  <c:v>8.0728899999999992</c:v>
                </c:pt>
                <c:pt idx="134">
                  <c:v>8.0022900000000003</c:v>
                </c:pt>
                <c:pt idx="135">
                  <c:v>8.4541199999999996</c:v>
                </c:pt>
                <c:pt idx="136">
                  <c:v>8.2494399999999999</c:v>
                </c:pt>
                <c:pt idx="137">
                  <c:v>7.8965500000000004</c:v>
                </c:pt>
                <c:pt idx="138">
                  <c:v>8.0659399999999994</c:v>
                </c:pt>
                <c:pt idx="139">
                  <c:v>8.3905999999999992</c:v>
                </c:pt>
                <c:pt idx="140">
                  <c:v>8.2812000000000001</c:v>
                </c:pt>
                <c:pt idx="141">
                  <c:v>8.1612200000000001</c:v>
                </c:pt>
                <c:pt idx="142">
                  <c:v>9.0243599999999997</c:v>
                </c:pt>
                <c:pt idx="143">
                  <c:v>9.6256199999999996</c:v>
                </c:pt>
                <c:pt idx="144">
                  <c:v>9.8901199999999996</c:v>
                </c:pt>
                <c:pt idx="145">
                  <c:v>9.8931900000000006</c:v>
                </c:pt>
                <c:pt idx="146">
                  <c:v>9.7464899999999997</c:v>
                </c:pt>
                <c:pt idx="147">
                  <c:v>9.6881900000000005</c:v>
                </c:pt>
                <c:pt idx="148">
                  <c:v>9.2419499999999992</c:v>
                </c:pt>
                <c:pt idx="149">
                  <c:v>9.8765599999999996</c:v>
                </c:pt>
                <c:pt idx="150">
                  <c:v>9.6429299999999998</c:v>
                </c:pt>
                <c:pt idx="151">
                  <c:v>9.8863699999999994</c:v>
                </c:pt>
                <c:pt idx="152">
                  <c:v>9.9553899999999995</c:v>
                </c:pt>
                <c:pt idx="153">
                  <c:v>10.03331</c:v>
                </c:pt>
                <c:pt idx="154">
                  <c:v>9.7062000000000008</c:v>
                </c:pt>
                <c:pt idx="155">
                  <c:v>9.8934700000000007</c:v>
                </c:pt>
                <c:pt idx="156">
                  <c:v>9.4765099999999993</c:v>
                </c:pt>
                <c:pt idx="157">
                  <c:v>9.4110800000000001</c:v>
                </c:pt>
                <c:pt idx="158">
                  <c:v>10.14926</c:v>
                </c:pt>
                <c:pt idx="159">
                  <c:v>10.03299</c:v>
                </c:pt>
                <c:pt idx="160">
                  <c:v>9.7736199999999993</c:v>
                </c:pt>
                <c:pt idx="161">
                  <c:v>10.703939999999999</c:v>
                </c:pt>
                <c:pt idx="162">
                  <c:v>10.48696</c:v>
                </c:pt>
                <c:pt idx="163">
                  <c:v>10.340159999999999</c:v>
                </c:pt>
                <c:pt idx="164">
                  <c:v>10.13883</c:v>
                </c:pt>
                <c:pt idx="165">
                  <c:v>10.25376</c:v>
                </c:pt>
                <c:pt idx="166">
                  <c:v>9.6129099999999994</c:v>
                </c:pt>
                <c:pt idx="167">
                  <c:v>10.17301</c:v>
                </c:pt>
                <c:pt idx="168">
                  <c:v>10.467969999999999</c:v>
                </c:pt>
                <c:pt idx="169">
                  <c:v>10.055429999999999</c:v>
                </c:pt>
                <c:pt idx="170">
                  <c:v>9.8840500000000002</c:v>
                </c:pt>
                <c:pt idx="171">
                  <c:v>9.7285799999999991</c:v>
                </c:pt>
                <c:pt idx="172">
                  <c:v>9.7053200000000004</c:v>
                </c:pt>
                <c:pt idx="173">
                  <c:v>9.5630000000000006</c:v>
                </c:pt>
                <c:pt idx="174">
                  <c:v>9.7947199999999999</c:v>
                </c:pt>
                <c:pt idx="175">
                  <c:v>9.7629599999999996</c:v>
                </c:pt>
                <c:pt idx="176">
                  <c:v>9.7536000000000005</c:v>
                </c:pt>
                <c:pt idx="177">
                  <c:v>9.7113600000000009</c:v>
                </c:pt>
                <c:pt idx="178">
                  <c:v>9.7019800000000007</c:v>
                </c:pt>
                <c:pt idx="179">
                  <c:v>9.5471699999999995</c:v>
                </c:pt>
                <c:pt idx="180">
                  <c:v>9.9318500000000007</c:v>
                </c:pt>
                <c:pt idx="181">
                  <c:v>9.8088499999999996</c:v>
                </c:pt>
                <c:pt idx="182">
                  <c:v>9.2286099999999998</c:v>
                </c:pt>
                <c:pt idx="183">
                  <c:v>9.3756900000000005</c:v>
                </c:pt>
                <c:pt idx="184">
                  <c:v>9.5699699999999996</c:v>
                </c:pt>
                <c:pt idx="185">
                  <c:v>9.4860799999999994</c:v>
                </c:pt>
                <c:pt idx="186">
                  <c:v>9.3504500000000004</c:v>
                </c:pt>
                <c:pt idx="187">
                  <c:v>9.6994100000000003</c:v>
                </c:pt>
                <c:pt idx="188">
                  <c:v>9.3751800000000003</c:v>
                </c:pt>
                <c:pt idx="189">
                  <c:v>9.1757899999999992</c:v>
                </c:pt>
                <c:pt idx="190">
                  <c:v>9.3120399999999997</c:v>
                </c:pt>
                <c:pt idx="191">
                  <c:v>9.3597000000000001</c:v>
                </c:pt>
                <c:pt idx="192">
                  <c:v>9.2779699999999998</c:v>
                </c:pt>
                <c:pt idx="193">
                  <c:v>8.6981000000000002</c:v>
                </c:pt>
                <c:pt idx="194">
                  <c:v>8.8615100000000009</c:v>
                </c:pt>
                <c:pt idx="195">
                  <c:v>8.5993099999999991</c:v>
                </c:pt>
                <c:pt idx="196">
                  <c:v>9.0912600000000001</c:v>
                </c:pt>
                <c:pt idx="197">
                  <c:v>8.7138399999999994</c:v>
                </c:pt>
                <c:pt idx="198">
                  <c:v>8.8656600000000001</c:v>
                </c:pt>
                <c:pt idx="199">
                  <c:v>8.5581600000000009</c:v>
                </c:pt>
                <c:pt idx="200">
                  <c:v>8.4477499999999992</c:v>
                </c:pt>
                <c:pt idx="201">
                  <c:v>8.0204599999999999</c:v>
                </c:pt>
                <c:pt idx="202">
                  <c:v>7.8338599999999996</c:v>
                </c:pt>
                <c:pt idx="203">
                  <c:v>7.3132099999999998</c:v>
                </c:pt>
                <c:pt idx="204">
                  <c:v>7.6020000000000003</c:v>
                </c:pt>
                <c:pt idx="205">
                  <c:v>7.2622</c:v>
                </c:pt>
                <c:pt idx="206">
                  <c:v>8.5548099999999998</c:v>
                </c:pt>
                <c:pt idx="207">
                  <c:v>8.0678900000000002</c:v>
                </c:pt>
                <c:pt idx="208">
                  <c:v>7.4831599999999998</c:v>
                </c:pt>
                <c:pt idx="209">
                  <c:v>7.6136600000000003</c:v>
                </c:pt>
                <c:pt idx="210">
                  <c:v>7.4181699999999999</c:v>
                </c:pt>
                <c:pt idx="211">
                  <c:v>7.5319599999999998</c:v>
                </c:pt>
                <c:pt idx="212">
                  <c:v>6.8562399999999997</c:v>
                </c:pt>
                <c:pt idx="213">
                  <c:v>7.22445</c:v>
                </c:pt>
                <c:pt idx="214">
                  <c:v>7.6710000000000003</c:v>
                </c:pt>
                <c:pt idx="215">
                  <c:v>8.0976700000000008</c:v>
                </c:pt>
                <c:pt idx="216">
                  <c:v>7.86768</c:v>
                </c:pt>
                <c:pt idx="217">
                  <c:v>8.42441</c:v>
                </c:pt>
                <c:pt idx="218">
                  <c:v>8.3625500000000006</c:v>
                </c:pt>
                <c:pt idx="219">
                  <c:v>8.5637600000000003</c:v>
                </c:pt>
                <c:pt idx="220">
                  <c:v>8.3726900000000004</c:v>
                </c:pt>
                <c:pt idx="221">
                  <c:v>8.8657299999999992</c:v>
                </c:pt>
                <c:pt idx="222">
                  <c:v>7.9864800000000002</c:v>
                </c:pt>
                <c:pt idx="223">
                  <c:v>7.9432099999999997</c:v>
                </c:pt>
                <c:pt idx="224">
                  <c:v>7.8707900000000004</c:v>
                </c:pt>
                <c:pt idx="225">
                  <c:v>8.2113899999999997</c:v>
                </c:pt>
                <c:pt idx="226">
                  <c:v>8.1329700000000003</c:v>
                </c:pt>
                <c:pt idx="227">
                  <c:v>8.1972799999999992</c:v>
                </c:pt>
                <c:pt idx="228">
                  <c:v>7.4535299999999998</c:v>
                </c:pt>
                <c:pt idx="229">
                  <c:v>7.9130700000000003</c:v>
                </c:pt>
                <c:pt idx="230">
                  <c:v>7.8557399999999999</c:v>
                </c:pt>
                <c:pt idx="231">
                  <c:v>8.0345700000000004</c:v>
                </c:pt>
                <c:pt idx="232">
                  <c:v>7.9746899999999998</c:v>
                </c:pt>
                <c:pt idx="233">
                  <c:v>8.2343200000000003</c:v>
                </c:pt>
                <c:pt idx="234">
                  <c:v>8.7240500000000001</c:v>
                </c:pt>
                <c:pt idx="235">
                  <c:v>8.6488999999999994</c:v>
                </c:pt>
                <c:pt idx="236">
                  <c:v>8.6261799999999997</c:v>
                </c:pt>
                <c:pt idx="237">
                  <c:v>8.9986599999999992</c:v>
                </c:pt>
                <c:pt idx="238">
                  <c:v>9.3365100000000005</c:v>
                </c:pt>
                <c:pt idx="239">
                  <c:v>8.6428100000000008</c:v>
                </c:pt>
                <c:pt idx="240">
                  <c:v>8.6179299999999994</c:v>
                </c:pt>
                <c:pt idx="241">
                  <c:v>8.5217399999999994</c:v>
                </c:pt>
                <c:pt idx="242">
                  <c:v>8.6494400000000002</c:v>
                </c:pt>
                <c:pt idx="243">
                  <c:v>8.4985300000000006</c:v>
                </c:pt>
                <c:pt idx="244">
                  <c:v>8.15855</c:v>
                </c:pt>
                <c:pt idx="245">
                  <c:v>8.1568900000000006</c:v>
                </c:pt>
                <c:pt idx="246">
                  <c:v>7.7935299999999996</c:v>
                </c:pt>
                <c:pt idx="247">
                  <c:v>7.9117100000000002</c:v>
                </c:pt>
                <c:pt idx="248">
                  <c:v>8.0998999999999999</c:v>
                </c:pt>
                <c:pt idx="249">
                  <c:v>8.3372600000000006</c:v>
                </c:pt>
                <c:pt idx="250">
                  <c:v>8.3982899999999994</c:v>
                </c:pt>
                <c:pt idx="251">
                  <c:v>8.1439800000000009</c:v>
                </c:pt>
                <c:pt idx="252">
                  <c:v>8.0558200000000006</c:v>
                </c:pt>
                <c:pt idx="253">
                  <c:v>8.5348400000000009</c:v>
                </c:pt>
                <c:pt idx="254">
                  <c:v>8.7708499999999994</c:v>
                </c:pt>
                <c:pt idx="255">
                  <c:v>8.7844800000000003</c:v>
                </c:pt>
                <c:pt idx="256">
                  <c:v>8.6430500000000006</c:v>
                </c:pt>
                <c:pt idx="257">
                  <c:v>8.41812</c:v>
                </c:pt>
                <c:pt idx="258">
                  <c:v>8.5288799999999991</c:v>
                </c:pt>
                <c:pt idx="259">
                  <c:v>8.5149299999999997</c:v>
                </c:pt>
                <c:pt idx="260">
                  <c:v>8.27928</c:v>
                </c:pt>
                <c:pt idx="261">
                  <c:v>8.2209699999999994</c:v>
                </c:pt>
                <c:pt idx="262">
                  <c:v>8.3067200000000003</c:v>
                </c:pt>
                <c:pt idx="263">
                  <c:v>8.4623399999999993</c:v>
                </c:pt>
                <c:pt idx="264">
                  <c:v>8.4743200000000005</c:v>
                </c:pt>
                <c:pt idx="265">
                  <c:v>8.3981600000000007</c:v>
                </c:pt>
                <c:pt idx="266">
                  <c:v>8.2680799999999994</c:v>
                </c:pt>
                <c:pt idx="267">
                  <c:v>8.3409200000000006</c:v>
                </c:pt>
                <c:pt idx="268">
                  <c:v>8.32531</c:v>
                </c:pt>
                <c:pt idx="269">
                  <c:v>8.1900200000000005</c:v>
                </c:pt>
                <c:pt idx="270">
                  <c:v>7.9818899999999999</c:v>
                </c:pt>
                <c:pt idx="271">
                  <c:v>8.0743899999999993</c:v>
                </c:pt>
                <c:pt idx="272">
                  <c:v>8.3648600000000002</c:v>
                </c:pt>
                <c:pt idx="273">
                  <c:v>8.3155199999999994</c:v>
                </c:pt>
                <c:pt idx="274">
                  <c:v>8.3812499999999996</c:v>
                </c:pt>
                <c:pt idx="275">
                  <c:v>8.6432500000000001</c:v>
                </c:pt>
                <c:pt idx="276">
                  <c:v>8.4280100000000004</c:v>
                </c:pt>
                <c:pt idx="277">
                  <c:v>8.4747599999999998</c:v>
                </c:pt>
                <c:pt idx="278">
                  <c:v>8.62134</c:v>
                </c:pt>
                <c:pt idx="279">
                  <c:v>8.6890300000000007</c:v>
                </c:pt>
                <c:pt idx="280">
                  <c:v>8.5137499999999999</c:v>
                </c:pt>
                <c:pt idx="281">
                  <c:v>8.1731999999999996</c:v>
                </c:pt>
                <c:pt idx="282">
                  <c:v>8.4261099999999995</c:v>
                </c:pt>
                <c:pt idx="283">
                  <c:v>8.6051500000000001</c:v>
                </c:pt>
                <c:pt idx="284">
                  <c:v>8.5362899999999993</c:v>
                </c:pt>
                <c:pt idx="285">
                  <c:v>8.2831899999999994</c:v>
                </c:pt>
                <c:pt idx="286">
                  <c:v>8.28664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CC-4D2C-B398-81D883D77703}"/>
            </c:ext>
          </c:extLst>
        </c:ser>
        <c:ser>
          <c:idx val="3"/>
          <c:order val="2"/>
          <c:tx>
            <c:strRef>
              <c:f>'[Peakstone Packaging Peer Analysis_12.31.2023 Q4_2023.xlsx]EBITDA Graph'!$F$24</c:f>
              <c:strCache>
                <c:ptCount val="1"/>
                <c:pt idx="0">
                  <c:v>Peakstone Paper Products Index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Peakstone Packaging Peer Analysis_12.31.2023 Q4_2023.xlsx]EBITDA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EBITDA Graph'!$F$26:$F$312</c:f>
              <c:numCache>
                <c:formatCode>#,##0.0\x</c:formatCode>
                <c:ptCount val="287"/>
                <c:pt idx="0">
                  <c:v>10.420579999999999</c:v>
                </c:pt>
                <c:pt idx="1">
                  <c:v>10.30498</c:v>
                </c:pt>
                <c:pt idx="2">
                  <c:v>10.54623</c:v>
                </c:pt>
                <c:pt idx="3">
                  <c:v>8.2393199999999993</c:v>
                </c:pt>
                <c:pt idx="4">
                  <c:v>10.19562</c:v>
                </c:pt>
                <c:pt idx="5">
                  <c:v>9.7116100000000003</c:v>
                </c:pt>
                <c:pt idx="6">
                  <c:v>9.7523750000000007</c:v>
                </c:pt>
                <c:pt idx="7">
                  <c:v>9.7111900000000002</c:v>
                </c:pt>
                <c:pt idx="8">
                  <c:v>9.6193600000000004</c:v>
                </c:pt>
                <c:pt idx="9">
                  <c:v>9.7199200000000001</c:v>
                </c:pt>
                <c:pt idx="10">
                  <c:v>9.647075000000001</c:v>
                </c:pt>
                <c:pt idx="11">
                  <c:v>9.2930449999999993</c:v>
                </c:pt>
                <c:pt idx="12">
                  <c:v>9.4544400000000017</c:v>
                </c:pt>
                <c:pt idx="13">
                  <c:v>9.4685199999999998</c:v>
                </c:pt>
                <c:pt idx="14">
                  <c:v>9.6808149999999991</c:v>
                </c:pt>
                <c:pt idx="15">
                  <c:v>9.5657099999999993</c:v>
                </c:pt>
                <c:pt idx="16">
                  <c:v>9.5239650000000005</c:v>
                </c:pt>
                <c:pt idx="17">
                  <c:v>9.6528749999999999</c:v>
                </c:pt>
                <c:pt idx="18">
                  <c:v>6.6878799999999998</c:v>
                </c:pt>
                <c:pt idx="19">
                  <c:v>6.6500599999999999</c:v>
                </c:pt>
                <c:pt idx="20">
                  <c:v>6.4899000000000004</c:v>
                </c:pt>
                <c:pt idx="21">
                  <c:v>6.6360799999999998</c:v>
                </c:pt>
                <c:pt idx="22">
                  <c:v>6.58047</c:v>
                </c:pt>
                <c:pt idx="23">
                  <c:v>6.6893600000000006</c:v>
                </c:pt>
                <c:pt idx="24">
                  <c:v>7.1047200000000004</c:v>
                </c:pt>
                <c:pt idx="25">
                  <c:v>6.7956500000000002</c:v>
                </c:pt>
                <c:pt idx="26">
                  <c:v>6.7245949999999999</c:v>
                </c:pt>
                <c:pt idx="27">
                  <c:v>6.5876599999999996</c:v>
                </c:pt>
                <c:pt idx="28">
                  <c:v>7.0376600000000007</c:v>
                </c:pt>
                <c:pt idx="29">
                  <c:v>8.8941700000000008</c:v>
                </c:pt>
                <c:pt idx="30">
                  <c:v>8.8501900000000013</c:v>
                </c:pt>
                <c:pt idx="31">
                  <c:v>8.2821649999999991</c:v>
                </c:pt>
                <c:pt idx="32">
                  <c:v>8.2251900000000013</c:v>
                </c:pt>
                <c:pt idx="33">
                  <c:v>8.2236200000000004</c:v>
                </c:pt>
                <c:pt idx="34">
                  <c:v>8.4965700000000002</c:v>
                </c:pt>
                <c:pt idx="35">
                  <c:v>8.6403950000000016</c:v>
                </c:pt>
                <c:pt idx="36">
                  <c:v>8.451765</c:v>
                </c:pt>
                <c:pt idx="37">
                  <c:v>8.1401599999999998</c:v>
                </c:pt>
                <c:pt idx="38">
                  <c:v>7.7060449999999996</c:v>
                </c:pt>
                <c:pt idx="39">
                  <c:v>7.9607600000000005</c:v>
                </c:pt>
                <c:pt idx="40">
                  <c:v>8.3501250000000002</c:v>
                </c:pt>
                <c:pt idx="41">
                  <c:v>8.6283849999999997</c:v>
                </c:pt>
                <c:pt idx="42">
                  <c:v>8.8141400000000001</c:v>
                </c:pt>
                <c:pt idx="43">
                  <c:v>8.700289999999999</c:v>
                </c:pt>
                <c:pt idx="44">
                  <c:v>9.9021150000000002</c:v>
                </c:pt>
                <c:pt idx="45">
                  <c:v>9.8775499999999994</c:v>
                </c:pt>
                <c:pt idx="46">
                  <c:v>9.9923850000000005</c:v>
                </c:pt>
                <c:pt idx="47">
                  <c:v>9.7152100000000008</c:v>
                </c:pt>
                <c:pt idx="48">
                  <c:v>10.005369999999999</c:v>
                </c:pt>
                <c:pt idx="49">
                  <c:v>10.19374</c:v>
                </c:pt>
                <c:pt idx="50">
                  <c:v>9.6465999999999994</c:v>
                </c:pt>
                <c:pt idx="51">
                  <c:v>9.4283749999999991</c:v>
                </c:pt>
                <c:pt idx="52">
                  <c:v>9.4199450000000002</c:v>
                </c:pt>
                <c:pt idx="53">
                  <c:v>9.3446149999999992</c:v>
                </c:pt>
                <c:pt idx="54">
                  <c:v>9.6441649999999992</c:v>
                </c:pt>
                <c:pt idx="55">
                  <c:v>9.4999749999999992</c:v>
                </c:pt>
                <c:pt idx="56">
                  <c:v>7.9905249999999999</c:v>
                </c:pt>
                <c:pt idx="57">
                  <c:v>8.1634550000000008</c:v>
                </c:pt>
                <c:pt idx="58">
                  <c:v>8.3559049999999999</c:v>
                </c:pt>
                <c:pt idx="59">
                  <c:v>8.1645699999999994</c:v>
                </c:pt>
                <c:pt idx="60">
                  <c:v>8.4255899999999997</c:v>
                </c:pt>
                <c:pt idx="61">
                  <c:v>8.4504000000000001</c:v>
                </c:pt>
                <c:pt idx="62">
                  <c:v>8.4749350000000003</c:v>
                </c:pt>
                <c:pt idx="63">
                  <c:v>8.3609249999999999</c:v>
                </c:pt>
                <c:pt idx="64">
                  <c:v>8.1003049999999988</c:v>
                </c:pt>
                <c:pt idx="65">
                  <c:v>7.9233549999999999</c:v>
                </c:pt>
                <c:pt idx="66">
                  <c:v>7.8840300000000001</c:v>
                </c:pt>
                <c:pt idx="67">
                  <c:v>8.2211649999999992</c:v>
                </c:pt>
                <c:pt idx="68">
                  <c:v>8.1088649999999998</c:v>
                </c:pt>
                <c:pt idx="69">
                  <c:v>8.1646300000000007</c:v>
                </c:pt>
                <c:pt idx="70">
                  <c:v>7.1196950000000001</c:v>
                </c:pt>
                <c:pt idx="71">
                  <c:v>7.255725</c:v>
                </c:pt>
                <c:pt idx="72">
                  <c:v>7.3319450000000002</c:v>
                </c:pt>
                <c:pt idx="73">
                  <c:v>7.4830699999999997</c:v>
                </c:pt>
                <c:pt idx="74">
                  <c:v>7.7406450000000007</c:v>
                </c:pt>
                <c:pt idx="75">
                  <c:v>7.7547750000000004</c:v>
                </c:pt>
                <c:pt idx="76">
                  <c:v>8.1016300000000001</c:v>
                </c:pt>
                <c:pt idx="77">
                  <c:v>8.9678199999999997</c:v>
                </c:pt>
                <c:pt idx="78">
                  <c:v>8.7637049999999999</c:v>
                </c:pt>
                <c:pt idx="79">
                  <c:v>8.7814000000000014</c:v>
                </c:pt>
                <c:pt idx="80">
                  <c:v>8.9137899999999988</c:v>
                </c:pt>
                <c:pt idx="81">
                  <c:v>9.3184649999999998</c:v>
                </c:pt>
                <c:pt idx="82">
                  <c:v>10.800789999999999</c:v>
                </c:pt>
                <c:pt idx="83">
                  <c:v>10.411014999999999</c:v>
                </c:pt>
                <c:pt idx="84">
                  <c:v>10.310715</c:v>
                </c:pt>
                <c:pt idx="85">
                  <c:v>10.207875000000001</c:v>
                </c:pt>
                <c:pt idx="86">
                  <c:v>10.302354999999999</c:v>
                </c:pt>
                <c:pt idx="87">
                  <c:v>10.2316</c:v>
                </c:pt>
                <c:pt idx="88">
                  <c:v>9.6864799999999995</c:v>
                </c:pt>
                <c:pt idx="89">
                  <c:v>9.2496550000000006</c:v>
                </c:pt>
                <c:pt idx="90">
                  <c:v>9.4090950000000007</c:v>
                </c:pt>
                <c:pt idx="91">
                  <c:v>9.1164249999999996</c:v>
                </c:pt>
                <c:pt idx="92">
                  <c:v>9.3924299999999992</c:v>
                </c:pt>
                <c:pt idx="93">
                  <c:v>9.8476949999999999</c:v>
                </c:pt>
                <c:pt idx="94">
                  <c:v>9.7244150000000005</c:v>
                </c:pt>
                <c:pt idx="95">
                  <c:v>9.8793600000000001</c:v>
                </c:pt>
                <c:pt idx="96">
                  <c:v>9.24878</c:v>
                </c:pt>
                <c:pt idx="97">
                  <c:v>9.2663049999999991</c:v>
                </c:pt>
                <c:pt idx="98">
                  <c:v>9.0098099999999999</c:v>
                </c:pt>
                <c:pt idx="99">
                  <c:v>9.2201799999999992</c:v>
                </c:pt>
                <c:pt idx="100">
                  <c:v>8.8995649999999991</c:v>
                </c:pt>
                <c:pt idx="101">
                  <c:v>8.8006799999999998</c:v>
                </c:pt>
                <c:pt idx="102">
                  <c:v>9.0833300000000001</c:v>
                </c:pt>
                <c:pt idx="103">
                  <c:v>7.4328000000000003</c:v>
                </c:pt>
                <c:pt idx="104">
                  <c:v>6.9900900000000004</c:v>
                </c:pt>
                <c:pt idx="105">
                  <c:v>6.9640500000000003</c:v>
                </c:pt>
                <c:pt idx="106">
                  <c:v>7.8120250000000002</c:v>
                </c:pt>
                <c:pt idx="107">
                  <c:v>9.5070200000000007</c:v>
                </c:pt>
                <c:pt idx="108">
                  <c:v>9.6614000000000004</c:v>
                </c:pt>
                <c:pt idx="109">
                  <c:v>8.9665950000000016</c:v>
                </c:pt>
                <c:pt idx="110">
                  <c:v>8.7787350000000011</c:v>
                </c:pt>
                <c:pt idx="111">
                  <c:v>9.14954</c:v>
                </c:pt>
                <c:pt idx="112">
                  <c:v>9.1823399999999999</c:v>
                </c:pt>
                <c:pt idx="113">
                  <c:v>9.0963549999999991</c:v>
                </c:pt>
                <c:pt idx="114">
                  <c:v>9.0744399999999992</c:v>
                </c:pt>
                <c:pt idx="115">
                  <c:v>8.7238600000000002</c:v>
                </c:pt>
                <c:pt idx="116">
                  <c:v>8.3600899999999996</c:v>
                </c:pt>
                <c:pt idx="117">
                  <c:v>8.2715399999999999</c:v>
                </c:pt>
                <c:pt idx="118">
                  <c:v>8.4200400000000002</c:v>
                </c:pt>
                <c:pt idx="119">
                  <c:v>8.1285850000000011</c:v>
                </c:pt>
                <c:pt idx="120">
                  <c:v>8.0048999999999992</c:v>
                </c:pt>
                <c:pt idx="121">
                  <c:v>8.1663250000000005</c:v>
                </c:pt>
                <c:pt idx="122">
                  <c:v>9.2165149999999993</c:v>
                </c:pt>
                <c:pt idx="123">
                  <c:v>9.0617549999999998</c:v>
                </c:pt>
                <c:pt idx="124">
                  <c:v>9.1813649999999996</c:v>
                </c:pt>
                <c:pt idx="125">
                  <c:v>8.98522</c:v>
                </c:pt>
                <c:pt idx="126">
                  <c:v>8.5336300000000005</c:v>
                </c:pt>
                <c:pt idx="127">
                  <c:v>8.7303099999999993</c:v>
                </c:pt>
                <c:pt idx="128">
                  <c:v>8.8748749999999994</c:v>
                </c:pt>
                <c:pt idx="129">
                  <c:v>8.9179150000000007</c:v>
                </c:pt>
                <c:pt idx="130">
                  <c:v>9.0266900000000003</c:v>
                </c:pt>
                <c:pt idx="131">
                  <c:v>8.6266499999999997</c:v>
                </c:pt>
                <c:pt idx="132">
                  <c:v>8.3819900000000001</c:v>
                </c:pt>
                <c:pt idx="133">
                  <c:v>9.5342950000000002</c:v>
                </c:pt>
                <c:pt idx="134">
                  <c:v>9.3475249999999992</c:v>
                </c:pt>
                <c:pt idx="135">
                  <c:v>6.9750399999999999</c:v>
                </c:pt>
                <c:pt idx="136">
                  <c:v>6.7444699999999997</c:v>
                </c:pt>
                <c:pt idx="137">
                  <c:v>6.2024899999999992</c:v>
                </c:pt>
                <c:pt idx="138">
                  <c:v>6.4777750000000003</c:v>
                </c:pt>
                <c:pt idx="139">
                  <c:v>6.9072949999999995</c:v>
                </c:pt>
                <c:pt idx="140">
                  <c:v>6.7958300000000005</c:v>
                </c:pt>
                <c:pt idx="141">
                  <c:v>8.0764949999999995</c:v>
                </c:pt>
                <c:pt idx="142">
                  <c:v>8.1204000000000001</c:v>
                </c:pt>
                <c:pt idx="143">
                  <c:v>8.3357100000000006</c:v>
                </c:pt>
                <c:pt idx="144">
                  <c:v>8.5598050000000008</c:v>
                </c:pt>
                <c:pt idx="145">
                  <c:v>8.2628350000000008</c:v>
                </c:pt>
                <c:pt idx="146">
                  <c:v>8.1627749999999999</c:v>
                </c:pt>
                <c:pt idx="147">
                  <c:v>7.5665750000000003</c:v>
                </c:pt>
                <c:pt idx="148">
                  <c:v>7.8900199999999998</c:v>
                </c:pt>
                <c:pt idx="149">
                  <c:v>7.8980700000000006</c:v>
                </c:pt>
                <c:pt idx="150">
                  <c:v>7.8481699999999996</c:v>
                </c:pt>
                <c:pt idx="151">
                  <c:v>7.7533500000000011</c:v>
                </c:pt>
                <c:pt idx="152">
                  <c:v>7.5699000000000005</c:v>
                </c:pt>
                <c:pt idx="153">
                  <c:v>7.5842349999999996</c:v>
                </c:pt>
                <c:pt idx="154">
                  <c:v>7.4076350000000009</c:v>
                </c:pt>
                <c:pt idx="155">
                  <c:v>8.3652650000000008</c:v>
                </c:pt>
                <c:pt idx="156">
                  <c:v>8.3530099999999994</c:v>
                </c:pt>
                <c:pt idx="157">
                  <c:v>8.2789849999999987</c:v>
                </c:pt>
                <c:pt idx="158">
                  <c:v>8.6414950000000008</c:v>
                </c:pt>
                <c:pt idx="159">
                  <c:v>8.4863649999999993</c:v>
                </c:pt>
                <c:pt idx="160">
                  <c:v>8.1037549999999996</c:v>
                </c:pt>
                <c:pt idx="161">
                  <c:v>10.507425000000001</c:v>
                </c:pt>
                <c:pt idx="162">
                  <c:v>10.169650000000001</c:v>
                </c:pt>
                <c:pt idx="163">
                  <c:v>10.294325000000001</c:v>
                </c:pt>
                <c:pt idx="164">
                  <c:v>10.089874999999999</c:v>
                </c:pt>
                <c:pt idx="165">
                  <c:v>10.345030000000001</c:v>
                </c:pt>
                <c:pt idx="166">
                  <c:v>10.012815</c:v>
                </c:pt>
                <c:pt idx="167">
                  <c:v>10.030445</c:v>
                </c:pt>
                <c:pt idx="168">
                  <c:v>9.6656900000000014</c:v>
                </c:pt>
                <c:pt idx="169">
                  <c:v>10.08764</c:v>
                </c:pt>
                <c:pt idx="170">
                  <c:v>10.236795000000001</c:v>
                </c:pt>
                <c:pt idx="171">
                  <c:v>10.218070000000001</c:v>
                </c:pt>
                <c:pt idx="172">
                  <c:v>10.309215</c:v>
                </c:pt>
                <c:pt idx="173">
                  <c:v>10.23997</c:v>
                </c:pt>
                <c:pt idx="174">
                  <c:v>10.294640000000001</c:v>
                </c:pt>
                <c:pt idx="175">
                  <c:v>10.29156</c:v>
                </c:pt>
                <c:pt idx="176">
                  <c:v>10.40438</c:v>
                </c:pt>
                <c:pt idx="177">
                  <c:v>10.35031</c:v>
                </c:pt>
                <c:pt idx="178">
                  <c:v>10.50074</c:v>
                </c:pt>
                <c:pt idx="179">
                  <c:v>10.26661</c:v>
                </c:pt>
                <c:pt idx="180">
                  <c:v>10.336205</c:v>
                </c:pt>
                <c:pt idx="181">
                  <c:v>10.406795000000001</c:v>
                </c:pt>
                <c:pt idx="182">
                  <c:v>10.53856</c:v>
                </c:pt>
                <c:pt idx="183">
                  <c:v>10.565325000000001</c:v>
                </c:pt>
                <c:pt idx="184">
                  <c:v>10.495674999999999</c:v>
                </c:pt>
                <c:pt idx="185">
                  <c:v>10.643685</c:v>
                </c:pt>
                <c:pt idx="186">
                  <c:v>10.09131</c:v>
                </c:pt>
                <c:pt idx="187">
                  <c:v>8.6890649999999994</c:v>
                </c:pt>
                <c:pt idx="188">
                  <c:v>8.4093850000000003</c:v>
                </c:pt>
                <c:pt idx="189">
                  <c:v>8.5435999999999996</c:v>
                </c:pt>
                <c:pt idx="190">
                  <c:v>8.5732549999999996</c:v>
                </c:pt>
                <c:pt idx="191">
                  <c:v>8.2590900000000005</c:v>
                </c:pt>
                <c:pt idx="192">
                  <c:v>8.2943549999999995</c:v>
                </c:pt>
                <c:pt idx="193">
                  <c:v>7.2056250000000004</c:v>
                </c:pt>
                <c:pt idx="194">
                  <c:v>7.7815900000000005</c:v>
                </c:pt>
                <c:pt idx="195">
                  <c:v>7.5678900000000002</c:v>
                </c:pt>
                <c:pt idx="196">
                  <c:v>7.7179649999999995</c:v>
                </c:pt>
                <c:pt idx="197">
                  <c:v>7.6634700000000002</c:v>
                </c:pt>
                <c:pt idx="198">
                  <c:v>7.6348950000000002</c:v>
                </c:pt>
                <c:pt idx="199">
                  <c:v>7.4357699999999998</c:v>
                </c:pt>
                <c:pt idx="200">
                  <c:v>7.4920600000000004</c:v>
                </c:pt>
                <c:pt idx="201">
                  <c:v>7.99146</c:v>
                </c:pt>
                <c:pt idx="202">
                  <c:v>7.6460050000000006</c:v>
                </c:pt>
                <c:pt idx="203">
                  <c:v>7.6122399999999999</c:v>
                </c:pt>
                <c:pt idx="204">
                  <c:v>7.674199999999999</c:v>
                </c:pt>
                <c:pt idx="205">
                  <c:v>7.4125999999999994</c:v>
                </c:pt>
                <c:pt idx="206">
                  <c:v>7.42842</c:v>
                </c:pt>
                <c:pt idx="207">
                  <c:v>8.0051199999999998</c:v>
                </c:pt>
                <c:pt idx="208">
                  <c:v>7.4096100000000007</c:v>
                </c:pt>
                <c:pt idx="209">
                  <c:v>7.2798949999999998</c:v>
                </c:pt>
                <c:pt idx="210">
                  <c:v>7.2410099999999993</c:v>
                </c:pt>
                <c:pt idx="211">
                  <c:v>6.6767649999999996</c:v>
                </c:pt>
                <c:pt idx="212">
                  <c:v>6.6772499999999999</c:v>
                </c:pt>
                <c:pt idx="213">
                  <c:v>6.3919949999999996</c:v>
                </c:pt>
                <c:pt idx="214">
                  <c:v>6.6446800000000001</c:v>
                </c:pt>
                <c:pt idx="215">
                  <c:v>7.2295100000000003</c:v>
                </c:pt>
                <c:pt idx="216">
                  <c:v>7.2682549999999999</c:v>
                </c:pt>
                <c:pt idx="217">
                  <c:v>7.0982050000000001</c:v>
                </c:pt>
                <c:pt idx="218">
                  <c:v>7.2168400000000004</c:v>
                </c:pt>
                <c:pt idx="219">
                  <c:v>7.3657249999999994</c:v>
                </c:pt>
                <c:pt idx="220">
                  <c:v>6.9642400000000002</c:v>
                </c:pt>
                <c:pt idx="221">
                  <c:v>6.8499699999999999</c:v>
                </c:pt>
                <c:pt idx="222">
                  <c:v>6.5980749999999997</c:v>
                </c:pt>
                <c:pt idx="223">
                  <c:v>6.3981700000000004</c:v>
                </c:pt>
                <c:pt idx="224">
                  <c:v>7.0418599999999998</c:v>
                </c:pt>
                <c:pt idx="225">
                  <c:v>7.1987699999999997</c:v>
                </c:pt>
                <c:pt idx="226">
                  <c:v>7.1679499999999994</c:v>
                </c:pt>
                <c:pt idx="227">
                  <c:v>7.3090849999999996</c:v>
                </c:pt>
                <c:pt idx="228">
                  <c:v>7.4753850000000002</c:v>
                </c:pt>
                <c:pt idx="229">
                  <c:v>7.4722749999999998</c:v>
                </c:pt>
                <c:pt idx="230">
                  <c:v>7.6262150000000002</c:v>
                </c:pt>
                <c:pt idx="231">
                  <c:v>7.7563300000000002</c:v>
                </c:pt>
                <c:pt idx="232">
                  <c:v>7.9982199999999999</c:v>
                </c:pt>
                <c:pt idx="233">
                  <c:v>7.9229099999999999</c:v>
                </c:pt>
                <c:pt idx="234">
                  <c:v>7.9173249999999999</c:v>
                </c:pt>
                <c:pt idx="235">
                  <c:v>7.7743699999999993</c:v>
                </c:pt>
                <c:pt idx="236">
                  <c:v>7.6497000000000002</c:v>
                </c:pt>
                <c:pt idx="237">
                  <c:v>7.41526</c:v>
                </c:pt>
                <c:pt idx="238">
                  <c:v>7.7812350000000006</c:v>
                </c:pt>
                <c:pt idx="239">
                  <c:v>8.0520399999999999</c:v>
                </c:pt>
                <c:pt idx="240">
                  <c:v>8.0989249999999995</c:v>
                </c:pt>
                <c:pt idx="241">
                  <c:v>8.2256199999999993</c:v>
                </c:pt>
                <c:pt idx="242">
                  <c:v>8.1416399999999989</c:v>
                </c:pt>
                <c:pt idx="243">
                  <c:v>8.1499199999999998</c:v>
                </c:pt>
                <c:pt idx="244">
                  <c:v>8.0525000000000002</c:v>
                </c:pt>
                <c:pt idx="245">
                  <c:v>8.2094050000000003</c:v>
                </c:pt>
                <c:pt idx="246">
                  <c:v>8.699605</c:v>
                </c:pt>
                <c:pt idx="247">
                  <c:v>8.3076250000000016</c:v>
                </c:pt>
                <c:pt idx="248">
                  <c:v>8.3423750000000005</c:v>
                </c:pt>
                <c:pt idx="249">
                  <c:v>8.9640550000000001</c:v>
                </c:pt>
                <c:pt idx="250">
                  <c:v>8.9382900000000003</c:v>
                </c:pt>
                <c:pt idx="251">
                  <c:v>8.8050949999999997</c:v>
                </c:pt>
                <c:pt idx="252">
                  <c:v>8.6522299999999994</c:v>
                </c:pt>
                <c:pt idx="253">
                  <c:v>9.7407599999999999</c:v>
                </c:pt>
                <c:pt idx="254">
                  <c:v>10.148440000000001</c:v>
                </c:pt>
                <c:pt idx="255">
                  <c:v>9.7511949999999992</c:v>
                </c:pt>
                <c:pt idx="256">
                  <c:v>9.6446749999999994</c:v>
                </c:pt>
                <c:pt idx="257">
                  <c:v>9.6044350000000005</c:v>
                </c:pt>
                <c:pt idx="258">
                  <c:v>9.6852450000000001</c:v>
                </c:pt>
                <c:pt idx="259">
                  <c:v>9.7363400000000002</c:v>
                </c:pt>
                <c:pt idx="260">
                  <c:v>9.9735650000000007</c:v>
                </c:pt>
                <c:pt idx="261">
                  <c:v>10.040990000000001</c:v>
                </c:pt>
                <c:pt idx="262">
                  <c:v>10.169505000000001</c:v>
                </c:pt>
                <c:pt idx="263">
                  <c:v>10.867485</c:v>
                </c:pt>
                <c:pt idx="264">
                  <c:v>10.690014999999999</c:v>
                </c:pt>
                <c:pt idx="265">
                  <c:v>11.069739999999999</c:v>
                </c:pt>
                <c:pt idx="266">
                  <c:v>10.555420000000002</c:v>
                </c:pt>
                <c:pt idx="267">
                  <c:v>10.394214999999999</c:v>
                </c:pt>
                <c:pt idx="268">
                  <c:v>10.435655000000001</c:v>
                </c:pt>
                <c:pt idx="269">
                  <c:v>10.333645000000001</c:v>
                </c:pt>
                <c:pt idx="270">
                  <c:v>10.551105</c:v>
                </c:pt>
                <c:pt idx="271">
                  <c:v>10.424175</c:v>
                </c:pt>
                <c:pt idx="272">
                  <c:v>10.8123</c:v>
                </c:pt>
                <c:pt idx="273">
                  <c:v>10.042095</c:v>
                </c:pt>
                <c:pt idx="274">
                  <c:v>9.8712699999999991</c:v>
                </c:pt>
                <c:pt idx="275">
                  <c:v>9.8086149999999996</c:v>
                </c:pt>
                <c:pt idx="276">
                  <c:v>9.645624999999999</c:v>
                </c:pt>
                <c:pt idx="277">
                  <c:v>9.8719900000000003</c:v>
                </c:pt>
                <c:pt idx="278">
                  <c:v>9.6396650000000008</c:v>
                </c:pt>
                <c:pt idx="279">
                  <c:v>9.0950750000000014</c:v>
                </c:pt>
                <c:pt idx="280">
                  <c:v>8.9285150000000009</c:v>
                </c:pt>
                <c:pt idx="281">
                  <c:v>8.8090799999999998</c:v>
                </c:pt>
                <c:pt idx="282">
                  <c:v>8.8038300000000014</c:v>
                </c:pt>
                <c:pt idx="283">
                  <c:v>8.6436449999999994</c:v>
                </c:pt>
                <c:pt idx="284">
                  <c:v>8.6324949999999987</c:v>
                </c:pt>
                <c:pt idx="285">
                  <c:v>7.9062200000000002</c:v>
                </c:pt>
                <c:pt idx="286">
                  <c:v>8.00935499999999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CCC-4D2C-B398-81D883D77703}"/>
            </c:ext>
          </c:extLst>
        </c:ser>
        <c:ser>
          <c:idx val="2"/>
          <c:order val="3"/>
          <c:tx>
            <c:strRef>
              <c:f>'[Peakstone Packaging Peer Analysis_12.31.2023 Q4_2023.xlsx]EBITDA Graph'!$G$24</c:f>
              <c:strCache>
                <c:ptCount val="1"/>
                <c:pt idx="0">
                  <c:v>S&amp;P 500</c:v>
                </c:pt>
              </c:strCache>
            </c:strRef>
          </c:tx>
          <c:spPr>
            <a:ln w="19050">
              <a:solidFill>
                <a:srgbClr val="6600CC"/>
              </a:solidFill>
            </a:ln>
          </c:spPr>
          <c:marker>
            <c:symbol val="none"/>
          </c:marker>
          <c:cat>
            <c:numRef>
              <c:f>'[Peakstone Packaging Peer Analysis_12.31.2023 Q4_2023.xlsx]EBITDA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EBITDA Graph'!$G$26:$G$312</c:f>
              <c:numCache>
                <c:formatCode>#,##0.0\x</c:formatCode>
                <c:ptCount val="287"/>
                <c:pt idx="0">
                  <c:v>16.567399999999999</c:v>
                </c:pt>
                <c:pt idx="1">
                  <c:v>16.18721</c:v>
                </c:pt>
                <c:pt idx="2">
                  <c:v>16.250689999999999</c:v>
                </c:pt>
                <c:pt idx="3">
                  <c:v>16.060320000000001</c:v>
                </c:pt>
                <c:pt idx="4">
                  <c:v>15.93807</c:v>
                </c:pt>
                <c:pt idx="5">
                  <c:v>15.575329999999999</c:v>
                </c:pt>
                <c:pt idx="6">
                  <c:v>15.10608</c:v>
                </c:pt>
                <c:pt idx="7">
                  <c:v>15.338089999999999</c:v>
                </c:pt>
                <c:pt idx="8">
                  <c:v>14.8651</c:v>
                </c:pt>
                <c:pt idx="9">
                  <c:v>14.73967</c:v>
                </c:pt>
                <c:pt idx="10">
                  <c:v>14.42281</c:v>
                </c:pt>
                <c:pt idx="11">
                  <c:v>13.3306</c:v>
                </c:pt>
                <c:pt idx="12">
                  <c:v>14.041359999999999</c:v>
                </c:pt>
                <c:pt idx="13">
                  <c:v>13.98259</c:v>
                </c:pt>
                <c:pt idx="14">
                  <c:v>14.40699</c:v>
                </c:pt>
                <c:pt idx="15">
                  <c:v>14.64446</c:v>
                </c:pt>
                <c:pt idx="16">
                  <c:v>14.25122</c:v>
                </c:pt>
                <c:pt idx="17">
                  <c:v>14.97099</c:v>
                </c:pt>
                <c:pt idx="18">
                  <c:v>14.858079999999999</c:v>
                </c:pt>
                <c:pt idx="19">
                  <c:v>14.54772</c:v>
                </c:pt>
                <c:pt idx="20">
                  <c:v>14.39095</c:v>
                </c:pt>
                <c:pt idx="21">
                  <c:v>14.112439999999999</c:v>
                </c:pt>
                <c:pt idx="22">
                  <c:v>13.88095</c:v>
                </c:pt>
                <c:pt idx="23">
                  <c:v>13.606389999999999</c:v>
                </c:pt>
                <c:pt idx="24">
                  <c:v>13.859260000000001</c:v>
                </c:pt>
                <c:pt idx="25">
                  <c:v>13.6844</c:v>
                </c:pt>
                <c:pt idx="26">
                  <c:v>13.742229999999999</c:v>
                </c:pt>
                <c:pt idx="27">
                  <c:v>13.08479</c:v>
                </c:pt>
                <c:pt idx="28">
                  <c:v>13.28579</c:v>
                </c:pt>
                <c:pt idx="29">
                  <c:v>13.14429</c:v>
                </c:pt>
                <c:pt idx="30">
                  <c:v>13.37379</c:v>
                </c:pt>
                <c:pt idx="31">
                  <c:v>12.93214</c:v>
                </c:pt>
                <c:pt idx="32">
                  <c:v>12.627359999999999</c:v>
                </c:pt>
                <c:pt idx="33">
                  <c:v>12.491569999999999</c:v>
                </c:pt>
                <c:pt idx="34">
                  <c:v>12.75348</c:v>
                </c:pt>
                <c:pt idx="35">
                  <c:v>13.0169</c:v>
                </c:pt>
                <c:pt idx="36">
                  <c:v>12.89405</c:v>
                </c:pt>
                <c:pt idx="37">
                  <c:v>12.69336</c:v>
                </c:pt>
                <c:pt idx="38">
                  <c:v>11.84221</c:v>
                </c:pt>
                <c:pt idx="39">
                  <c:v>11.893879999999999</c:v>
                </c:pt>
                <c:pt idx="40">
                  <c:v>12.68046</c:v>
                </c:pt>
                <c:pt idx="41">
                  <c:v>12.85422</c:v>
                </c:pt>
                <c:pt idx="42">
                  <c:v>13.75122</c:v>
                </c:pt>
                <c:pt idx="43">
                  <c:v>13.16239</c:v>
                </c:pt>
                <c:pt idx="44">
                  <c:v>12.963150000000001</c:v>
                </c:pt>
                <c:pt idx="45">
                  <c:v>12.71339</c:v>
                </c:pt>
                <c:pt idx="46">
                  <c:v>12.719900000000001</c:v>
                </c:pt>
                <c:pt idx="47">
                  <c:v>12.669689999999999</c:v>
                </c:pt>
                <c:pt idx="48">
                  <c:v>13.41259</c:v>
                </c:pt>
                <c:pt idx="49">
                  <c:v>13.069269999999999</c:v>
                </c:pt>
                <c:pt idx="50">
                  <c:v>13.599589999999999</c:v>
                </c:pt>
                <c:pt idx="51">
                  <c:v>14.698079999999999</c:v>
                </c:pt>
                <c:pt idx="52">
                  <c:v>15.233779999999999</c:v>
                </c:pt>
                <c:pt idx="53">
                  <c:v>14.90869</c:v>
                </c:pt>
                <c:pt idx="54">
                  <c:v>14.50174</c:v>
                </c:pt>
                <c:pt idx="55">
                  <c:v>14.54604</c:v>
                </c:pt>
                <c:pt idx="56">
                  <c:v>15.205769999999999</c:v>
                </c:pt>
                <c:pt idx="57">
                  <c:v>15.430859999999999</c:v>
                </c:pt>
                <c:pt idx="58">
                  <c:v>16.34037</c:v>
                </c:pt>
                <c:pt idx="59">
                  <c:v>16.602969999999999</c:v>
                </c:pt>
                <c:pt idx="60">
                  <c:v>16.535640000000001</c:v>
                </c:pt>
                <c:pt idx="61">
                  <c:v>16.072710000000001</c:v>
                </c:pt>
                <c:pt idx="62">
                  <c:v>16.390409999999999</c:v>
                </c:pt>
                <c:pt idx="63">
                  <c:v>16.28687</c:v>
                </c:pt>
                <c:pt idx="64">
                  <c:v>16.255949999999999</c:v>
                </c:pt>
                <c:pt idx="65">
                  <c:v>16.215299999999999</c:v>
                </c:pt>
                <c:pt idx="66">
                  <c:v>16.565729999999999</c:v>
                </c:pt>
                <c:pt idx="67">
                  <c:v>16.946210000000001</c:v>
                </c:pt>
                <c:pt idx="68">
                  <c:v>16.473769999999998</c:v>
                </c:pt>
                <c:pt idx="69">
                  <c:v>16.574850000000001</c:v>
                </c:pt>
                <c:pt idx="70">
                  <c:v>17.61862</c:v>
                </c:pt>
                <c:pt idx="71">
                  <c:v>17.769839999999999</c:v>
                </c:pt>
                <c:pt idx="72">
                  <c:v>17.420290000000001</c:v>
                </c:pt>
                <c:pt idx="73">
                  <c:v>17.297540000000001</c:v>
                </c:pt>
                <c:pt idx="74">
                  <c:v>17.1173</c:v>
                </c:pt>
                <c:pt idx="75">
                  <c:v>17.130800000000001</c:v>
                </c:pt>
                <c:pt idx="76">
                  <c:v>18.071909999999999</c:v>
                </c:pt>
                <c:pt idx="77">
                  <c:v>19.019169999999999</c:v>
                </c:pt>
                <c:pt idx="78">
                  <c:v>17.956420000000001</c:v>
                </c:pt>
                <c:pt idx="79">
                  <c:v>17.732880000000002</c:v>
                </c:pt>
                <c:pt idx="80">
                  <c:v>17.47758</c:v>
                </c:pt>
                <c:pt idx="81">
                  <c:v>18.074770000000001</c:v>
                </c:pt>
                <c:pt idx="82">
                  <c:v>17.956499999999998</c:v>
                </c:pt>
                <c:pt idx="83">
                  <c:v>17.47297</c:v>
                </c:pt>
                <c:pt idx="84">
                  <c:v>17.4392</c:v>
                </c:pt>
                <c:pt idx="85">
                  <c:v>16.988379999999999</c:v>
                </c:pt>
                <c:pt idx="86">
                  <c:v>16.525230000000001</c:v>
                </c:pt>
                <c:pt idx="87">
                  <c:v>16.472180000000002</c:v>
                </c:pt>
                <c:pt idx="88">
                  <c:v>16.43674</c:v>
                </c:pt>
                <c:pt idx="89">
                  <c:v>15.09834</c:v>
                </c:pt>
                <c:pt idx="90">
                  <c:v>15.82438</c:v>
                </c:pt>
                <c:pt idx="91">
                  <c:v>15.256779999999999</c:v>
                </c:pt>
                <c:pt idx="92">
                  <c:v>15.1455</c:v>
                </c:pt>
                <c:pt idx="93">
                  <c:v>15.609349999999999</c:v>
                </c:pt>
                <c:pt idx="94">
                  <c:v>15.588520000000001</c:v>
                </c:pt>
                <c:pt idx="95">
                  <c:v>15.524789999999999</c:v>
                </c:pt>
                <c:pt idx="96">
                  <c:v>14.380520000000001</c:v>
                </c:pt>
                <c:pt idx="97">
                  <c:v>14.461040000000001</c:v>
                </c:pt>
                <c:pt idx="98">
                  <c:v>13.720929999999999</c:v>
                </c:pt>
                <c:pt idx="99">
                  <c:v>13.732010000000001</c:v>
                </c:pt>
                <c:pt idx="100">
                  <c:v>13.78777</c:v>
                </c:pt>
                <c:pt idx="101">
                  <c:v>13.089650000000001</c:v>
                </c:pt>
                <c:pt idx="102">
                  <c:v>12.263019999999999</c:v>
                </c:pt>
                <c:pt idx="103">
                  <c:v>12.44341</c:v>
                </c:pt>
                <c:pt idx="104">
                  <c:v>11.336370000000001</c:v>
                </c:pt>
                <c:pt idx="105">
                  <c:v>10.62673</c:v>
                </c:pt>
                <c:pt idx="106">
                  <c:v>13.027419999999999</c:v>
                </c:pt>
                <c:pt idx="107">
                  <c:v>14.59751</c:v>
                </c:pt>
                <c:pt idx="108">
                  <c:v>14.41666</c:v>
                </c:pt>
                <c:pt idx="109">
                  <c:v>14.290089999999999</c:v>
                </c:pt>
                <c:pt idx="110">
                  <c:v>14.23452</c:v>
                </c:pt>
                <c:pt idx="111">
                  <c:v>14.09939</c:v>
                </c:pt>
                <c:pt idx="112">
                  <c:v>13.778729999999999</c:v>
                </c:pt>
                <c:pt idx="113">
                  <c:v>13.66168</c:v>
                </c:pt>
                <c:pt idx="114">
                  <c:v>13.5665</c:v>
                </c:pt>
                <c:pt idx="115">
                  <c:v>13.22246</c:v>
                </c:pt>
                <c:pt idx="116">
                  <c:v>12.986190000000001</c:v>
                </c:pt>
                <c:pt idx="117">
                  <c:v>12.942360000000001</c:v>
                </c:pt>
                <c:pt idx="118">
                  <c:v>13.03613</c:v>
                </c:pt>
                <c:pt idx="119">
                  <c:v>13.0236</c:v>
                </c:pt>
                <c:pt idx="120">
                  <c:v>12.507059999999999</c:v>
                </c:pt>
                <c:pt idx="121">
                  <c:v>12.779949999999999</c:v>
                </c:pt>
                <c:pt idx="122">
                  <c:v>13.103859999999999</c:v>
                </c:pt>
                <c:pt idx="123">
                  <c:v>13.18482</c:v>
                </c:pt>
                <c:pt idx="124">
                  <c:v>12.91817</c:v>
                </c:pt>
                <c:pt idx="125">
                  <c:v>12.626239999999999</c:v>
                </c:pt>
                <c:pt idx="126">
                  <c:v>12.08588</c:v>
                </c:pt>
                <c:pt idx="127">
                  <c:v>12.507580000000001</c:v>
                </c:pt>
                <c:pt idx="128">
                  <c:v>13.031779999999999</c:v>
                </c:pt>
                <c:pt idx="129">
                  <c:v>12.684240000000001</c:v>
                </c:pt>
                <c:pt idx="130">
                  <c:v>12.70673</c:v>
                </c:pt>
                <c:pt idx="131">
                  <c:v>12.40441</c:v>
                </c:pt>
                <c:pt idx="132">
                  <c:v>12.112959999999999</c:v>
                </c:pt>
                <c:pt idx="133">
                  <c:v>12.041650000000001</c:v>
                </c:pt>
                <c:pt idx="134">
                  <c:v>11.632250000000001</c:v>
                </c:pt>
                <c:pt idx="135">
                  <c:v>11.62918</c:v>
                </c:pt>
                <c:pt idx="136">
                  <c:v>11.379189999999999</c:v>
                </c:pt>
                <c:pt idx="137">
                  <c:v>10.95213</c:v>
                </c:pt>
                <c:pt idx="138">
                  <c:v>11.38452</c:v>
                </c:pt>
                <c:pt idx="139">
                  <c:v>11.955830000000001</c:v>
                </c:pt>
                <c:pt idx="140">
                  <c:v>11.86439</c:v>
                </c:pt>
                <c:pt idx="141">
                  <c:v>12.058920000000001</c:v>
                </c:pt>
                <c:pt idx="142">
                  <c:v>12.47</c:v>
                </c:pt>
                <c:pt idx="143">
                  <c:v>12.9931</c:v>
                </c:pt>
                <c:pt idx="144">
                  <c:v>13.138719999999999</c:v>
                </c:pt>
                <c:pt idx="145">
                  <c:v>12.905150000000001</c:v>
                </c:pt>
                <c:pt idx="146">
                  <c:v>12.83977</c:v>
                </c:pt>
                <c:pt idx="147">
                  <c:v>12.763669999999999</c:v>
                </c:pt>
                <c:pt idx="148">
                  <c:v>12.82291</c:v>
                </c:pt>
                <c:pt idx="149">
                  <c:v>12.99696</c:v>
                </c:pt>
                <c:pt idx="150">
                  <c:v>12.62097</c:v>
                </c:pt>
                <c:pt idx="151">
                  <c:v>12.927759999999999</c:v>
                </c:pt>
                <c:pt idx="152">
                  <c:v>12.76235</c:v>
                </c:pt>
                <c:pt idx="153">
                  <c:v>12.64334</c:v>
                </c:pt>
                <c:pt idx="154">
                  <c:v>12.37706</c:v>
                </c:pt>
                <c:pt idx="155">
                  <c:v>12.58347</c:v>
                </c:pt>
                <c:pt idx="156">
                  <c:v>12.6762</c:v>
                </c:pt>
                <c:pt idx="157">
                  <c:v>12.393129999999999</c:v>
                </c:pt>
                <c:pt idx="158">
                  <c:v>13.193669999999999</c:v>
                </c:pt>
                <c:pt idx="159">
                  <c:v>13.078060000000001</c:v>
                </c:pt>
                <c:pt idx="160">
                  <c:v>12.37143</c:v>
                </c:pt>
                <c:pt idx="161">
                  <c:v>13.768890000000001</c:v>
                </c:pt>
                <c:pt idx="162">
                  <c:v>13.25949</c:v>
                </c:pt>
                <c:pt idx="163">
                  <c:v>12.760590000000001</c:v>
                </c:pt>
                <c:pt idx="164">
                  <c:v>12.775449999999999</c:v>
                </c:pt>
                <c:pt idx="165">
                  <c:v>12.636240000000001</c:v>
                </c:pt>
                <c:pt idx="166">
                  <c:v>12.407819999999999</c:v>
                </c:pt>
                <c:pt idx="167">
                  <c:v>12.42639</c:v>
                </c:pt>
                <c:pt idx="168">
                  <c:v>12.42048</c:v>
                </c:pt>
                <c:pt idx="169">
                  <c:v>12.4459</c:v>
                </c:pt>
                <c:pt idx="170">
                  <c:v>12.28932</c:v>
                </c:pt>
                <c:pt idx="171">
                  <c:v>12.14293</c:v>
                </c:pt>
                <c:pt idx="172">
                  <c:v>11.993230000000001</c:v>
                </c:pt>
                <c:pt idx="173">
                  <c:v>12.14048</c:v>
                </c:pt>
                <c:pt idx="174">
                  <c:v>12.04377</c:v>
                </c:pt>
                <c:pt idx="175">
                  <c:v>12.39955</c:v>
                </c:pt>
                <c:pt idx="176">
                  <c:v>12.16822</c:v>
                </c:pt>
                <c:pt idx="177">
                  <c:v>12.25854</c:v>
                </c:pt>
                <c:pt idx="178">
                  <c:v>12.338139999999999</c:v>
                </c:pt>
                <c:pt idx="179">
                  <c:v>12.05879</c:v>
                </c:pt>
                <c:pt idx="180">
                  <c:v>12.35694</c:v>
                </c:pt>
                <c:pt idx="181">
                  <c:v>11.999510000000001</c:v>
                </c:pt>
                <c:pt idx="182">
                  <c:v>12.195119999999999</c:v>
                </c:pt>
                <c:pt idx="183">
                  <c:v>12.148540000000001</c:v>
                </c:pt>
                <c:pt idx="184">
                  <c:v>12.202489999999999</c:v>
                </c:pt>
                <c:pt idx="185">
                  <c:v>12.15447</c:v>
                </c:pt>
                <c:pt idx="186">
                  <c:v>11.865460000000001</c:v>
                </c:pt>
                <c:pt idx="187">
                  <c:v>11.80762</c:v>
                </c:pt>
                <c:pt idx="188">
                  <c:v>11.77408</c:v>
                </c:pt>
                <c:pt idx="189">
                  <c:v>11.642480000000001</c:v>
                </c:pt>
                <c:pt idx="190">
                  <c:v>11.737069999999999</c:v>
                </c:pt>
                <c:pt idx="191">
                  <c:v>11.44323</c:v>
                </c:pt>
                <c:pt idx="192">
                  <c:v>11.412990000000001</c:v>
                </c:pt>
                <c:pt idx="193">
                  <c:v>11.251989999999999</c:v>
                </c:pt>
                <c:pt idx="194">
                  <c:v>11.30409</c:v>
                </c:pt>
                <c:pt idx="195">
                  <c:v>11.51825</c:v>
                </c:pt>
                <c:pt idx="196">
                  <c:v>11.57475</c:v>
                </c:pt>
                <c:pt idx="197">
                  <c:v>11.35322</c:v>
                </c:pt>
                <c:pt idx="198">
                  <c:v>11.588240000000001</c:v>
                </c:pt>
                <c:pt idx="199">
                  <c:v>11.69706</c:v>
                </c:pt>
                <c:pt idx="200">
                  <c:v>11.59187</c:v>
                </c:pt>
                <c:pt idx="201">
                  <c:v>11.494669999999999</c:v>
                </c:pt>
                <c:pt idx="202">
                  <c:v>11.27704</c:v>
                </c:pt>
                <c:pt idx="203">
                  <c:v>11.07832</c:v>
                </c:pt>
                <c:pt idx="204">
                  <c:v>11.18177</c:v>
                </c:pt>
                <c:pt idx="205">
                  <c:v>10.956759999999999</c:v>
                </c:pt>
                <c:pt idx="206">
                  <c:v>10.995950000000001</c:v>
                </c:pt>
                <c:pt idx="207">
                  <c:v>10.901260000000001</c:v>
                </c:pt>
                <c:pt idx="208">
                  <c:v>10.89514</c:v>
                </c:pt>
                <c:pt idx="209">
                  <c:v>10.79012</c:v>
                </c:pt>
                <c:pt idx="210">
                  <c:v>10.705719999999999</c:v>
                </c:pt>
                <c:pt idx="211">
                  <c:v>10.408899999999999</c:v>
                </c:pt>
                <c:pt idx="212">
                  <c:v>9.7343600000000006</c:v>
                </c:pt>
                <c:pt idx="213">
                  <c:v>10.008369999999999</c:v>
                </c:pt>
                <c:pt idx="214">
                  <c:v>9.8079599999999996</c:v>
                </c:pt>
                <c:pt idx="215">
                  <c:v>10.52901</c:v>
                </c:pt>
                <c:pt idx="216">
                  <c:v>10.34343</c:v>
                </c:pt>
                <c:pt idx="217">
                  <c:v>10.7149</c:v>
                </c:pt>
                <c:pt idx="218">
                  <c:v>10.750540000000001</c:v>
                </c:pt>
                <c:pt idx="219">
                  <c:v>10.79885</c:v>
                </c:pt>
                <c:pt idx="220">
                  <c:v>10.65184</c:v>
                </c:pt>
                <c:pt idx="221">
                  <c:v>10.386699999999999</c:v>
                </c:pt>
                <c:pt idx="222">
                  <c:v>9.9564900000000005</c:v>
                </c:pt>
                <c:pt idx="223">
                  <c:v>10.10242</c:v>
                </c:pt>
                <c:pt idx="224">
                  <c:v>10.249790000000001</c:v>
                </c:pt>
                <c:pt idx="225">
                  <c:v>10.687340000000001</c:v>
                </c:pt>
                <c:pt idx="226">
                  <c:v>10.719480000000001</c:v>
                </c:pt>
                <c:pt idx="227">
                  <c:v>10.660500000000001</c:v>
                </c:pt>
                <c:pt idx="228">
                  <c:v>10.48902</c:v>
                </c:pt>
                <c:pt idx="229">
                  <c:v>10.66225</c:v>
                </c:pt>
                <c:pt idx="230">
                  <c:v>10.59455</c:v>
                </c:pt>
                <c:pt idx="231">
                  <c:v>10.771649999999999</c:v>
                </c:pt>
                <c:pt idx="232">
                  <c:v>10.686360000000001</c:v>
                </c:pt>
                <c:pt idx="233">
                  <c:v>10.52745</c:v>
                </c:pt>
                <c:pt idx="234">
                  <c:v>10.61642</c:v>
                </c:pt>
                <c:pt idx="235">
                  <c:v>10.417920000000001</c:v>
                </c:pt>
                <c:pt idx="236">
                  <c:v>10.342779999999999</c:v>
                </c:pt>
                <c:pt idx="237">
                  <c:v>10.67066</c:v>
                </c:pt>
                <c:pt idx="238">
                  <c:v>10.45539</c:v>
                </c:pt>
                <c:pt idx="239">
                  <c:v>10.11247</c:v>
                </c:pt>
                <c:pt idx="240">
                  <c:v>10.083740000000001</c:v>
                </c:pt>
                <c:pt idx="241">
                  <c:v>10.274419999999999</c:v>
                </c:pt>
                <c:pt idx="242">
                  <c:v>10.344860000000001</c:v>
                </c:pt>
                <c:pt idx="243">
                  <c:v>10.36688</c:v>
                </c:pt>
                <c:pt idx="244">
                  <c:v>10.3436</c:v>
                </c:pt>
                <c:pt idx="245">
                  <c:v>10.172370000000001</c:v>
                </c:pt>
                <c:pt idx="246">
                  <c:v>9.9012100000000007</c:v>
                </c:pt>
                <c:pt idx="247">
                  <c:v>9.7362300000000008</c:v>
                </c:pt>
                <c:pt idx="248">
                  <c:v>10.111800000000001</c:v>
                </c:pt>
                <c:pt idx="249">
                  <c:v>10.129490000000001</c:v>
                </c:pt>
                <c:pt idx="250">
                  <c:v>10.23054</c:v>
                </c:pt>
                <c:pt idx="251">
                  <c:v>10.026999999999999</c:v>
                </c:pt>
                <c:pt idx="252">
                  <c:v>9.8539499999999993</c:v>
                </c:pt>
                <c:pt idx="253">
                  <c:v>10.10871</c:v>
                </c:pt>
                <c:pt idx="254">
                  <c:v>10.28129</c:v>
                </c:pt>
                <c:pt idx="255">
                  <c:v>10.16409</c:v>
                </c:pt>
                <c:pt idx="256">
                  <c:v>10.11021</c:v>
                </c:pt>
                <c:pt idx="257">
                  <c:v>9.89724</c:v>
                </c:pt>
                <c:pt idx="258">
                  <c:v>9.7831200000000003</c:v>
                </c:pt>
                <c:pt idx="259">
                  <c:v>9.6598799999999994</c:v>
                </c:pt>
                <c:pt idx="260">
                  <c:v>9.5944699999999994</c:v>
                </c:pt>
                <c:pt idx="261">
                  <c:v>9.7919300000000007</c:v>
                </c:pt>
                <c:pt idx="262">
                  <c:v>9.7307900000000007</c:v>
                </c:pt>
                <c:pt idx="263">
                  <c:v>9.7941699999999994</c:v>
                </c:pt>
                <c:pt idx="264">
                  <c:v>9.5114699999999992</c:v>
                </c:pt>
                <c:pt idx="265">
                  <c:v>9.2458899999999993</c:v>
                </c:pt>
                <c:pt idx="266">
                  <c:v>9.8739500000000007</c:v>
                </c:pt>
                <c:pt idx="267">
                  <c:v>9.9343299999999992</c:v>
                </c:pt>
                <c:pt idx="268">
                  <c:v>9.8321100000000001</c:v>
                </c:pt>
                <c:pt idx="269">
                  <c:v>9.7628599999999999</c:v>
                </c:pt>
                <c:pt idx="270">
                  <c:v>9.7687100000000004</c:v>
                </c:pt>
                <c:pt idx="271">
                  <c:v>9.6266400000000001</c:v>
                </c:pt>
                <c:pt idx="272">
                  <c:v>9.5276700000000005</c:v>
                </c:pt>
                <c:pt idx="273">
                  <c:v>9.4212799999999994</c:v>
                </c:pt>
                <c:pt idx="274">
                  <c:v>9.4250500000000006</c:v>
                </c:pt>
                <c:pt idx="275">
                  <c:v>9.3683899999999998</c:v>
                </c:pt>
                <c:pt idx="276">
                  <c:v>9.1145399999999999</c:v>
                </c:pt>
                <c:pt idx="277">
                  <c:v>9.2068499999999993</c:v>
                </c:pt>
                <c:pt idx="278">
                  <c:v>9.5241399999999992</c:v>
                </c:pt>
                <c:pt idx="279">
                  <c:v>9.2399799999999992</c:v>
                </c:pt>
                <c:pt idx="280">
                  <c:v>9.0969599999999993</c:v>
                </c:pt>
                <c:pt idx="281">
                  <c:v>8.9132800000000003</c:v>
                </c:pt>
                <c:pt idx="282">
                  <c:v>9.1754999999999995</c:v>
                </c:pt>
                <c:pt idx="283">
                  <c:v>9.2455599999999993</c:v>
                </c:pt>
                <c:pt idx="284">
                  <c:v>9.2008100000000006</c:v>
                </c:pt>
                <c:pt idx="285">
                  <c:v>8.8500700000000005</c:v>
                </c:pt>
                <c:pt idx="286">
                  <c:v>9.0325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CCC-4D2C-B398-81D883D777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8908104"/>
        <c:axId val="258908496"/>
        <c:extLst/>
      </c:lineChart>
      <c:dateAx>
        <c:axId val="258908104"/>
        <c:scaling>
          <c:orientation val="minMax"/>
          <c:max val="45382"/>
          <c:min val="41378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8908496"/>
        <c:crossesAt val="-50"/>
        <c:auto val="0"/>
        <c:lblOffset val="100"/>
        <c:baseTimeUnit val="days"/>
        <c:majorUnit val="13"/>
        <c:majorTimeUnit val="months"/>
      </c:dateAx>
      <c:valAx>
        <c:axId val="258908496"/>
        <c:scaling>
          <c:orientation val="minMax"/>
        </c:scaling>
        <c:delete val="0"/>
        <c:axPos val="l"/>
        <c:numFmt formatCode="#,##0.0\x" sourceLinked="0"/>
        <c:majorTickMark val="out"/>
        <c:minorTickMark val="none"/>
        <c:tickLblPos val="low"/>
        <c:spPr>
          <a:noFill/>
          <a:ln w="63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8908104"/>
        <c:crossesAt val="41459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265350811033681E-2"/>
          <c:y val="3.5305933368074846E-2"/>
          <c:w val="0.72519179086091246"/>
          <c:h val="0.85007532842178524"/>
        </c:manualLayout>
      </c:layout>
      <c:lineChart>
        <c:grouping val="standard"/>
        <c:varyColors val="0"/>
        <c:ser>
          <c:idx val="0"/>
          <c:order val="0"/>
          <c:tx>
            <c:strRef>
              <c:f>'[Peakstone Packaging Peer Analysis_12.31.2023 Q4_2023.xlsx]Stock Graph'!$D$24</c:f>
              <c:strCache>
                <c:ptCount val="1"/>
                <c:pt idx="0">
                  <c:v>Peakstone Plastic, Metal and Glass Containers Index</c:v>
                </c:pt>
              </c:strCache>
            </c:strRef>
          </c:tx>
          <c:spPr>
            <a:ln w="19050">
              <a:solidFill>
                <a:srgbClr val="145078"/>
              </a:solidFill>
            </a:ln>
          </c:spPr>
          <c:marker>
            <c:symbol val="none"/>
          </c:marker>
          <c:cat>
            <c:numRef>
              <c:f>'[Peakstone Packaging Peer Analysis_12.31.2023 Q4_2023.xlsx]Stock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Stock Graph'!$D$26:$D$312</c:f>
              <c:numCache>
                <c:formatCode>0.0%</c:formatCode>
                <c:ptCount val="287"/>
                <c:pt idx="0">
                  <c:v>1.1013682790518402</c:v>
                </c:pt>
                <c:pt idx="1">
                  <c:v>1.0086721911736365</c:v>
                </c:pt>
                <c:pt idx="2">
                  <c:v>0.96858739641549441</c:v>
                </c:pt>
                <c:pt idx="3">
                  <c:v>0.97263441896319136</c:v>
                </c:pt>
                <c:pt idx="4">
                  <c:v>1.0183079591443436</c:v>
                </c:pt>
                <c:pt idx="5">
                  <c:v>0.90171516669878604</c:v>
                </c:pt>
                <c:pt idx="6">
                  <c:v>0.96955097321256511</c:v>
                </c:pt>
                <c:pt idx="7">
                  <c:v>0.97841587974561561</c:v>
                </c:pt>
                <c:pt idx="8">
                  <c:v>0.92387743303141256</c:v>
                </c:pt>
                <c:pt idx="9">
                  <c:v>0.85739063403353233</c:v>
                </c:pt>
                <c:pt idx="10">
                  <c:v>0.72904220466371161</c:v>
                </c:pt>
                <c:pt idx="11">
                  <c:v>0.66679514357294289</c:v>
                </c:pt>
                <c:pt idx="12">
                  <c:v>0.625939487377144</c:v>
                </c:pt>
                <c:pt idx="13">
                  <c:v>0.79013297359799572</c:v>
                </c:pt>
                <c:pt idx="14">
                  <c:v>0.84390055887454241</c:v>
                </c:pt>
                <c:pt idx="15">
                  <c:v>0.92484100982848327</c:v>
                </c:pt>
                <c:pt idx="16">
                  <c:v>0.91424166506070526</c:v>
                </c:pt>
                <c:pt idx="17">
                  <c:v>0.96087878203892851</c:v>
                </c:pt>
                <c:pt idx="18">
                  <c:v>1.0356523414916168</c:v>
                </c:pt>
                <c:pt idx="19">
                  <c:v>1.0134900751589901</c:v>
                </c:pt>
                <c:pt idx="20">
                  <c:v>0.9572171902100598</c:v>
                </c:pt>
                <c:pt idx="21">
                  <c:v>0.91693968009250337</c:v>
                </c:pt>
                <c:pt idx="22">
                  <c:v>0.93216419348622093</c:v>
                </c:pt>
                <c:pt idx="23">
                  <c:v>1.0134900751589901</c:v>
                </c:pt>
                <c:pt idx="24">
                  <c:v>0.97417614183850443</c:v>
                </c:pt>
                <c:pt idx="25">
                  <c:v>0.96588938138369607</c:v>
                </c:pt>
                <c:pt idx="26">
                  <c:v>1.0963576797070727</c:v>
                </c:pt>
                <c:pt idx="27">
                  <c:v>0.9653112353054536</c:v>
                </c:pt>
                <c:pt idx="28">
                  <c:v>1.1534014260936598</c:v>
                </c:pt>
                <c:pt idx="29">
                  <c:v>1.144536519560609</c:v>
                </c:pt>
                <c:pt idx="30">
                  <c:v>1.1932935054923877</c:v>
                </c:pt>
                <c:pt idx="31">
                  <c:v>1.1065715937560223</c:v>
                </c:pt>
                <c:pt idx="32">
                  <c:v>1.0572364617460011</c:v>
                </c:pt>
                <c:pt idx="33">
                  <c:v>1.013297359799576</c:v>
                </c:pt>
                <c:pt idx="34">
                  <c:v>1.0468298323376375</c:v>
                </c:pt>
                <c:pt idx="35">
                  <c:v>1.10599344767778</c:v>
                </c:pt>
                <c:pt idx="36">
                  <c:v>0.94873771439583743</c:v>
                </c:pt>
                <c:pt idx="37">
                  <c:v>0.84968201965696644</c:v>
                </c:pt>
                <c:pt idx="38">
                  <c:v>0.72268259780304489</c:v>
                </c:pt>
                <c:pt idx="39">
                  <c:v>0.70687993833108487</c:v>
                </c:pt>
                <c:pt idx="40">
                  <c:v>0.89419926768163405</c:v>
                </c:pt>
                <c:pt idx="41">
                  <c:v>0.90884563499710946</c:v>
                </c:pt>
                <c:pt idx="42">
                  <c:v>1.0302563114280208</c:v>
                </c:pt>
                <c:pt idx="43">
                  <c:v>0.88494893042975531</c:v>
                </c:pt>
                <c:pt idx="44">
                  <c:v>0.88803237618038156</c:v>
                </c:pt>
                <c:pt idx="45">
                  <c:v>0.76585083831181333</c:v>
                </c:pt>
                <c:pt idx="46">
                  <c:v>0.91925226440547314</c:v>
                </c:pt>
                <c:pt idx="47">
                  <c:v>0.9425708228945846</c:v>
                </c:pt>
                <c:pt idx="48">
                  <c:v>0.99903642320292929</c:v>
                </c:pt>
                <c:pt idx="49">
                  <c:v>0.87589130853729047</c:v>
                </c:pt>
                <c:pt idx="50">
                  <c:v>0.94102910001927154</c:v>
                </c:pt>
                <c:pt idx="51">
                  <c:v>0.97398342647909053</c:v>
                </c:pt>
                <c:pt idx="52">
                  <c:v>1.0354596261322029</c:v>
                </c:pt>
                <c:pt idx="53">
                  <c:v>1.0298708807091927</c:v>
                </c:pt>
                <c:pt idx="54">
                  <c:v>0.90422046637116982</c:v>
                </c:pt>
                <c:pt idx="55">
                  <c:v>0.97822316438620172</c:v>
                </c:pt>
                <c:pt idx="56">
                  <c:v>0.9495085758334938</c:v>
                </c:pt>
                <c:pt idx="57">
                  <c:v>0.96030063596068604</c:v>
                </c:pt>
                <c:pt idx="58">
                  <c:v>0.99808421661206381</c:v>
                </c:pt>
                <c:pt idx="59">
                  <c:v>0.93123068028521849</c:v>
                </c:pt>
                <c:pt idx="60">
                  <c:v>1.0202191173636539</c:v>
                </c:pt>
                <c:pt idx="61">
                  <c:v>1.1201424166506071</c:v>
                </c:pt>
                <c:pt idx="62">
                  <c:v>1.1931586047407978</c:v>
                </c:pt>
                <c:pt idx="63">
                  <c:v>1.0857128541144732</c:v>
                </c:pt>
                <c:pt idx="64">
                  <c:v>1.105431875120447</c:v>
                </c:pt>
                <c:pt idx="65">
                  <c:v>1.0577912892657542</c:v>
                </c:pt>
                <c:pt idx="66">
                  <c:v>1.1481349007515897</c:v>
                </c:pt>
                <c:pt idx="67">
                  <c:v>1.3563303141260359</c:v>
                </c:pt>
                <c:pt idx="68">
                  <c:v>1.2091719021005973</c:v>
                </c:pt>
                <c:pt idx="69">
                  <c:v>1.2069693582578533</c:v>
                </c:pt>
                <c:pt idx="70">
                  <c:v>1.1323675081904028</c:v>
                </c:pt>
                <c:pt idx="71">
                  <c:v>1.0860439391019465</c:v>
                </c:pt>
                <c:pt idx="72">
                  <c:v>1.0763663518982463</c:v>
                </c:pt>
                <c:pt idx="73">
                  <c:v>1.1754449797648872</c:v>
                </c:pt>
                <c:pt idx="74">
                  <c:v>1.0979797648872616</c:v>
                </c:pt>
                <c:pt idx="75">
                  <c:v>1.1590732318365775</c:v>
                </c:pt>
                <c:pt idx="76">
                  <c:v>1.0808984390055889</c:v>
                </c:pt>
                <c:pt idx="77">
                  <c:v>1.0540639814993256</c:v>
                </c:pt>
                <c:pt idx="78">
                  <c:v>0.97413220273655809</c:v>
                </c:pt>
                <c:pt idx="79">
                  <c:v>1.0100844093274235</c:v>
                </c:pt>
                <c:pt idx="80">
                  <c:v>0.94250741954133754</c:v>
                </c:pt>
                <c:pt idx="81">
                  <c:v>0.82686625554056636</c:v>
                </c:pt>
                <c:pt idx="82">
                  <c:v>0.87716303719406441</c:v>
                </c:pt>
                <c:pt idx="83">
                  <c:v>0.94977433031412595</c:v>
                </c:pt>
                <c:pt idx="84">
                  <c:v>0.98107747157448466</c:v>
                </c:pt>
                <c:pt idx="85">
                  <c:v>0.89413046829832332</c:v>
                </c:pt>
                <c:pt idx="86">
                  <c:v>0.89515455771825025</c:v>
                </c:pt>
                <c:pt idx="87">
                  <c:v>0.95582482173829264</c:v>
                </c:pt>
                <c:pt idx="88">
                  <c:v>0.90229331277702851</c:v>
                </c:pt>
                <c:pt idx="89">
                  <c:v>0.68086336481017529</c:v>
                </c:pt>
                <c:pt idx="90">
                  <c:v>0.80073231836577374</c:v>
                </c:pt>
                <c:pt idx="91">
                  <c:v>0.68876469454615519</c:v>
                </c:pt>
                <c:pt idx="92">
                  <c:v>0.64798882250915391</c:v>
                </c:pt>
                <c:pt idx="93">
                  <c:v>0.6528982462902293</c:v>
                </c:pt>
                <c:pt idx="94">
                  <c:v>0.62693158604740806</c:v>
                </c:pt>
                <c:pt idx="95">
                  <c:v>0.65446887646945473</c:v>
                </c:pt>
                <c:pt idx="96">
                  <c:v>0.63878570052033157</c:v>
                </c:pt>
                <c:pt idx="97">
                  <c:v>0.40452187319329347</c:v>
                </c:pt>
                <c:pt idx="98">
                  <c:v>0.38508325303526697</c:v>
                </c:pt>
                <c:pt idx="99">
                  <c:v>0.43163788783966078</c:v>
                </c:pt>
                <c:pt idx="100">
                  <c:v>0.43299267681634224</c:v>
                </c:pt>
                <c:pt idx="101">
                  <c:v>0.3009312006166891</c:v>
                </c:pt>
                <c:pt idx="102">
                  <c:v>0.37648390826748879</c:v>
                </c:pt>
                <c:pt idx="103">
                  <c:v>0.28044401618809012</c:v>
                </c:pt>
                <c:pt idx="104">
                  <c:v>0.1610144536519561</c:v>
                </c:pt>
                <c:pt idx="105">
                  <c:v>4.2780882636346031E-2</c:v>
                </c:pt>
                <c:pt idx="106">
                  <c:v>0.30333397571786463</c:v>
                </c:pt>
                <c:pt idx="107">
                  <c:v>0.66274812102524572</c:v>
                </c:pt>
                <c:pt idx="108">
                  <c:v>0.60165735209096161</c:v>
                </c:pt>
                <c:pt idx="109">
                  <c:v>0.71904548082482156</c:v>
                </c:pt>
                <c:pt idx="110">
                  <c:v>0.69512430140682224</c:v>
                </c:pt>
                <c:pt idx="111">
                  <c:v>0.75686702640200398</c:v>
                </c:pt>
                <c:pt idx="112">
                  <c:v>0.70794642513008277</c:v>
                </c:pt>
                <c:pt idx="113">
                  <c:v>0.67772229716708399</c:v>
                </c:pt>
                <c:pt idx="114">
                  <c:v>0.59279244555791111</c:v>
                </c:pt>
                <c:pt idx="115">
                  <c:v>0.60242821352861831</c:v>
                </c:pt>
                <c:pt idx="116">
                  <c:v>0.50722682597803026</c:v>
                </c:pt>
                <c:pt idx="117">
                  <c:v>0.44787049527847361</c:v>
                </c:pt>
                <c:pt idx="118">
                  <c:v>0.49200231258431271</c:v>
                </c:pt>
                <c:pt idx="119">
                  <c:v>0.42782809789940263</c:v>
                </c:pt>
                <c:pt idx="120">
                  <c:v>0.35125496242050486</c:v>
                </c:pt>
                <c:pt idx="121">
                  <c:v>0.40557082289458463</c:v>
                </c:pt>
                <c:pt idx="122">
                  <c:v>0.45493197147812681</c:v>
                </c:pt>
                <c:pt idx="123">
                  <c:v>0.46528676045480805</c:v>
                </c:pt>
                <c:pt idx="124">
                  <c:v>0.42025476970514536</c:v>
                </c:pt>
                <c:pt idx="125">
                  <c:v>0.43200520331470404</c:v>
                </c:pt>
                <c:pt idx="126">
                  <c:v>0.41509115436500288</c:v>
                </c:pt>
                <c:pt idx="127">
                  <c:v>0.46554692619001731</c:v>
                </c:pt>
                <c:pt idx="128">
                  <c:v>0.52865966467527448</c:v>
                </c:pt>
                <c:pt idx="129">
                  <c:v>0.44343476585083846</c:v>
                </c:pt>
                <c:pt idx="130">
                  <c:v>0.53965812295239957</c:v>
                </c:pt>
                <c:pt idx="131">
                  <c:v>0.47842127577567944</c:v>
                </c:pt>
                <c:pt idx="132">
                  <c:v>0.45863133551744062</c:v>
                </c:pt>
                <c:pt idx="133">
                  <c:v>0.49032857968780119</c:v>
                </c:pt>
                <c:pt idx="134">
                  <c:v>0.37183041048371557</c:v>
                </c:pt>
                <c:pt idx="135">
                  <c:v>0.501252649836192</c:v>
                </c:pt>
                <c:pt idx="136">
                  <c:v>0.47889766814415097</c:v>
                </c:pt>
                <c:pt idx="137">
                  <c:v>0.28386972441703612</c:v>
                </c:pt>
                <c:pt idx="138">
                  <c:v>0.53555598381190994</c:v>
                </c:pt>
                <c:pt idx="139">
                  <c:v>0.67797263441896305</c:v>
                </c:pt>
                <c:pt idx="140">
                  <c:v>0.67161302755829633</c:v>
                </c:pt>
                <c:pt idx="141">
                  <c:v>0.60878782038928481</c:v>
                </c:pt>
                <c:pt idx="142">
                  <c:v>0.42705723646174593</c:v>
                </c:pt>
                <c:pt idx="143">
                  <c:v>0.50645596454037389</c:v>
                </c:pt>
                <c:pt idx="144">
                  <c:v>0.52476392368471769</c:v>
                </c:pt>
                <c:pt idx="145">
                  <c:v>0.45013875505877832</c:v>
                </c:pt>
                <c:pt idx="146">
                  <c:v>0.48815108884178054</c:v>
                </c:pt>
                <c:pt idx="147">
                  <c:v>0.45358932356908843</c:v>
                </c:pt>
                <c:pt idx="148">
                  <c:v>0.429588167276932</c:v>
                </c:pt>
                <c:pt idx="149">
                  <c:v>0.53690499132780878</c:v>
                </c:pt>
                <c:pt idx="150">
                  <c:v>0.5072946617845443</c:v>
                </c:pt>
                <c:pt idx="151">
                  <c:v>0.60362112160339176</c:v>
                </c:pt>
                <c:pt idx="152">
                  <c:v>0.59439391019464261</c:v>
                </c:pt>
                <c:pt idx="153">
                  <c:v>0.64097745230294845</c:v>
                </c:pt>
                <c:pt idx="154">
                  <c:v>0.62787454230102135</c:v>
                </c:pt>
                <c:pt idx="155">
                  <c:v>0.65098053574869896</c:v>
                </c:pt>
                <c:pt idx="156">
                  <c:v>0.76257101560994422</c:v>
                </c:pt>
                <c:pt idx="157">
                  <c:v>0.74078049720562744</c:v>
                </c:pt>
                <c:pt idx="158">
                  <c:v>0.85736384659857401</c:v>
                </c:pt>
                <c:pt idx="159">
                  <c:v>0.80934611678550761</c:v>
                </c:pt>
                <c:pt idx="160">
                  <c:v>0.72767450375794973</c:v>
                </c:pt>
                <c:pt idx="161">
                  <c:v>0.93073578724224315</c:v>
                </c:pt>
                <c:pt idx="162">
                  <c:v>0.92304721526305666</c:v>
                </c:pt>
                <c:pt idx="163">
                  <c:v>0.89394681056080161</c:v>
                </c:pt>
                <c:pt idx="164">
                  <c:v>0.94061765272692233</c:v>
                </c:pt>
                <c:pt idx="165">
                  <c:v>0.87868972827134306</c:v>
                </c:pt>
                <c:pt idx="166">
                  <c:v>0.84682231643862038</c:v>
                </c:pt>
                <c:pt idx="167">
                  <c:v>0.89843881287338601</c:v>
                </c:pt>
                <c:pt idx="168">
                  <c:v>0.90774349585661962</c:v>
                </c:pt>
                <c:pt idx="169">
                  <c:v>0.97764501830795925</c:v>
                </c:pt>
                <c:pt idx="170">
                  <c:v>0.87968240508768547</c:v>
                </c:pt>
                <c:pt idx="171">
                  <c:v>0.933898631720948</c:v>
                </c:pt>
                <c:pt idx="172">
                  <c:v>1.0238967045673539</c:v>
                </c:pt>
                <c:pt idx="173">
                  <c:v>1.0314126035845057</c:v>
                </c:pt>
                <c:pt idx="174">
                  <c:v>1.0832530352669107</c:v>
                </c:pt>
                <c:pt idx="175">
                  <c:v>1.1314318751204471</c:v>
                </c:pt>
                <c:pt idx="176">
                  <c:v>1.1083060319907498</c:v>
                </c:pt>
                <c:pt idx="177">
                  <c:v>1.1345153208710732</c:v>
                </c:pt>
                <c:pt idx="178">
                  <c:v>1.1568703025631142</c:v>
                </c:pt>
                <c:pt idx="179">
                  <c:v>1.096935825785315</c:v>
                </c:pt>
                <c:pt idx="180">
                  <c:v>0.97070726536904972</c:v>
                </c:pt>
                <c:pt idx="181">
                  <c:v>0.86182308730005774</c:v>
                </c:pt>
                <c:pt idx="182">
                  <c:v>0.81190980921179412</c:v>
                </c:pt>
                <c:pt idx="183">
                  <c:v>0.84640585854692618</c:v>
                </c:pt>
                <c:pt idx="184">
                  <c:v>0.8997880131046444</c:v>
                </c:pt>
                <c:pt idx="185">
                  <c:v>0.89998072846405863</c:v>
                </c:pt>
                <c:pt idx="186">
                  <c:v>0.85045288109462347</c:v>
                </c:pt>
                <c:pt idx="187">
                  <c:v>0.88205820003854296</c:v>
                </c:pt>
                <c:pt idx="188">
                  <c:v>0.88514164578916921</c:v>
                </c:pt>
                <c:pt idx="189">
                  <c:v>0.7995760262092888</c:v>
                </c:pt>
                <c:pt idx="190">
                  <c:v>0.88013104644440165</c:v>
                </c:pt>
                <c:pt idx="191">
                  <c:v>0.81904027751011754</c:v>
                </c:pt>
                <c:pt idx="192">
                  <c:v>0.78242435922143005</c:v>
                </c:pt>
                <c:pt idx="193">
                  <c:v>0.73019849682019655</c:v>
                </c:pt>
                <c:pt idx="194">
                  <c:v>0.79764887261514739</c:v>
                </c:pt>
                <c:pt idx="195">
                  <c:v>0.79734380420119499</c:v>
                </c:pt>
                <c:pt idx="196">
                  <c:v>0.85776989786085933</c:v>
                </c:pt>
                <c:pt idx="197">
                  <c:v>0.7516829832337637</c:v>
                </c:pt>
                <c:pt idx="198">
                  <c:v>0.71324744652148764</c:v>
                </c:pt>
                <c:pt idx="199">
                  <c:v>0.67146849103873552</c:v>
                </c:pt>
                <c:pt idx="200">
                  <c:v>0.63618982462902307</c:v>
                </c:pt>
                <c:pt idx="201">
                  <c:v>0.58155733281942557</c:v>
                </c:pt>
                <c:pt idx="202">
                  <c:v>0.5687643091154363</c:v>
                </c:pt>
                <c:pt idx="203">
                  <c:v>0.53419290807477371</c:v>
                </c:pt>
                <c:pt idx="204">
                  <c:v>0.57953401426093654</c:v>
                </c:pt>
                <c:pt idx="205">
                  <c:v>0.52417440740026977</c:v>
                </c:pt>
                <c:pt idx="206">
                  <c:v>0.44904760069377525</c:v>
                </c:pt>
                <c:pt idx="207">
                  <c:v>0.50129157833879345</c:v>
                </c:pt>
                <c:pt idx="208">
                  <c:v>0.40897937945654272</c:v>
                </c:pt>
                <c:pt idx="209">
                  <c:v>0.38585218731932919</c:v>
                </c:pt>
                <c:pt idx="210">
                  <c:v>0.3353842744266719</c:v>
                </c:pt>
                <c:pt idx="211">
                  <c:v>0.29113278088263644</c:v>
                </c:pt>
                <c:pt idx="212">
                  <c:v>0.26959047986124507</c:v>
                </c:pt>
                <c:pt idx="213">
                  <c:v>0.32148063210637884</c:v>
                </c:pt>
                <c:pt idx="214">
                  <c:v>0.32373231836577365</c:v>
                </c:pt>
                <c:pt idx="215">
                  <c:v>0.40212545769897873</c:v>
                </c:pt>
                <c:pt idx="216">
                  <c:v>0.35802254769705161</c:v>
                </c:pt>
                <c:pt idx="217">
                  <c:v>0.42090923106571598</c:v>
                </c:pt>
                <c:pt idx="218">
                  <c:v>0.40283792638273275</c:v>
                </c:pt>
                <c:pt idx="219">
                  <c:v>0.34523492002312567</c:v>
                </c:pt>
                <c:pt idx="220">
                  <c:v>0.35365291963769513</c:v>
                </c:pt>
                <c:pt idx="221">
                  <c:v>0.3166313355174406</c:v>
                </c:pt>
                <c:pt idx="222">
                  <c:v>0.23665446136057045</c:v>
                </c:pt>
                <c:pt idx="223">
                  <c:v>0.30651377914819811</c:v>
                </c:pt>
                <c:pt idx="224">
                  <c:v>0.27228213528618234</c:v>
                </c:pt>
                <c:pt idx="225">
                  <c:v>0.36494411254576981</c:v>
                </c:pt>
                <c:pt idx="226">
                  <c:v>0.34181518597032179</c:v>
                </c:pt>
                <c:pt idx="227">
                  <c:v>0.35661977259587607</c:v>
                </c:pt>
                <c:pt idx="228">
                  <c:v>0.37820389285026018</c:v>
                </c:pt>
                <c:pt idx="229">
                  <c:v>0.442763538253999</c:v>
                </c:pt>
                <c:pt idx="230">
                  <c:v>0.41896319136635179</c:v>
                </c:pt>
                <c:pt idx="231">
                  <c:v>0.47436885719791855</c:v>
                </c:pt>
                <c:pt idx="232">
                  <c:v>0.46829832337637306</c:v>
                </c:pt>
                <c:pt idx="233">
                  <c:v>0.48043939101946409</c:v>
                </c:pt>
                <c:pt idx="234">
                  <c:v>0.45615725573328197</c:v>
                </c:pt>
                <c:pt idx="235">
                  <c:v>0.43148968972827134</c:v>
                </c:pt>
                <c:pt idx="236">
                  <c:v>0.39814993254962411</c:v>
                </c:pt>
                <c:pt idx="237">
                  <c:v>0.44815956831759485</c:v>
                </c:pt>
                <c:pt idx="238">
                  <c:v>0.48458277124686827</c:v>
                </c:pt>
                <c:pt idx="239">
                  <c:v>0.3623048756985931</c:v>
                </c:pt>
                <c:pt idx="240">
                  <c:v>0.37386779726344171</c:v>
                </c:pt>
                <c:pt idx="241">
                  <c:v>0.38783966082096744</c:v>
                </c:pt>
                <c:pt idx="242">
                  <c:v>0.3797456157255733</c:v>
                </c:pt>
                <c:pt idx="243">
                  <c:v>0.37502408941992665</c:v>
                </c:pt>
                <c:pt idx="244">
                  <c:v>0.31614954711890514</c:v>
                </c:pt>
                <c:pt idx="245">
                  <c:v>0.29668529581807662</c:v>
                </c:pt>
                <c:pt idx="246">
                  <c:v>0.31557140104066295</c:v>
                </c:pt>
                <c:pt idx="247">
                  <c:v>0.25187897475428778</c:v>
                </c:pt>
                <c:pt idx="248">
                  <c:v>0.26970514550009644</c:v>
                </c:pt>
                <c:pt idx="249">
                  <c:v>0.29283098862979368</c:v>
                </c:pt>
                <c:pt idx="250">
                  <c:v>0.26363461167855062</c:v>
                </c:pt>
                <c:pt idx="251">
                  <c:v>0.24956639044131823</c:v>
                </c:pt>
                <c:pt idx="252">
                  <c:v>0.22316438620158022</c:v>
                </c:pt>
                <c:pt idx="253">
                  <c:v>0.26980150317980345</c:v>
                </c:pt>
                <c:pt idx="254">
                  <c:v>0.28560416265176319</c:v>
                </c:pt>
                <c:pt idx="255">
                  <c:v>0.26498361919444979</c:v>
                </c:pt>
                <c:pt idx="256">
                  <c:v>0.25303526691077272</c:v>
                </c:pt>
                <c:pt idx="257">
                  <c:v>0.21179417999614572</c:v>
                </c:pt>
                <c:pt idx="258">
                  <c:v>0.19098092117941792</c:v>
                </c:pt>
                <c:pt idx="259">
                  <c:v>0.19464251300828664</c:v>
                </c:pt>
                <c:pt idx="260">
                  <c:v>0.17402196955097324</c:v>
                </c:pt>
                <c:pt idx="261">
                  <c:v>0.19637695124301402</c:v>
                </c:pt>
                <c:pt idx="262">
                  <c:v>0.18731932935054921</c:v>
                </c:pt>
                <c:pt idx="263">
                  <c:v>0.27249951821160145</c:v>
                </c:pt>
                <c:pt idx="264">
                  <c:v>0.26112931200616685</c:v>
                </c:pt>
                <c:pt idx="265">
                  <c:v>0.21295047215263052</c:v>
                </c:pt>
                <c:pt idx="266">
                  <c:v>0.26459818847562155</c:v>
                </c:pt>
                <c:pt idx="267">
                  <c:v>0.29620350741954116</c:v>
                </c:pt>
                <c:pt idx="268">
                  <c:v>0.27770283291578329</c:v>
                </c:pt>
                <c:pt idx="269">
                  <c:v>0.24359221429947966</c:v>
                </c:pt>
                <c:pt idx="270">
                  <c:v>0.22046637116978218</c:v>
                </c:pt>
                <c:pt idx="271">
                  <c:v>0.17421468491038747</c:v>
                </c:pt>
                <c:pt idx="272">
                  <c:v>0.1514742724995182</c:v>
                </c:pt>
                <c:pt idx="273">
                  <c:v>0.11158219310079011</c:v>
                </c:pt>
                <c:pt idx="274">
                  <c:v>0.1160146463673154</c:v>
                </c:pt>
                <c:pt idx="275">
                  <c:v>9.6935825785315108E-2</c:v>
                </c:pt>
                <c:pt idx="276">
                  <c:v>3.4688764694546098E-2</c:v>
                </c:pt>
                <c:pt idx="277">
                  <c:v>8.344575062632488E-2</c:v>
                </c:pt>
                <c:pt idx="278">
                  <c:v>0.11986895355559836</c:v>
                </c:pt>
                <c:pt idx="279">
                  <c:v>8.8070919252264276E-2</c:v>
                </c:pt>
                <c:pt idx="280">
                  <c:v>4.9335132010021245E-2</c:v>
                </c:pt>
                <c:pt idx="281">
                  <c:v>2.7365581036808667E-2</c:v>
                </c:pt>
                <c:pt idx="282">
                  <c:v>6.0512622856041635E-2</c:v>
                </c:pt>
                <c:pt idx="283">
                  <c:v>5.8778184621314261E-2</c:v>
                </c:pt>
                <c:pt idx="284">
                  <c:v>7.573713624975896E-2</c:v>
                </c:pt>
                <c:pt idx="285">
                  <c:v>-1.7344382347273734E-3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2C-4CAB-878E-26BCC69436C7}"/>
            </c:ext>
          </c:extLst>
        </c:ser>
        <c:ser>
          <c:idx val="1"/>
          <c:order val="1"/>
          <c:tx>
            <c:strRef>
              <c:f>'[Peakstone Packaging Peer Analysis_12.31.2023 Q4_2023.xlsx]Stock Graph'!$E$24</c:f>
              <c:strCache>
                <c:ptCount val="1"/>
                <c:pt idx="0">
                  <c:v>Peakstone Paper Packaging Index</c:v>
                </c:pt>
              </c:strCache>
            </c:strRef>
          </c:tx>
          <c:spPr>
            <a:ln w="19050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[Peakstone Packaging Peer Analysis_12.31.2023 Q4_2023.xlsx]Stock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Stock Graph'!$E$26:$E$312</c:f>
              <c:numCache>
                <c:formatCode>0.0%</c:formatCode>
                <c:ptCount val="287"/>
                <c:pt idx="0">
                  <c:v>0.40403180011357198</c:v>
                </c:pt>
                <c:pt idx="1">
                  <c:v>0.37989778534923346</c:v>
                </c:pt>
                <c:pt idx="2">
                  <c:v>0.27825099375354923</c:v>
                </c:pt>
                <c:pt idx="3">
                  <c:v>0.24105621805792171</c:v>
                </c:pt>
                <c:pt idx="4">
                  <c:v>0.10249858035207267</c:v>
                </c:pt>
                <c:pt idx="5">
                  <c:v>0.1354344122657582</c:v>
                </c:pt>
                <c:pt idx="6">
                  <c:v>0.18994889267461665</c:v>
                </c:pt>
                <c:pt idx="7">
                  <c:v>0.18540601930721184</c:v>
                </c:pt>
                <c:pt idx="8">
                  <c:v>0.16865417376490624</c:v>
                </c:pt>
                <c:pt idx="9">
                  <c:v>7.0130607609312862E-2</c:v>
                </c:pt>
                <c:pt idx="10">
                  <c:v>8.5462805224304314E-2</c:v>
                </c:pt>
                <c:pt idx="11">
                  <c:v>-5.6785917092549748E-4</c:v>
                </c:pt>
                <c:pt idx="12">
                  <c:v>4.8835888699602467E-2</c:v>
                </c:pt>
                <c:pt idx="13">
                  <c:v>1.6467915956842657E-2</c:v>
                </c:pt>
                <c:pt idx="14">
                  <c:v>3.7194775695627548E-2</c:v>
                </c:pt>
                <c:pt idx="15">
                  <c:v>5.8773424190800692E-2</c:v>
                </c:pt>
                <c:pt idx="16">
                  <c:v>-2.0159000567859197E-2</c:v>
                </c:pt>
                <c:pt idx="17">
                  <c:v>0.26291879613855756</c:v>
                </c:pt>
                <c:pt idx="18">
                  <c:v>0.30437251561612716</c:v>
                </c:pt>
                <c:pt idx="19">
                  <c:v>0.16240772288472455</c:v>
                </c:pt>
                <c:pt idx="20">
                  <c:v>8.0636002271436788E-2</c:v>
                </c:pt>
                <c:pt idx="21">
                  <c:v>9.653605905735374E-2</c:v>
                </c:pt>
                <c:pt idx="22">
                  <c:v>0.13855763770584903</c:v>
                </c:pt>
                <c:pt idx="23">
                  <c:v>0.20442930153321984</c:v>
                </c:pt>
                <c:pt idx="24">
                  <c:v>0.36257808063600239</c:v>
                </c:pt>
                <c:pt idx="25">
                  <c:v>0.32339579784213518</c:v>
                </c:pt>
                <c:pt idx="26">
                  <c:v>0.30352072685973874</c:v>
                </c:pt>
                <c:pt idx="27">
                  <c:v>0.25212947189097112</c:v>
                </c:pt>
                <c:pt idx="28">
                  <c:v>0.39466212379329924</c:v>
                </c:pt>
                <c:pt idx="29">
                  <c:v>0.42703009653605906</c:v>
                </c:pt>
                <c:pt idx="30">
                  <c:v>0.56218057921635445</c:v>
                </c:pt>
                <c:pt idx="31">
                  <c:v>0.52952867688813177</c:v>
                </c:pt>
                <c:pt idx="32">
                  <c:v>0.489778534923339</c:v>
                </c:pt>
                <c:pt idx="33">
                  <c:v>0.41851220897217495</c:v>
                </c:pt>
                <c:pt idx="34">
                  <c:v>0.44179443498012499</c:v>
                </c:pt>
                <c:pt idx="35">
                  <c:v>0.48523566155593423</c:v>
                </c:pt>
                <c:pt idx="36">
                  <c:v>0.43441226575809211</c:v>
                </c:pt>
                <c:pt idx="37">
                  <c:v>0.35604770017035775</c:v>
                </c:pt>
                <c:pt idx="38">
                  <c:v>0.30181714934696202</c:v>
                </c:pt>
                <c:pt idx="39">
                  <c:v>0.26377058489494604</c:v>
                </c:pt>
                <c:pt idx="40">
                  <c:v>0.38131743327654744</c:v>
                </c:pt>
                <c:pt idx="41">
                  <c:v>0.50085178875638847</c:v>
                </c:pt>
                <c:pt idx="42">
                  <c:v>0.63089153889835314</c:v>
                </c:pt>
                <c:pt idx="43">
                  <c:v>0.57495741056218064</c:v>
                </c:pt>
                <c:pt idx="44">
                  <c:v>0.67830777967064171</c:v>
                </c:pt>
                <c:pt idx="45">
                  <c:v>0.59823963657013068</c:v>
                </c:pt>
                <c:pt idx="46">
                  <c:v>0.61641113003975023</c:v>
                </c:pt>
                <c:pt idx="47">
                  <c:v>0.61584327086882451</c:v>
                </c:pt>
                <c:pt idx="48">
                  <c:v>0.67915956842703018</c:v>
                </c:pt>
                <c:pt idx="49">
                  <c:v>0.64593980692788189</c:v>
                </c:pt>
                <c:pt idx="50">
                  <c:v>0.75780806360022712</c:v>
                </c:pt>
                <c:pt idx="51">
                  <c:v>0.80494037478705283</c:v>
                </c:pt>
                <c:pt idx="52">
                  <c:v>0.80863145939806946</c:v>
                </c:pt>
                <c:pt idx="53">
                  <c:v>0.67404883588869968</c:v>
                </c:pt>
                <c:pt idx="54">
                  <c:v>0.62294151050539459</c:v>
                </c:pt>
                <c:pt idx="55">
                  <c:v>0.67546848381601365</c:v>
                </c:pt>
                <c:pt idx="56">
                  <c:v>0.60107893242475874</c:v>
                </c:pt>
                <c:pt idx="57">
                  <c:v>0.61044860874503126</c:v>
                </c:pt>
                <c:pt idx="58">
                  <c:v>0.65786484951731983</c:v>
                </c:pt>
                <c:pt idx="59">
                  <c:v>0.57524134014764339</c:v>
                </c:pt>
                <c:pt idx="60">
                  <c:v>0.70045428733674053</c:v>
                </c:pt>
                <c:pt idx="61">
                  <c:v>0.72657580919931863</c:v>
                </c:pt>
                <c:pt idx="62">
                  <c:v>0.76036342986939243</c:v>
                </c:pt>
                <c:pt idx="63">
                  <c:v>0.64537194775695639</c:v>
                </c:pt>
                <c:pt idx="64">
                  <c:v>0.63259511641113009</c:v>
                </c:pt>
                <c:pt idx="65">
                  <c:v>0.56729131175468495</c:v>
                </c:pt>
                <c:pt idx="66">
                  <c:v>0.60704145371947771</c:v>
                </c:pt>
                <c:pt idx="67">
                  <c:v>0.7382169222032936</c:v>
                </c:pt>
                <c:pt idx="68">
                  <c:v>0.6854060193072119</c:v>
                </c:pt>
                <c:pt idx="69">
                  <c:v>0.6669505962521296</c:v>
                </c:pt>
                <c:pt idx="70">
                  <c:v>0.64906303236797269</c:v>
                </c:pt>
                <c:pt idx="71">
                  <c:v>0.73282226007950035</c:v>
                </c:pt>
                <c:pt idx="72">
                  <c:v>0.66212379329926185</c:v>
                </c:pt>
                <c:pt idx="73">
                  <c:v>0.66638273708120388</c:v>
                </c:pt>
                <c:pt idx="74">
                  <c:v>0.65587734241908013</c:v>
                </c:pt>
                <c:pt idx="75">
                  <c:v>0.7197614991482113</c:v>
                </c:pt>
                <c:pt idx="76">
                  <c:v>0.58290743895513919</c:v>
                </c:pt>
                <c:pt idx="77">
                  <c:v>0.55110732538330509</c:v>
                </c:pt>
                <c:pt idx="78">
                  <c:v>0.49290176036342986</c:v>
                </c:pt>
                <c:pt idx="79">
                  <c:v>0.47047132311186829</c:v>
                </c:pt>
                <c:pt idx="80">
                  <c:v>0.52470187393526413</c:v>
                </c:pt>
                <c:pt idx="81">
                  <c:v>0.38018171493469621</c:v>
                </c:pt>
                <c:pt idx="82">
                  <c:v>0.33191368540601923</c:v>
                </c:pt>
                <c:pt idx="83">
                  <c:v>0.32509937535491207</c:v>
                </c:pt>
                <c:pt idx="84">
                  <c:v>0.38586030664395243</c:v>
                </c:pt>
                <c:pt idx="85">
                  <c:v>0.31175468483816027</c:v>
                </c:pt>
                <c:pt idx="86">
                  <c:v>0.33049403747870532</c:v>
                </c:pt>
                <c:pt idx="87">
                  <c:v>0.30607609312890405</c:v>
                </c:pt>
                <c:pt idx="88">
                  <c:v>0.26916524701873945</c:v>
                </c:pt>
                <c:pt idx="89">
                  <c:v>0.12407722884724602</c:v>
                </c:pt>
                <c:pt idx="90">
                  <c:v>0.18228279386712101</c:v>
                </c:pt>
                <c:pt idx="91">
                  <c:v>0.14565587734241917</c:v>
                </c:pt>
                <c:pt idx="92">
                  <c:v>0.18739352640545148</c:v>
                </c:pt>
                <c:pt idx="93">
                  <c:v>0.12947189097103926</c:v>
                </c:pt>
                <c:pt idx="94">
                  <c:v>0.16042021578648491</c:v>
                </c:pt>
                <c:pt idx="95">
                  <c:v>0.15758091993185702</c:v>
                </c:pt>
                <c:pt idx="96">
                  <c:v>5.7637705848949491E-2</c:v>
                </c:pt>
                <c:pt idx="97">
                  <c:v>-1.9307211811470749E-2</c:v>
                </c:pt>
                <c:pt idx="98">
                  <c:v>-4.0318001135718394E-2</c:v>
                </c:pt>
                <c:pt idx="99">
                  <c:v>-8.5178875638840766E-3</c:v>
                </c:pt>
                <c:pt idx="100">
                  <c:v>-3.3219761499148258E-2</c:v>
                </c:pt>
                <c:pt idx="101">
                  <c:v>-0.11839863713798973</c:v>
                </c:pt>
                <c:pt idx="102">
                  <c:v>-3.7194775695627548E-2</c:v>
                </c:pt>
                <c:pt idx="103">
                  <c:v>-9.5684270300965296E-2</c:v>
                </c:pt>
                <c:pt idx="104">
                  <c:v>-0.16609880749574099</c:v>
                </c:pt>
                <c:pt idx="105">
                  <c:v>-0.16212379329926171</c:v>
                </c:pt>
                <c:pt idx="106">
                  <c:v>1.3912549687677514E-2</c:v>
                </c:pt>
                <c:pt idx="107">
                  <c:v>0.22856331629755833</c:v>
                </c:pt>
                <c:pt idx="108">
                  <c:v>0.23679727427597966</c:v>
                </c:pt>
                <c:pt idx="109">
                  <c:v>0.23594548551959121</c:v>
                </c:pt>
                <c:pt idx="110">
                  <c:v>0.24900624645088029</c:v>
                </c:pt>
                <c:pt idx="111">
                  <c:v>0.30295286768881324</c:v>
                </c:pt>
                <c:pt idx="112">
                  <c:v>0.31629755820556504</c:v>
                </c:pt>
                <c:pt idx="113">
                  <c:v>0.31572969903463954</c:v>
                </c:pt>
                <c:pt idx="114">
                  <c:v>0.2081203861442362</c:v>
                </c:pt>
                <c:pt idx="115">
                  <c:v>0.19818285065303817</c:v>
                </c:pt>
                <c:pt idx="116">
                  <c:v>0.17688813174332776</c:v>
                </c:pt>
                <c:pt idx="117">
                  <c:v>0.14281658148779106</c:v>
                </c:pt>
                <c:pt idx="118">
                  <c:v>0.15559341283361738</c:v>
                </c:pt>
                <c:pt idx="119">
                  <c:v>0.12748438387279962</c:v>
                </c:pt>
                <c:pt idx="120">
                  <c:v>0.14792731402612155</c:v>
                </c:pt>
                <c:pt idx="121">
                  <c:v>0.18228279386712101</c:v>
                </c:pt>
                <c:pt idx="122">
                  <c:v>0.25070982396365699</c:v>
                </c:pt>
                <c:pt idx="123">
                  <c:v>0.21436683702441808</c:v>
                </c:pt>
                <c:pt idx="124">
                  <c:v>0.21465076660988083</c:v>
                </c:pt>
                <c:pt idx="125">
                  <c:v>0.22061328790459975</c:v>
                </c:pt>
                <c:pt idx="126">
                  <c:v>0.17745599091425326</c:v>
                </c:pt>
                <c:pt idx="127">
                  <c:v>0.18341851220897221</c:v>
                </c:pt>
                <c:pt idx="128">
                  <c:v>0.27853492333901197</c:v>
                </c:pt>
                <c:pt idx="129">
                  <c:v>0.26149914821124365</c:v>
                </c:pt>
                <c:pt idx="130">
                  <c:v>0.31516183986371382</c:v>
                </c:pt>
                <c:pt idx="131">
                  <c:v>0.26064735945485518</c:v>
                </c:pt>
                <c:pt idx="132">
                  <c:v>0.27427597955706995</c:v>
                </c:pt>
                <c:pt idx="133">
                  <c:v>0.23367404883588883</c:v>
                </c:pt>
                <c:pt idx="134">
                  <c:v>0.21777399204997167</c:v>
                </c:pt>
                <c:pt idx="135">
                  <c:v>0.20073821692220331</c:v>
                </c:pt>
                <c:pt idx="136">
                  <c:v>0.16269165247018752</c:v>
                </c:pt>
                <c:pt idx="137">
                  <c:v>5.8205565019875193E-2</c:v>
                </c:pt>
                <c:pt idx="138">
                  <c:v>0.23339011925042588</c:v>
                </c:pt>
                <c:pt idx="139">
                  <c:v>0.3114707552526973</c:v>
                </c:pt>
                <c:pt idx="140">
                  <c:v>0.31033503691084613</c:v>
                </c:pt>
                <c:pt idx="141">
                  <c:v>0.26831345826235103</c:v>
                </c:pt>
                <c:pt idx="142">
                  <c:v>0.19931856899488937</c:v>
                </c:pt>
                <c:pt idx="143">
                  <c:v>0.38500851788756396</c:v>
                </c:pt>
                <c:pt idx="144">
                  <c:v>0.53662691652470185</c:v>
                </c:pt>
                <c:pt idx="145">
                  <c:v>0.4681998864281659</c:v>
                </c:pt>
                <c:pt idx="146">
                  <c:v>0.47160704145371946</c:v>
                </c:pt>
                <c:pt idx="147">
                  <c:v>0.47984099943214081</c:v>
                </c:pt>
                <c:pt idx="148">
                  <c:v>0.47700170357751293</c:v>
                </c:pt>
                <c:pt idx="149">
                  <c:v>0.50908574673480977</c:v>
                </c:pt>
                <c:pt idx="150">
                  <c:v>0.47870528109028959</c:v>
                </c:pt>
                <c:pt idx="151">
                  <c:v>0.50141964792731419</c:v>
                </c:pt>
                <c:pt idx="152">
                  <c:v>0.46507666098807504</c:v>
                </c:pt>
                <c:pt idx="153">
                  <c:v>0.47132311186825671</c:v>
                </c:pt>
                <c:pt idx="154">
                  <c:v>0.47473026689381032</c:v>
                </c:pt>
                <c:pt idx="155">
                  <c:v>0.46933560477001707</c:v>
                </c:pt>
                <c:pt idx="156">
                  <c:v>0.35831913685406036</c:v>
                </c:pt>
                <c:pt idx="157">
                  <c:v>0.32453151618398635</c:v>
                </c:pt>
                <c:pt idx="158">
                  <c:v>0.39125496876774563</c:v>
                </c:pt>
                <c:pt idx="159">
                  <c:v>0.39409426462237374</c:v>
                </c:pt>
                <c:pt idx="160">
                  <c:v>0.4182282793867122</c:v>
                </c:pt>
                <c:pt idx="161">
                  <c:v>0.5675752413401477</c:v>
                </c:pt>
                <c:pt idx="162">
                  <c:v>0.53861442362294154</c:v>
                </c:pt>
                <c:pt idx="163">
                  <c:v>0.50880181714934702</c:v>
                </c:pt>
                <c:pt idx="164">
                  <c:v>0.52328222600795005</c:v>
                </c:pt>
                <c:pt idx="165">
                  <c:v>0.52754116978989207</c:v>
                </c:pt>
                <c:pt idx="166">
                  <c:v>0.46166950596252126</c:v>
                </c:pt>
                <c:pt idx="167">
                  <c:v>0.47387847813742184</c:v>
                </c:pt>
                <c:pt idx="168">
                  <c:v>0.50795002839295855</c:v>
                </c:pt>
                <c:pt idx="169">
                  <c:v>0.45826235093696766</c:v>
                </c:pt>
                <c:pt idx="170">
                  <c:v>0.38046564452015896</c:v>
                </c:pt>
                <c:pt idx="171">
                  <c:v>0.38273708120386157</c:v>
                </c:pt>
                <c:pt idx="172">
                  <c:v>0.35689948892674617</c:v>
                </c:pt>
                <c:pt idx="173">
                  <c:v>0.3634298693923908</c:v>
                </c:pt>
                <c:pt idx="174">
                  <c:v>0.37961385576377071</c:v>
                </c:pt>
                <c:pt idx="175">
                  <c:v>0.46848381601362865</c:v>
                </c:pt>
                <c:pt idx="176">
                  <c:v>0.45996592844974454</c:v>
                </c:pt>
                <c:pt idx="177">
                  <c:v>0.45911413969335613</c:v>
                </c:pt>
                <c:pt idx="178">
                  <c:v>0.45741056218057924</c:v>
                </c:pt>
                <c:pt idx="179">
                  <c:v>0.42930153321976167</c:v>
                </c:pt>
                <c:pt idx="180">
                  <c:v>0.49914821124361153</c:v>
                </c:pt>
                <c:pt idx="181">
                  <c:v>0.49858035207268603</c:v>
                </c:pt>
                <c:pt idx="182">
                  <c:v>0.43412833617262919</c:v>
                </c:pt>
                <c:pt idx="183">
                  <c:v>0.44264622373651347</c:v>
                </c:pt>
                <c:pt idx="184">
                  <c:v>0.43952299829642261</c:v>
                </c:pt>
                <c:pt idx="185">
                  <c:v>0.49403747870528109</c:v>
                </c:pt>
                <c:pt idx="186">
                  <c:v>0.49006246450880175</c:v>
                </c:pt>
                <c:pt idx="187">
                  <c:v>0.53066439522998288</c:v>
                </c:pt>
                <c:pt idx="188">
                  <c:v>0.48637137989778545</c:v>
                </c:pt>
                <c:pt idx="189">
                  <c:v>0.44151050539466224</c:v>
                </c:pt>
                <c:pt idx="190">
                  <c:v>0.49687677455990914</c:v>
                </c:pt>
                <c:pt idx="191">
                  <c:v>0.43270868824531522</c:v>
                </c:pt>
                <c:pt idx="192">
                  <c:v>0.37563884156729144</c:v>
                </c:pt>
                <c:pt idx="193">
                  <c:v>0.27626348665530959</c:v>
                </c:pt>
                <c:pt idx="194">
                  <c:v>0.31856899488926743</c:v>
                </c:pt>
                <c:pt idx="195">
                  <c:v>0.32027257240204432</c:v>
                </c:pt>
                <c:pt idx="196">
                  <c:v>0.3742191936399773</c:v>
                </c:pt>
                <c:pt idx="197">
                  <c:v>0.31998864281658157</c:v>
                </c:pt>
                <c:pt idx="198">
                  <c:v>0.36428165814877905</c:v>
                </c:pt>
                <c:pt idx="199">
                  <c:v>0.32027257240204432</c:v>
                </c:pt>
                <c:pt idx="200">
                  <c:v>0.30068143100511086</c:v>
                </c:pt>
                <c:pt idx="201">
                  <c:v>0.29102782509937536</c:v>
                </c:pt>
                <c:pt idx="202">
                  <c:v>0.21266325951164117</c:v>
                </c:pt>
                <c:pt idx="203">
                  <c:v>0.19136854060193079</c:v>
                </c:pt>
                <c:pt idx="204">
                  <c:v>0.21890971039182286</c:v>
                </c:pt>
                <c:pt idx="205">
                  <c:v>0.14792731402612155</c:v>
                </c:pt>
                <c:pt idx="206">
                  <c:v>0.19534355479841006</c:v>
                </c:pt>
                <c:pt idx="207">
                  <c:v>0.23111868256672347</c:v>
                </c:pt>
                <c:pt idx="208">
                  <c:v>0.14196479273140261</c:v>
                </c:pt>
                <c:pt idx="209">
                  <c:v>0.15814877910278252</c:v>
                </c:pt>
                <c:pt idx="210">
                  <c:v>0.13287904599659284</c:v>
                </c:pt>
                <c:pt idx="211">
                  <c:v>5.6785917092569925E-4</c:v>
                </c:pt>
                <c:pt idx="212">
                  <c:v>-3.0096536059057419E-2</c:v>
                </c:pt>
                <c:pt idx="213">
                  <c:v>1.703577512776896E-3</c:v>
                </c:pt>
                <c:pt idx="214">
                  <c:v>5.1959114139693306E-2</c:v>
                </c:pt>
                <c:pt idx="215">
                  <c:v>0.16042021578648491</c:v>
                </c:pt>
                <c:pt idx="216">
                  <c:v>0.11925042589437827</c:v>
                </c:pt>
                <c:pt idx="217">
                  <c:v>0.21890971039182286</c:v>
                </c:pt>
                <c:pt idx="218">
                  <c:v>0.20783645655877345</c:v>
                </c:pt>
                <c:pt idx="219">
                  <c:v>0.2081203861442362</c:v>
                </c:pt>
                <c:pt idx="220">
                  <c:v>0.24503123225440099</c:v>
                </c:pt>
                <c:pt idx="221">
                  <c:v>0.22742759795570694</c:v>
                </c:pt>
                <c:pt idx="222">
                  <c:v>9.8807495741056336E-2</c:v>
                </c:pt>
                <c:pt idx="223">
                  <c:v>0.18228279386712101</c:v>
                </c:pt>
                <c:pt idx="224">
                  <c:v>0.24162407722884718</c:v>
                </c:pt>
                <c:pt idx="225">
                  <c:v>0.34327086882453162</c:v>
                </c:pt>
                <c:pt idx="226">
                  <c:v>0.35917092561044855</c:v>
                </c:pt>
                <c:pt idx="227">
                  <c:v>0.35264054514480414</c:v>
                </c:pt>
                <c:pt idx="228">
                  <c:v>0.36172629187961391</c:v>
                </c:pt>
                <c:pt idx="229">
                  <c:v>0.45201590005678599</c:v>
                </c:pt>
                <c:pt idx="230">
                  <c:v>0.37762634866553108</c:v>
                </c:pt>
                <c:pt idx="231">
                  <c:v>0.4003407155025554</c:v>
                </c:pt>
                <c:pt idx="232">
                  <c:v>0.36030664395229978</c:v>
                </c:pt>
                <c:pt idx="233">
                  <c:v>0.27172061328790459</c:v>
                </c:pt>
                <c:pt idx="234">
                  <c:v>0.31459398069278816</c:v>
                </c:pt>
                <c:pt idx="235">
                  <c:v>0.28648495173197058</c:v>
                </c:pt>
                <c:pt idx="236">
                  <c:v>0.29755820556502</c:v>
                </c:pt>
                <c:pt idx="237">
                  <c:v>0.33816013628620112</c:v>
                </c:pt>
                <c:pt idx="238">
                  <c:v>0.32453151618398635</c:v>
                </c:pt>
                <c:pt idx="239">
                  <c:v>0.25496876774559923</c:v>
                </c:pt>
                <c:pt idx="240">
                  <c:v>0.25070982396365699</c:v>
                </c:pt>
                <c:pt idx="241">
                  <c:v>0.23424190800681433</c:v>
                </c:pt>
                <c:pt idx="242">
                  <c:v>0.2561044860874504</c:v>
                </c:pt>
                <c:pt idx="243">
                  <c:v>0.23026689381033502</c:v>
                </c:pt>
                <c:pt idx="244">
                  <c:v>0.17206132879046004</c:v>
                </c:pt>
                <c:pt idx="245">
                  <c:v>0.17177739920499729</c:v>
                </c:pt>
                <c:pt idx="246">
                  <c:v>0.15786484951731977</c:v>
                </c:pt>
                <c:pt idx="247">
                  <c:v>8.7166382737081216E-2</c:v>
                </c:pt>
                <c:pt idx="248">
                  <c:v>0.11868256672345258</c:v>
                </c:pt>
                <c:pt idx="249">
                  <c:v>0.15843270868824527</c:v>
                </c:pt>
                <c:pt idx="250">
                  <c:v>0.16865417376490624</c:v>
                </c:pt>
                <c:pt idx="251">
                  <c:v>0.12606473594548545</c:v>
                </c:pt>
                <c:pt idx="252">
                  <c:v>0.11130039750141971</c:v>
                </c:pt>
                <c:pt idx="253">
                  <c:v>0.19193639977285629</c:v>
                </c:pt>
                <c:pt idx="254">
                  <c:v>0.23651334469051671</c:v>
                </c:pt>
                <c:pt idx="255">
                  <c:v>0.2387847813742193</c:v>
                </c:pt>
                <c:pt idx="256">
                  <c:v>0.21521862578080631</c:v>
                </c:pt>
                <c:pt idx="257">
                  <c:v>0.17773992049971601</c:v>
                </c:pt>
                <c:pt idx="258">
                  <c:v>0.19619534355479853</c:v>
                </c:pt>
                <c:pt idx="259">
                  <c:v>0.19505962521294731</c:v>
                </c:pt>
                <c:pt idx="260">
                  <c:v>0.15474162407722894</c:v>
                </c:pt>
                <c:pt idx="261">
                  <c:v>0.14508801817149347</c:v>
                </c:pt>
                <c:pt idx="262">
                  <c:v>0.15928449744463372</c:v>
                </c:pt>
                <c:pt idx="263">
                  <c:v>0.19193639977285629</c:v>
                </c:pt>
                <c:pt idx="264">
                  <c:v>0.19392390687109592</c:v>
                </c:pt>
                <c:pt idx="265">
                  <c:v>0.17490062464508813</c:v>
                </c:pt>
                <c:pt idx="266">
                  <c:v>0.21351504826802961</c:v>
                </c:pt>
                <c:pt idx="267">
                  <c:v>0.16524701873935266</c:v>
                </c:pt>
                <c:pt idx="268">
                  <c:v>0.15900056785917097</c:v>
                </c:pt>
                <c:pt idx="269">
                  <c:v>0.15871663827370822</c:v>
                </c:pt>
                <c:pt idx="270">
                  <c:v>0.15786484951731977</c:v>
                </c:pt>
                <c:pt idx="271">
                  <c:v>0.13202725724020439</c:v>
                </c:pt>
                <c:pt idx="272">
                  <c:v>0.16496308915388991</c:v>
                </c:pt>
                <c:pt idx="273">
                  <c:v>0.10335036910846113</c:v>
                </c:pt>
                <c:pt idx="274">
                  <c:v>0.11413969335604779</c:v>
                </c:pt>
                <c:pt idx="275">
                  <c:v>0.10448608745031232</c:v>
                </c:pt>
                <c:pt idx="276">
                  <c:v>5.7069846678023797E-2</c:v>
                </c:pt>
                <c:pt idx="277">
                  <c:v>8.2339579784213482E-2</c:v>
                </c:pt>
                <c:pt idx="278">
                  <c:v>0.11896649630891533</c:v>
                </c:pt>
                <c:pt idx="279">
                  <c:v>5.3378762067007458E-2</c:v>
                </c:pt>
                <c:pt idx="280">
                  <c:v>4.2589437819420383E-3</c:v>
                </c:pt>
                <c:pt idx="281">
                  <c:v>-3.2651902328222564E-2</c:v>
                </c:pt>
                <c:pt idx="282">
                  <c:v>-6.2464508801816825E-3</c:v>
                </c:pt>
                <c:pt idx="283">
                  <c:v>0</c:v>
                </c:pt>
                <c:pt idx="284">
                  <c:v>7.38216922203288E-3</c:v>
                </c:pt>
                <c:pt idx="285">
                  <c:v>-2.4134014764338484E-2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2C-4CAB-878E-26BCC69436C7}"/>
            </c:ext>
          </c:extLst>
        </c:ser>
        <c:ser>
          <c:idx val="3"/>
          <c:order val="2"/>
          <c:tx>
            <c:strRef>
              <c:f>'[Peakstone Packaging Peer Analysis_12.31.2023 Q4_2023.xlsx]Stock Graph'!$F$24</c:f>
              <c:strCache>
                <c:ptCount val="1"/>
                <c:pt idx="0">
                  <c:v>Peakstone Paper Products Index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Peakstone Packaging Peer Analysis_12.31.2023 Q4_2023.xlsx]Stock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Stock Graph'!$F$26:$F$312</c:f>
              <c:numCache>
                <c:formatCode>0.0%</c:formatCode>
                <c:ptCount val="287"/>
                <c:pt idx="0">
                  <c:v>-0.27469260910687748</c:v>
                </c:pt>
                <c:pt idx="1">
                  <c:v>-0.32130793136062702</c:v>
                </c:pt>
                <c:pt idx="2">
                  <c:v>-0.35116876097824629</c:v>
                </c:pt>
                <c:pt idx="3">
                  <c:v>-0.41656532900959342</c:v>
                </c:pt>
                <c:pt idx="4">
                  <c:v>-0.44750709363599517</c:v>
                </c:pt>
                <c:pt idx="5">
                  <c:v>-0.42305093906228886</c:v>
                </c:pt>
                <c:pt idx="6">
                  <c:v>-0.39197405755978926</c:v>
                </c:pt>
                <c:pt idx="7">
                  <c:v>-0.3749493311714634</c:v>
                </c:pt>
                <c:pt idx="8">
                  <c:v>-0.39994595324956084</c:v>
                </c:pt>
                <c:pt idx="9">
                  <c:v>-0.38738008377246319</c:v>
                </c:pt>
                <c:pt idx="10">
                  <c:v>-0.40021618700175654</c:v>
                </c:pt>
                <c:pt idx="11">
                  <c:v>-0.42467234157546285</c:v>
                </c:pt>
                <c:pt idx="12">
                  <c:v>-0.38819078502905013</c:v>
                </c:pt>
                <c:pt idx="13">
                  <c:v>-0.39427104445345229</c:v>
                </c:pt>
                <c:pt idx="14">
                  <c:v>-0.40399945953249566</c:v>
                </c:pt>
                <c:pt idx="15">
                  <c:v>-0.36332927982705049</c:v>
                </c:pt>
                <c:pt idx="16">
                  <c:v>-0.38859613565734363</c:v>
                </c:pt>
                <c:pt idx="17">
                  <c:v>-0.3931901094446697</c:v>
                </c:pt>
                <c:pt idx="18">
                  <c:v>-0.44966896365356029</c:v>
                </c:pt>
                <c:pt idx="19">
                  <c:v>-0.43980543169841924</c:v>
                </c:pt>
                <c:pt idx="20">
                  <c:v>-0.4935819483853533</c:v>
                </c:pt>
                <c:pt idx="21">
                  <c:v>-0.43048236724766931</c:v>
                </c:pt>
                <c:pt idx="22">
                  <c:v>-0.45291176867990823</c:v>
                </c:pt>
                <c:pt idx="23">
                  <c:v>-0.45304688555600592</c:v>
                </c:pt>
                <c:pt idx="24">
                  <c:v>-0.38075935684366985</c:v>
                </c:pt>
                <c:pt idx="25">
                  <c:v>-0.42818538035400633</c:v>
                </c:pt>
                <c:pt idx="26">
                  <c:v>-0.41636265369544651</c:v>
                </c:pt>
                <c:pt idx="27">
                  <c:v>-0.43250912038913664</c:v>
                </c:pt>
                <c:pt idx="28">
                  <c:v>-0.32482097013917044</c:v>
                </c:pt>
                <c:pt idx="29">
                  <c:v>-0.35076341034995279</c:v>
                </c:pt>
                <c:pt idx="30">
                  <c:v>-0.28887988109714907</c:v>
                </c:pt>
                <c:pt idx="31">
                  <c:v>-0.36454533171193088</c:v>
                </c:pt>
                <c:pt idx="32">
                  <c:v>-0.33373868396162681</c:v>
                </c:pt>
                <c:pt idx="33">
                  <c:v>-0.33887312525334418</c:v>
                </c:pt>
                <c:pt idx="34">
                  <c:v>-0.30671530874206188</c:v>
                </c:pt>
                <c:pt idx="35">
                  <c:v>-0.27617889474395368</c:v>
                </c:pt>
                <c:pt idx="36">
                  <c:v>-0.30171598432644253</c:v>
                </c:pt>
                <c:pt idx="37">
                  <c:v>-0.22348331306580199</c:v>
                </c:pt>
                <c:pt idx="38">
                  <c:v>-0.28685312795568169</c:v>
                </c:pt>
                <c:pt idx="39">
                  <c:v>-0.32576678827185512</c:v>
                </c:pt>
                <c:pt idx="40">
                  <c:v>-0.27631401162005137</c:v>
                </c:pt>
                <c:pt idx="41">
                  <c:v>-0.21159302796919338</c:v>
                </c:pt>
                <c:pt idx="42">
                  <c:v>-0.1665991082286179</c:v>
                </c:pt>
                <c:pt idx="43">
                  <c:v>-0.21186326172138908</c:v>
                </c:pt>
                <c:pt idx="44">
                  <c:v>-0.31617349006890966</c:v>
                </c:pt>
                <c:pt idx="45">
                  <c:v>-0.35657343602215913</c:v>
                </c:pt>
                <c:pt idx="46">
                  <c:v>-0.37873260370220241</c:v>
                </c:pt>
                <c:pt idx="47">
                  <c:v>-0.35224969598702888</c:v>
                </c:pt>
                <c:pt idx="48">
                  <c:v>-0.33468450209431161</c:v>
                </c:pt>
                <c:pt idx="49">
                  <c:v>-0.35387109850020282</c:v>
                </c:pt>
                <c:pt idx="50">
                  <c:v>-0.33630590460748544</c:v>
                </c:pt>
                <c:pt idx="51">
                  <c:v>-0.42156465342521282</c:v>
                </c:pt>
                <c:pt idx="52">
                  <c:v>-0.42723956222132148</c:v>
                </c:pt>
                <c:pt idx="53">
                  <c:v>-0.39481151195784348</c:v>
                </c:pt>
                <c:pt idx="54">
                  <c:v>-0.41926766653154979</c:v>
                </c:pt>
                <c:pt idx="55">
                  <c:v>-0.40872855019591942</c:v>
                </c:pt>
                <c:pt idx="56">
                  <c:v>-0.34670990406701802</c:v>
                </c:pt>
                <c:pt idx="57">
                  <c:v>-0.32076746385623572</c:v>
                </c:pt>
                <c:pt idx="58">
                  <c:v>-0.26118092149709504</c:v>
                </c:pt>
                <c:pt idx="59">
                  <c:v>-0.28334008917713821</c:v>
                </c:pt>
                <c:pt idx="60">
                  <c:v>-0.21118767734089991</c:v>
                </c:pt>
                <c:pt idx="61">
                  <c:v>-0.20470206728820436</c:v>
                </c:pt>
                <c:pt idx="62">
                  <c:v>-0.22942845561410624</c:v>
                </c:pt>
                <c:pt idx="63">
                  <c:v>-0.21280907985407385</c:v>
                </c:pt>
                <c:pt idx="64">
                  <c:v>-0.28752871233617089</c:v>
                </c:pt>
                <c:pt idx="65">
                  <c:v>-0.28887988109714913</c:v>
                </c:pt>
                <c:pt idx="66">
                  <c:v>-0.35076341034995279</c:v>
                </c:pt>
                <c:pt idx="67">
                  <c:v>-0.32157816511282272</c:v>
                </c:pt>
                <c:pt idx="68">
                  <c:v>-0.36684231860559391</c:v>
                </c:pt>
                <c:pt idx="69">
                  <c:v>-0.36562626672071341</c:v>
                </c:pt>
                <c:pt idx="70">
                  <c:v>-0.41588974462910427</c:v>
                </c:pt>
                <c:pt idx="71">
                  <c:v>-0.4053506282934739</c:v>
                </c:pt>
                <c:pt idx="72">
                  <c:v>-0.4311579516281584</c:v>
                </c:pt>
                <c:pt idx="73">
                  <c:v>-0.41264693960275645</c:v>
                </c:pt>
                <c:pt idx="74">
                  <c:v>-0.41399810836373463</c:v>
                </c:pt>
                <c:pt idx="75">
                  <c:v>-0.39116335630320226</c:v>
                </c:pt>
                <c:pt idx="76">
                  <c:v>-0.32509120389136603</c:v>
                </c:pt>
                <c:pt idx="77">
                  <c:v>-0.28158356978786653</c:v>
                </c:pt>
                <c:pt idx="78">
                  <c:v>-0.25874881772733421</c:v>
                </c:pt>
                <c:pt idx="79">
                  <c:v>-0.24294014322388871</c:v>
                </c:pt>
                <c:pt idx="80">
                  <c:v>-0.23604918254289967</c:v>
                </c:pt>
                <c:pt idx="81">
                  <c:v>-0.21443048236724771</c:v>
                </c:pt>
                <c:pt idx="82">
                  <c:v>-0.22078097554384546</c:v>
                </c:pt>
                <c:pt idx="83">
                  <c:v>-0.19348736657208493</c:v>
                </c:pt>
                <c:pt idx="84">
                  <c:v>-0.22578029995946503</c:v>
                </c:pt>
                <c:pt idx="85">
                  <c:v>-0.26563977840832331</c:v>
                </c:pt>
                <c:pt idx="86">
                  <c:v>-0.27050398594784503</c:v>
                </c:pt>
                <c:pt idx="87">
                  <c:v>-0.30441832184839884</c:v>
                </c:pt>
                <c:pt idx="88">
                  <c:v>-0.31725442507769225</c:v>
                </c:pt>
                <c:pt idx="89">
                  <c:v>-0.30522902310498584</c:v>
                </c:pt>
                <c:pt idx="90">
                  <c:v>-0.26077557086880165</c:v>
                </c:pt>
                <c:pt idx="91">
                  <c:v>-0.29847317930009459</c:v>
                </c:pt>
                <c:pt idx="92">
                  <c:v>-0.31711930820159451</c:v>
                </c:pt>
                <c:pt idx="93">
                  <c:v>-0.3549520335089853</c:v>
                </c:pt>
                <c:pt idx="94">
                  <c:v>-0.33630590460748544</c:v>
                </c:pt>
                <c:pt idx="95">
                  <c:v>-0.28887988109714907</c:v>
                </c:pt>
                <c:pt idx="96">
                  <c:v>-0.27753006350493181</c:v>
                </c:pt>
                <c:pt idx="97">
                  <c:v>-0.28617754357519259</c:v>
                </c:pt>
                <c:pt idx="98">
                  <c:v>-0.3431968652884746</c:v>
                </c:pt>
                <c:pt idx="99">
                  <c:v>-0.32819889204161606</c:v>
                </c:pt>
                <c:pt idx="100">
                  <c:v>-0.40035130387785445</c:v>
                </c:pt>
                <c:pt idx="101">
                  <c:v>-0.43345493852182143</c:v>
                </c:pt>
                <c:pt idx="102">
                  <c:v>-0.49831103904877727</c:v>
                </c:pt>
                <c:pt idx="103">
                  <c:v>-0.56019456830158099</c:v>
                </c:pt>
                <c:pt idx="104">
                  <c:v>-0.6205918119173085</c:v>
                </c:pt>
                <c:pt idx="105">
                  <c:v>-0.58586677476016746</c:v>
                </c:pt>
                <c:pt idx="106">
                  <c:v>-0.45723550871503854</c:v>
                </c:pt>
                <c:pt idx="107">
                  <c:v>-0.38521821375489801</c:v>
                </c:pt>
                <c:pt idx="108">
                  <c:v>-0.38643426563977851</c:v>
                </c:pt>
                <c:pt idx="109">
                  <c:v>-0.46385623564383194</c:v>
                </c:pt>
                <c:pt idx="110">
                  <c:v>-0.51641670044588572</c:v>
                </c:pt>
                <c:pt idx="111">
                  <c:v>-0.46480205377651673</c:v>
                </c:pt>
                <c:pt idx="112">
                  <c:v>-0.46561275503310373</c:v>
                </c:pt>
                <c:pt idx="113">
                  <c:v>-0.46304553438724499</c:v>
                </c:pt>
                <c:pt idx="114">
                  <c:v>-0.46777462505066886</c:v>
                </c:pt>
                <c:pt idx="115">
                  <c:v>-0.50466153222537502</c:v>
                </c:pt>
                <c:pt idx="116">
                  <c:v>-0.55519524388596131</c:v>
                </c:pt>
                <c:pt idx="117">
                  <c:v>-0.54843940008107017</c:v>
                </c:pt>
                <c:pt idx="118">
                  <c:v>-0.53965680313471154</c:v>
                </c:pt>
                <c:pt idx="119">
                  <c:v>-0.6074854749358195</c:v>
                </c:pt>
                <c:pt idx="120">
                  <c:v>-0.60140521551141746</c:v>
                </c:pt>
                <c:pt idx="121">
                  <c:v>-0.5708688015133091</c:v>
                </c:pt>
                <c:pt idx="122">
                  <c:v>-0.51547088231320093</c:v>
                </c:pt>
                <c:pt idx="123">
                  <c:v>-0.52938792055127692</c:v>
                </c:pt>
                <c:pt idx="124">
                  <c:v>-0.52209160924199438</c:v>
                </c:pt>
                <c:pt idx="125">
                  <c:v>-0.53114443994054861</c:v>
                </c:pt>
                <c:pt idx="126">
                  <c:v>-0.58532630725577628</c:v>
                </c:pt>
                <c:pt idx="127">
                  <c:v>-0.54371030941764631</c:v>
                </c:pt>
                <c:pt idx="128">
                  <c:v>-0.52114579110930959</c:v>
                </c:pt>
                <c:pt idx="129">
                  <c:v>-0.54019727063910283</c:v>
                </c:pt>
                <c:pt idx="130">
                  <c:v>-0.52168625861370088</c:v>
                </c:pt>
                <c:pt idx="131">
                  <c:v>-0.54316984191325501</c:v>
                </c:pt>
                <c:pt idx="132">
                  <c:v>-0.45926226185650598</c:v>
                </c:pt>
                <c:pt idx="133">
                  <c:v>-0.34427780029725713</c:v>
                </c:pt>
                <c:pt idx="134">
                  <c:v>-0.35616808539386574</c:v>
                </c:pt>
                <c:pt idx="135">
                  <c:v>-0.35387109850020271</c:v>
                </c:pt>
                <c:pt idx="136">
                  <c:v>-0.43196865288474529</c:v>
                </c:pt>
                <c:pt idx="137">
                  <c:v>-0.52830698554249433</c:v>
                </c:pt>
                <c:pt idx="138">
                  <c:v>-0.47196324820970142</c:v>
                </c:pt>
                <c:pt idx="139">
                  <c:v>-0.41143088771787595</c:v>
                </c:pt>
                <c:pt idx="140">
                  <c:v>-0.45710039183894074</c:v>
                </c:pt>
                <c:pt idx="141">
                  <c:v>-0.39305499256857185</c:v>
                </c:pt>
                <c:pt idx="142">
                  <c:v>-0.37846236995000682</c:v>
                </c:pt>
                <c:pt idx="143">
                  <c:v>-0.34941224158897455</c:v>
                </c:pt>
                <c:pt idx="144">
                  <c:v>-0.30185110120254022</c:v>
                </c:pt>
                <c:pt idx="145">
                  <c:v>-0.35670855289825704</c:v>
                </c:pt>
                <c:pt idx="146">
                  <c:v>-0.36238346169436569</c:v>
                </c:pt>
                <c:pt idx="147">
                  <c:v>-0.42778002972571288</c:v>
                </c:pt>
                <c:pt idx="148">
                  <c:v>-0.43183353600864754</c:v>
                </c:pt>
                <c:pt idx="149">
                  <c:v>-0.41670044588569116</c:v>
                </c:pt>
                <c:pt idx="150">
                  <c:v>-0.42318605593838676</c:v>
                </c:pt>
                <c:pt idx="151">
                  <c:v>-0.42426699094716935</c:v>
                </c:pt>
                <c:pt idx="152">
                  <c:v>-0.43642750979597356</c:v>
                </c:pt>
                <c:pt idx="153">
                  <c:v>-0.41629509525739766</c:v>
                </c:pt>
                <c:pt idx="154">
                  <c:v>-0.43940008107012579</c:v>
                </c:pt>
                <c:pt idx="155">
                  <c:v>-0.33860289150114853</c:v>
                </c:pt>
                <c:pt idx="156">
                  <c:v>-0.21632211863261727</c:v>
                </c:pt>
                <c:pt idx="157">
                  <c:v>-0.22429401432238896</c:v>
                </c:pt>
                <c:pt idx="158">
                  <c:v>-0.17740845831644375</c:v>
                </c:pt>
                <c:pt idx="159">
                  <c:v>-0.20956627482772605</c:v>
                </c:pt>
                <c:pt idx="160">
                  <c:v>-0.25077692203756252</c:v>
                </c:pt>
                <c:pt idx="161">
                  <c:v>-4.0940413457640872E-2</c:v>
                </c:pt>
                <c:pt idx="162">
                  <c:v>-1.9051479529793417E-2</c:v>
                </c:pt>
                <c:pt idx="163">
                  <c:v>-9.6878800162140274E-2</c:v>
                </c:pt>
                <c:pt idx="164">
                  <c:v>-0.14281853803540071</c:v>
                </c:pt>
                <c:pt idx="165">
                  <c:v>-9.1474125118227403E-2</c:v>
                </c:pt>
                <c:pt idx="166">
                  <c:v>-0.12187542224023774</c:v>
                </c:pt>
                <c:pt idx="167">
                  <c:v>-6.4720983650858072E-2</c:v>
                </c:pt>
                <c:pt idx="168">
                  <c:v>-0.13822456424807464</c:v>
                </c:pt>
                <c:pt idx="169">
                  <c:v>-0.119443318470477</c:v>
                </c:pt>
                <c:pt idx="170">
                  <c:v>-0.11674098094852046</c:v>
                </c:pt>
                <c:pt idx="171">
                  <c:v>-0.1395757330090529</c:v>
                </c:pt>
                <c:pt idx="172">
                  <c:v>-0.16159978381299825</c:v>
                </c:pt>
                <c:pt idx="173">
                  <c:v>-0.16835562761788958</c:v>
                </c:pt>
                <c:pt idx="174">
                  <c:v>-6.7153087420619012E-2</c:v>
                </c:pt>
                <c:pt idx="175">
                  <c:v>-7.5530333738684008E-2</c:v>
                </c:pt>
                <c:pt idx="176">
                  <c:v>-0.10431022834752078</c:v>
                </c:pt>
                <c:pt idx="177">
                  <c:v>-0.13498175922172673</c:v>
                </c:pt>
                <c:pt idx="178">
                  <c:v>-9.9581137684096793E-2</c:v>
                </c:pt>
                <c:pt idx="179">
                  <c:v>-0.14133225239832464</c:v>
                </c:pt>
                <c:pt idx="180">
                  <c:v>-0.12444264288609658</c:v>
                </c:pt>
                <c:pt idx="181">
                  <c:v>-6.6747736792325513E-2</c:v>
                </c:pt>
                <c:pt idx="182">
                  <c:v>4.4993919740575573E-2</c:v>
                </c:pt>
                <c:pt idx="183">
                  <c:v>4.134576408593417E-2</c:v>
                </c:pt>
                <c:pt idx="184">
                  <c:v>-7.701661937576103E-3</c:v>
                </c:pt>
                <c:pt idx="185">
                  <c:v>6.5126334279151363E-2</c:v>
                </c:pt>
                <c:pt idx="186">
                  <c:v>0.14335900553979189</c:v>
                </c:pt>
                <c:pt idx="187">
                  <c:v>0.22199702742872574</c:v>
                </c:pt>
                <c:pt idx="188">
                  <c:v>0.17011214700716104</c:v>
                </c:pt>
                <c:pt idx="189">
                  <c:v>0.20848533981894327</c:v>
                </c:pt>
                <c:pt idx="190">
                  <c:v>0.21037697608431302</c:v>
                </c:pt>
                <c:pt idx="191">
                  <c:v>0.15133090122956361</c:v>
                </c:pt>
                <c:pt idx="192">
                  <c:v>0.16241048506958514</c:v>
                </c:pt>
                <c:pt idx="193">
                  <c:v>-4.9452776651803955E-2</c:v>
                </c:pt>
                <c:pt idx="194">
                  <c:v>4.7966491014727698E-2</c:v>
                </c:pt>
                <c:pt idx="195">
                  <c:v>0.15389812187542223</c:v>
                </c:pt>
                <c:pt idx="196">
                  <c:v>0.1561951087690851</c:v>
                </c:pt>
                <c:pt idx="197">
                  <c:v>0.12471287663829217</c:v>
                </c:pt>
                <c:pt idx="198">
                  <c:v>0.13484664234562901</c:v>
                </c:pt>
                <c:pt idx="199">
                  <c:v>0.10187812457775965</c:v>
                </c:pt>
                <c:pt idx="200">
                  <c:v>0.12917173354952016</c:v>
                </c:pt>
                <c:pt idx="201">
                  <c:v>0.22186191055262802</c:v>
                </c:pt>
                <c:pt idx="202">
                  <c:v>0.1551141737603027</c:v>
                </c:pt>
                <c:pt idx="203">
                  <c:v>0.1117416565329009</c:v>
                </c:pt>
                <c:pt idx="204">
                  <c:v>0.12295635724902032</c:v>
                </c:pt>
                <c:pt idx="205">
                  <c:v>7.5935684366977299E-2</c:v>
                </c:pt>
                <c:pt idx="206">
                  <c:v>8.512363194162946E-2</c:v>
                </c:pt>
                <c:pt idx="207">
                  <c:v>2.6753141467369325E-2</c:v>
                </c:pt>
                <c:pt idx="208">
                  <c:v>-7.0395892446966729E-2</c:v>
                </c:pt>
                <c:pt idx="209">
                  <c:v>-9.4987163896770713E-2</c:v>
                </c:pt>
                <c:pt idx="210">
                  <c:v>-0.10552628023240106</c:v>
                </c:pt>
                <c:pt idx="211">
                  <c:v>-0.22483448182678015</c:v>
                </c:pt>
                <c:pt idx="212">
                  <c:v>-0.26023510336441025</c:v>
                </c:pt>
                <c:pt idx="213">
                  <c:v>-0.27144980408052971</c:v>
                </c:pt>
                <c:pt idx="214">
                  <c:v>-0.23875152006485612</c:v>
                </c:pt>
                <c:pt idx="215">
                  <c:v>-0.13565734360221599</c:v>
                </c:pt>
                <c:pt idx="216">
                  <c:v>-0.13011755168220523</c:v>
                </c:pt>
                <c:pt idx="217">
                  <c:v>-0.12633427915146611</c:v>
                </c:pt>
                <c:pt idx="218">
                  <c:v>-0.10930955276314015</c:v>
                </c:pt>
                <c:pt idx="219">
                  <c:v>-6.7693554925010196E-2</c:v>
                </c:pt>
                <c:pt idx="220">
                  <c:v>-6.3775165518173388E-2</c:v>
                </c:pt>
                <c:pt idx="221">
                  <c:v>-8.4312930685042684E-2</c:v>
                </c:pt>
                <c:pt idx="222">
                  <c:v>-0.11768679908120534</c:v>
                </c:pt>
                <c:pt idx="223">
                  <c:v>-0.17754357519254155</c:v>
                </c:pt>
                <c:pt idx="224">
                  <c:v>1.3511687609789373E-4</c:v>
                </c:pt>
                <c:pt idx="225">
                  <c:v>2.4321037697608391E-2</c:v>
                </c:pt>
                <c:pt idx="226">
                  <c:v>7.0936359951357733E-2</c:v>
                </c:pt>
                <c:pt idx="227">
                  <c:v>5.4181867315227734E-2</c:v>
                </c:pt>
                <c:pt idx="228">
                  <c:v>8.8501553844075084E-2</c:v>
                </c:pt>
                <c:pt idx="229">
                  <c:v>8.7015268206998828E-2</c:v>
                </c:pt>
                <c:pt idx="230">
                  <c:v>0.10566139710849895</c:v>
                </c:pt>
                <c:pt idx="231">
                  <c:v>0.13687339548709626</c:v>
                </c:pt>
                <c:pt idx="232">
                  <c:v>0.18483988650182395</c:v>
                </c:pt>
                <c:pt idx="233">
                  <c:v>0.21389001486285633</c:v>
                </c:pt>
                <c:pt idx="234">
                  <c:v>0.25550601270098627</c:v>
                </c:pt>
                <c:pt idx="235">
                  <c:v>0.2188893392784759</c:v>
                </c:pt>
                <c:pt idx="236">
                  <c:v>0.20780975543845401</c:v>
                </c:pt>
                <c:pt idx="237">
                  <c:v>0.15605999189298739</c:v>
                </c:pt>
                <c:pt idx="238">
                  <c:v>0.19024456154573702</c:v>
                </c:pt>
                <c:pt idx="239">
                  <c:v>0.30914741251182243</c:v>
                </c:pt>
                <c:pt idx="240">
                  <c:v>0.29847317930009443</c:v>
                </c:pt>
                <c:pt idx="241">
                  <c:v>0.29360897176057271</c:v>
                </c:pt>
                <c:pt idx="242">
                  <c:v>0.27239562221321456</c:v>
                </c:pt>
                <c:pt idx="243">
                  <c:v>0.27212538846101875</c:v>
                </c:pt>
                <c:pt idx="244">
                  <c:v>0.24131874071071474</c:v>
                </c:pt>
                <c:pt idx="245">
                  <c:v>0.26712606404539918</c:v>
                </c:pt>
                <c:pt idx="246">
                  <c:v>0.1913254965545198</c:v>
                </c:pt>
                <c:pt idx="247">
                  <c:v>0.14038643426563976</c:v>
                </c:pt>
                <c:pt idx="248">
                  <c:v>0.14687204431833523</c:v>
                </c:pt>
                <c:pt idx="249">
                  <c:v>0.28901499797324687</c:v>
                </c:pt>
                <c:pt idx="250">
                  <c:v>0.27185515470882299</c:v>
                </c:pt>
                <c:pt idx="251">
                  <c:v>0.25091203891366004</c:v>
                </c:pt>
                <c:pt idx="252">
                  <c:v>0.24766923388731249</c:v>
                </c:pt>
                <c:pt idx="253">
                  <c:v>0.16443723821105258</c:v>
                </c:pt>
                <c:pt idx="254">
                  <c:v>0.19402783407647614</c:v>
                </c:pt>
                <c:pt idx="255">
                  <c:v>0.20456695041210646</c:v>
                </c:pt>
                <c:pt idx="256">
                  <c:v>0.26401837589514937</c:v>
                </c:pt>
                <c:pt idx="257">
                  <c:v>0.19010944466963914</c:v>
                </c:pt>
                <c:pt idx="258">
                  <c:v>0.20821510606674748</c:v>
                </c:pt>
                <c:pt idx="259">
                  <c:v>0.15862721253884601</c:v>
                </c:pt>
                <c:pt idx="260">
                  <c:v>0.16511282259154167</c:v>
                </c:pt>
                <c:pt idx="261">
                  <c:v>0.19943250912038918</c:v>
                </c:pt>
                <c:pt idx="262">
                  <c:v>0.23713011755168215</c:v>
                </c:pt>
                <c:pt idx="263">
                  <c:v>0.27280097284150784</c:v>
                </c:pt>
                <c:pt idx="264">
                  <c:v>0.28388055668152939</c:v>
                </c:pt>
                <c:pt idx="265">
                  <c:v>0.18821780840426958</c:v>
                </c:pt>
                <c:pt idx="266">
                  <c:v>7.4449398729901431E-2</c:v>
                </c:pt>
                <c:pt idx="267">
                  <c:v>8.296176192406432E-2</c:v>
                </c:pt>
                <c:pt idx="268">
                  <c:v>6.5531684907444862E-2</c:v>
                </c:pt>
                <c:pt idx="269">
                  <c:v>6.5126334279151363E-2</c:v>
                </c:pt>
                <c:pt idx="270">
                  <c:v>7.7421970004053361E-2</c:v>
                </c:pt>
                <c:pt idx="271">
                  <c:v>6.7017970544520925E-2</c:v>
                </c:pt>
                <c:pt idx="272">
                  <c:v>0.10485069585191177</c:v>
                </c:pt>
                <c:pt idx="273">
                  <c:v>3.6481556546412684E-2</c:v>
                </c:pt>
                <c:pt idx="274">
                  <c:v>1.4727739494662736E-2</c:v>
                </c:pt>
                <c:pt idx="275">
                  <c:v>-4.0535062829347001E-3</c:v>
                </c:pt>
                <c:pt idx="276">
                  <c:v>-9.8635319551412508E-3</c:v>
                </c:pt>
                <c:pt idx="277">
                  <c:v>4.1886231590324017E-3</c:v>
                </c:pt>
                <c:pt idx="278">
                  <c:v>4.1480880962032063E-2</c:v>
                </c:pt>
                <c:pt idx="279">
                  <c:v>4.0670179705445085E-2</c:v>
                </c:pt>
                <c:pt idx="280">
                  <c:v>3.0671530874206133E-2</c:v>
                </c:pt>
                <c:pt idx="281">
                  <c:v>-3.6481556546414029E-3</c:v>
                </c:pt>
                <c:pt idx="282">
                  <c:v>4.7290906634237847E-3</c:v>
                </c:pt>
                <c:pt idx="283">
                  <c:v>-2.4861505201999774E-2</c:v>
                </c:pt>
                <c:pt idx="284">
                  <c:v>-3.5130387785434515E-2</c:v>
                </c:pt>
                <c:pt idx="285">
                  <c:v>-7.1071476827455807E-2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12C-4CAB-878E-26BCC69436C7}"/>
            </c:ext>
          </c:extLst>
        </c:ser>
        <c:ser>
          <c:idx val="2"/>
          <c:order val="3"/>
          <c:tx>
            <c:strRef>
              <c:f>'[Peakstone Packaging Peer Analysis_12.31.2023 Q4_2023.xlsx]Stock Graph'!$G$24</c:f>
              <c:strCache>
                <c:ptCount val="1"/>
                <c:pt idx="0">
                  <c:v>S&amp;P 500</c:v>
                </c:pt>
              </c:strCache>
            </c:strRef>
          </c:tx>
          <c:spPr>
            <a:ln w="19050">
              <a:solidFill>
                <a:srgbClr val="6600CC"/>
              </a:solidFill>
            </a:ln>
          </c:spPr>
          <c:marker>
            <c:symbol val="none"/>
          </c:marker>
          <c:cat>
            <c:numRef>
              <c:f>'[Peakstone Packaging Peer Analysis_12.31.2023 Q4_2023.xlsx]Stock Graph'!$C$26:$C$312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ackaging Peer Analysis_12.31.2023 Q4_2023.xlsx]Stock Graph'!$G$26:$G$312</c:f>
              <c:numCache>
                <c:formatCode>0.0%</c:formatCode>
                <c:ptCount val="287"/>
                <c:pt idx="0">
                  <c:v>2.3070076606505383</c:v>
                </c:pt>
                <c:pt idx="1">
                  <c:v>2.2206144952393436</c:v>
                </c:pt>
                <c:pt idx="2">
                  <c:v>2.2331993974376334</c:v>
                </c:pt>
                <c:pt idx="3">
                  <c:v>2.1504257135873135</c:v>
                </c:pt>
                <c:pt idx="4">
                  <c:v>2.1208732552258303</c:v>
                </c:pt>
                <c:pt idx="5">
                  <c:v>2.0461008572326143</c:v>
                </c:pt>
                <c:pt idx="6">
                  <c:v>1.9563717667258942</c:v>
                </c:pt>
                <c:pt idx="7">
                  <c:v>1.9924899296324541</c:v>
                </c:pt>
                <c:pt idx="8">
                  <c:v>1.8979191626732974</c:v>
                </c:pt>
                <c:pt idx="9">
                  <c:v>1.8695735611103299</c:v>
                </c:pt>
                <c:pt idx="10">
                  <c:v>1.7788852639016151</c:v>
                </c:pt>
                <c:pt idx="11">
                  <c:v>1.5914100498382919</c:v>
                </c:pt>
                <c:pt idx="12">
                  <c:v>1.7238382766574323</c:v>
                </c:pt>
                <c:pt idx="13">
                  <c:v>1.6988335282683067</c:v>
                </c:pt>
                <c:pt idx="14">
                  <c:v>1.8009587686505892</c:v>
                </c:pt>
                <c:pt idx="15">
                  <c:v>1.8421526697011459</c:v>
                </c:pt>
                <c:pt idx="16">
                  <c:v>1.7502273933659205</c:v>
                </c:pt>
                <c:pt idx="17">
                  <c:v>1.8184037630831196</c:v>
                </c:pt>
                <c:pt idx="18">
                  <c:v>1.8550998202717877</c:v>
                </c:pt>
                <c:pt idx="19">
                  <c:v>1.7686313175713959</c:v>
                </c:pt>
                <c:pt idx="20">
                  <c:v>1.7367706366992848</c:v>
                </c:pt>
                <c:pt idx="21">
                  <c:v>1.705632885405211</c:v>
                </c:pt>
                <c:pt idx="22">
                  <c:v>1.6468453923116009</c:v>
                </c:pt>
                <c:pt idx="23">
                  <c:v>1.5956314492763344</c:v>
                </c:pt>
                <c:pt idx="24">
                  <c:v>1.6242057312959191</c:v>
                </c:pt>
                <c:pt idx="25">
                  <c:v>1.6041644577903544</c:v>
                </c:pt>
                <c:pt idx="26">
                  <c:v>1.5863363383114306</c:v>
                </c:pt>
                <c:pt idx="27">
                  <c:v>1.465069610962896</c:v>
                </c:pt>
                <c:pt idx="28">
                  <c:v>1.5462604313036519</c:v>
                </c:pt>
                <c:pt idx="29">
                  <c:v>1.567317744904817</c:v>
                </c:pt>
                <c:pt idx="30">
                  <c:v>1.6034361784465843</c:v>
                </c:pt>
                <c:pt idx="31">
                  <c:v>1.5002982651741918</c:v>
                </c:pt>
                <c:pt idx="32">
                  <c:v>1.4514990364568408</c:v>
                </c:pt>
                <c:pt idx="33">
                  <c:v>1.4198658465052014</c:v>
                </c:pt>
                <c:pt idx="34">
                  <c:v>1.47623440840673</c:v>
                </c:pt>
                <c:pt idx="35">
                  <c:v>1.5339734984689788</c:v>
                </c:pt>
                <c:pt idx="36">
                  <c:v>1.5130856465646931</c:v>
                </c:pt>
                <c:pt idx="37">
                  <c:v>1.4552679338277028</c:v>
                </c:pt>
                <c:pt idx="38">
                  <c:v>1.2551270990419499</c:v>
                </c:pt>
                <c:pt idx="39">
                  <c:v>1.2567351693888771</c:v>
                </c:pt>
                <c:pt idx="40">
                  <c:v>1.4378154056662527</c:v>
                </c:pt>
                <c:pt idx="41">
                  <c:v>1.4698669913550679</c:v>
                </c:pt>
                <c:pt idx="42">
                  <c:v>1.6613375678134732</c:v>
                </c:pt>
                <c:pt idx="43">
                  <c:v>1.6089165288136935</c:v>
                </c:pt>
                <c:pt idx="44">
                  <c:v>1.4933904147882326</c:v>
                </c:pt>
                <c:pt idx="45">
                  <c:v>1.4542063829603238</c:v>
                </c:pt>
                <c:pt idx="46">
                  <c:v>1.4619897885937478</c:v>
                </c:pt>
                <c:pt idx="47">
                  <c:v>1.4551424849681969</c:v>
                </c:pt>
                <c:pt idx="48">
                  <c:v>1.6171295395169636</c:v>
                </c:pt>
                <c:pt idx="49">
                  <c:v>1.5325736032413084</c:v>
                </c:pt>
                <c:pt idx="50">
                  <c:v>1.6005692138151695</c:v>
                </c:pt>
                <c:pt idx="51">
                  <c:v>1.7646252871140595</c:v>
                </c:pt>
                <c:pt idx="52">
                  <c:v>1.8610896697395758</c:v>
                </c:pt>
                <c:pt idx="53">
                  <c:v>1.8090157109528371</c:v>
                </c:pt>
                <c:pt idx="54">
                  <c:v>1.7245242173258113</c:v>
                </c:pt>
                <c:pt idx="55">
                  <c:v>1.7371095789745696</c:v>
                </c:pt>
                <c:pt idx="56">
                  <c:v>1.8325634097347434</c:v>
                </c:pt>
                <c:pt idx="57">
                  <c:v>1.7679934429746627</c:v>
                </c:pt>
                <c:pt idx="58">
                  <c:v>1.9436473300496175</c:v>
                </c:pt>
                <c:pt idx="59">
                  <c:v>1.97433646887089</c:v>
                </c:pt>
                <c:pt idx="60">
                  <c:v>1.9656735617510432</c:v>
                </c:pt>
                <c:pt idx="61">
                  <c:v>1.8917801680307287</c:v>
                </c:pt>
                <c:pt idx="62">
                  <c:v>1.9473101824759773</c:v>
                </c:pt>
                <c:pt idx="63">
                  <c:v>1.8985513161676175</c:v>
                </c:pt>
                <c:pt idx="64">
                  <c:v>1.8142086719047963</c:v>
                </c:pt>
                <c:pt idx="65">
                  <c:v>1.7422514465168626</c:v>
                </c:pt>
                <c:pt idx="66">
                  <c:v>1.7900522956593723</c:v>
                </c:pt>
                <c:pt idx="67">
                  <c:v>1.854529661121544</c:v>
                </c:pt>
                <c:pt idx="68">
                  <c:v>1.7955139029648917</c:v>
                </c:pt>
                <c:pt idx="69">
                  <c:v>1.7922741981264463</c:v>
                </c:pt>
                <c:pt idx="70">
                  <c:v>1.7767124596962809</c:v>
                </c:pt>
                <c:pt idx="71">
                  <c:v>1.7501263772012068</c:v>
                </c:pt>
                <c:pt idx="72">
                  <c:v>1.6942064844170572</c:v>
                </c:pt>
                <c:pt idx="73">
                  <c:v>1.6732715042235895</c:v>
                </c:pt>
                <c:pt idx="74">
                  <c:v>1.6460007712977542</c:v>
                </c:pt>
                <c:pt idx="75">
                  <c:v>1.626957833310136</c:v>
                </c:pt>
                <c:pt idx="76">
                  <c:v>1.6315654354833293</c:v>
                </c:pt>
                <c:pt idx="77">
                  <c:v>1.634267891671549</c:v>
                </c:pt>
                <c:pt idx="78">
                  <c:v>1.5300398094320296</c:v>
                </c:pt>
                <c:pt idx="79">
                  <c:v>1.4628428307682422</c:v>
                </c:pt>
                <c:pt idx="80">
                  <c:v>1.4180572102940419</c:v>
                </c:pt>
                <c:pt idx="81">
                  <c:v>1.4588202097432927</c:v>
                </c:pt>
                <c:pt idx="82">
                  <c:v>1.446310462312782</c:v>
                </c:pt>
                <c:pt idx="83">
                  <c:v>1.4177577492898625</c:v>
                </c:pt>
                <c:pt idx="84">
                  <c:v>1.4071937683008406</c:v>
                </c:pt>
                <c:pt idx="85">
                  <c:v>1.3306461040469517</c:v>
                </c:pt>
                <c:pt idx="86">
                  <c:v>1.3057225588078032</c:v>
                </c:pt>
                <c:pt idx="87">
                  <c:v>1.2899222774705468</c:v>
                </c:pt>
                <c:pt idx="88">
                  <c:v>1.2564390000640839</c:v>
                </c:pt>
                <c:pt idx="89">
                  <c:v>1.0580605983950877</c:v>
                </c:pt>
                <c:pt idx="90">
                  <c:v>1.1926536236524898</c:v>
                </c:pt>
                <c:pt idx="91">
                  <c:v>1.1074576036415464</c:v>
                </c:pt>
                <c:pt idx="92">
                  <c:v>1.0892193585338852</c:v>
                </c:pt>
                <c:pt idx="93">
                  <c:v>1.1568769520272408</c:v>
                </c:pt>
                <c:pt idx="94">
                  <c:v>1.1381174131589207</c:v>
                </c:pt>
                <c:pt idx="95">
                  <c:v>1.1092447275006192</c:v>
                </c:pt>
                <c:pt idx="96">
                  <c:v>1.0238666014641415</c:v>
                </c:pt>
                <c:pt idx="97">
                  <c:v>1.0046153184235318</c:v>
                </c:pt>
                <c:pt idx="98">
                  <c:v>0.89385004903721144</c:v>
                </c:pt>
                <c:pt idx="99">
                  <c:v>0.91415393310182136</c:v>
                </c:pt>
                <c:pt idx="100">
                  <c:v>0.9160375730285506</c:v>
                </c:pt>
                <c:pt idx="101">
                  <c:v>0.80236597102886609</c:v>
                </c:pt>
                <c:pt idx="102">
                  <c:v>0.78160104415342913</c:v>
                </c:pt>
                <c:pt idx="103">
                  <c:v>0.80920552064102624</c:v>
                </c:pt>
                <c:pt idx="104">
                  <c:v>0.56631602329985364</c:v>
                </c:pt>
                <c:pt idx="105">
                  <c:v>0.45067791035532234</c:v>
                </c:pt>
                <c:pt idx="106">
                  <c:v>0.87076392804270519</c:v>
                </c:pt>
                <c:pt idx="107">
                  <c:v>1.1007252507469814</c:v>
                </c:pt>
                <c:pt idx="108">
                  <c:v>1.0944061389329629</c:v>
                </c:pt>
                <c:pt idx="109">
                  <c:v>1.0741189335497541</c:v>
                </c:pt>
                <c:pt idx="110">
                  <c:v>1.0551604274530795</c:v>
                </c:pt>
                <c:pt idx="111">
                  <c:v>1.0392176346505508</c:v>
                </c:pt>
                <c:pt idx="112">
                  <c:v>0.99439243220377194</c:v>
                </c:pt>
                <c:pt idx="113">
                  <c:v>0.97688359303760586</c:v>
                </c:pt>
                <c:pt idx="114">
                  <c:v>0.96396848441678051</c:v>
                </c:pt>
                <c:pt idx="115">
                  <c:v>0.93026769182947655</c:v>
                </c:pt>
                <c:pt idx="116">
                  <c:v>0.87946929971478449</c:v>
                </c:pt>
                <c:pt idx="117">
                  <c:v>0.85794692783157211</c:v>
                </c:pt>
                <c:pt idx="118">
                  <c:v>0.8831630360240259</c:v>
                </c:pt>
                <c:pt idx="119">
                  <c:v>0.87475164341971057</c:v>
                </c:pt>
                <c:pt idx="120">
                  <c:v>0.79192667734446331</c:v>
                </c:pt>
                <c:pt idx="121">
                  <c:v>0.83694943719898029</c:v>
                </c:pt>
                <c:pt idx="122">
                  <c:v>0.90442795200482229</c:v>
                </c:pt>
                <c:pt idx="123">
                  <c:v>0.89682089982530921</c:v>
                </c:pt>
                <c:pt idx="124">
                  <c:v>0.85149767824572886</c:v>
                </c:pt>
                <c:pt idx="125">
                  <c:v>0.81702162907768094</c:v>
                </c:pt>
                <c:pt idx="126">
                  <c:v>0.7321049108948684</c:v>
                </c:pt>
                <c:pt idx="127">
                  <c:v>0.79974449141231052</c:v>
                </c:pt>
                <c:pt idx="128">
                  <c:v>0.85393789521158336</c:v>
                </c:pt>
                <c:pt idx="129">
                  <c:v>0.82838157968159487</c:v>
                </c:pt>
                <c:pt idx="130">
                  <c:v>0.82064763105890703</c:v>
                </c:pt>
                <c:pt idx="131">
                  <c:v>0.76272417548183225</c:v>
                </c:pt>
                <c:pt idx="132">
                  <c:v>0.72644346151695094</c:v>
                </c:pt>
                <c:pt idx="133">
                  <c:v>0.75766302646367989</c:v>
                </c:pt>
                <c:pt idx="134">
                  <c:v>0.70429713701559427</c:v>
                </c:pt>
                <c:pt idx="135">
                  <c:v>0.67715817196667116</c:v>
                </c:pt>
                <c:pt idx="136">
                  <c:v>0.63404333368146681</c:v>
                </c:pt>
                <c:pt idx="137">
                  <c:v>0.56448248235574883</c:v>
                </c:pt>
                <c:pt idx="138">
                  <c:v>0.63637019855221233</c:v>
                </c:pt>
                <c:pt idx="139">
                  <c:v>0.73721007904423608</c:v>
                </c:pt>
                <c:pt idx="140">
                  <c:v>0.72216447971810027</c:v>
                </c:pt>
                <c:pt idx="141">
                  <c:v>0.7138498675228071</c:v>
                </c:pt>
                <c:pt idx="142">
                  <c:v>0.74199732005688479</c:v>
                </c:pt>
                <c:pt idx="143">
                  <c:v>0.8161298168362312</c:v>
                </c:pt>
                <c:pt idx="144">
                  <c:v>0.84388625813984153</c:v>
                </c:pt>
                <c:pt idx="145">
                  <c:v>0.80739099339371889</c:v>
                </c:pt>
                <c:pt idx="146">
                  <c:v>0.8092839356189806</c:v>
                </c:pt>
                <c:pt idx="147">
                  <c:v>0.78322396167372432</c:v>
                </c:pt>
                <c:pt idx="148">
                  <c:v>0.77411928978121347</c:v>
                </c:pt>
                <c:pt idx="149">
                  <c:v>0.76310112626918614</c:v>
                </c:pt>
                <c:pt idx="150">
                  <c:v>0.71090132211089263</c:v>
                </c:pt>
                <c:pt idx="151">
                  <c:v>0.74947600303418571</c:v>
                </c:pt>
                <c:pt idx="152">
                  <c:v>0.721125913961845</c:v>
                </c:pt>
                <c:pt idx="153">
                  <c:v>0.70750342784665843</c:v>
                </c:pt>
                <c:pt idx="154">
                  <c:v>0.67631469013823309</c:v>
                </c:pt>
                <c:pt idx="155">
                  <c:v>0.68054504571349639</c:v>
                </c:pt>
                <c:pt idx="156">
                  <c:v>0.63921188711400156</c:v>
                </c:pt>
                <c:pt idx="157">
                  <c:v>0.62901171537015776</c:v>
                </c:pt>
                <c:pt idx="158">
                  <c:v>0.75382005686586961</c:v>
                </c:pt>
                <c:pt idx="159">
                  <c:v>0.72910631055722386</c:v>
                </c:pt>
                <c:pt idx="160">
                  <c:v>0.64870061554152769</c:v>
                </c:pt>
                <c:pt idx="161">
                  <c:v>0.80813763816855677</c:v>
                </c:pt>
                <c:pt idx="162">
                  <c:v>0.75361804971181046</c:v>
                </c:pt>
                <c:pt idx="163">
                  <c:v>0.68272822846435133</c:v>
                </c:pt>
                <c:pt idx="164">
                  <c:v>0.68411127507688518</c:v>
                </c:pt>
                <c:pt idx="165">
                  <c:v>0.66296886243752118</c:v>
                </c:pt>
                <c:pt idx="166">
                  <c:v>0.62309017297001024</c:v>
                </c:pt>
                <c:pt idx="167">
                  <c:v>0.62874313824886008</c:v>
                </c:pt>
                <c:pt idx="168">
                  <c:v>0.62079390246541244</c:v>
                </c:pt>
                <c:pt idx="169">
                  <c:v>0.6045089827035276</c:v>
                </c:pt>
                <c:pt idx="170">
                  <c:v>0.57485913972418701</c:v>
                </c:pt>
                <c:pt idx="171">
                  <c:v>0.54918745177579564</c:v>
                </c:pt>
                <c:pt idx="172">
                  <c:v>0.53761443573736145</c:v>
                </c:pt>
                <c:pt idx="173">
                  <c:v>0.53652839553061182</c:v>
                </c:pt>
                <c:pt idx="174">
                  <c:v>0.55589977137115276</c:v>
                </c:pt>
                <c:pt idx="175">
                  <c:v>0.54782631402739657</c:v>
                </c:pt>
                <c:pt idx="176">
                  <c:v>0.52525527477145773</c:v>
                </c:pt>
                <c:pt idx="177">
                  <c:v>0.53138669792205406</c:v>
                </c:pt>
                <c:pt idx="178">
                  <c:v>0.53511228736585104</c:v>
                </c:pt>
                <c:pt idx="179">
                  <c:v>0.49902116280468761</c:v>
                </c:pt>
                <c:pt idx="180">
                  <c:v>0.51007252633346656</c:v>
                </c:pt>
                <c:pt idx="181">
                  <c:v>0.47823150742388232</c:v>
                </c:pt>
                <c:pt idx="182">
                  <c:v>0.4825428081015995</c:v>
                </c:pt>
                <c:pt idx="183">
                  <c:v>0.47526281542360377</c:v>
                </c:pt>
                <c:pt idx="184">
                  <c:v>0.49327554587719286</c:v>
                </c:pt>
                <c:pt idx="185">
                  <c:v>0.48996907596240619</c:v>
                </c:pt>
                <c:pt idx="186">
                  <c:v>0.45771491037990608</c:v>
                </c:pt>
                <c:pt idx="187">
                  <c:v>0.44424146873802711</c:v>
                </c:pt>
                <c:pt idx="188">
                  <c:v>0.43162106297680025</c:v>
                </c:pt>
                <c:pt idx="189">
                  <c:v>0.40908214749062444</c:v>
                </c:pt>
                <c:pt idx="190">
                  <c:v>0.42119509964983448</c:v>
                </c:pt>
                <c:pt idx="191">
                  <c:v>0.37958101541096301</c:v>
                </c:pt>
                <c:pt idx="192">
                  <c:v>0.37325452092023359</c:v>
                </c:pt>
                <c:pt idx="193">
                  <c:v>0.31237707575788137</c:v>
                </c:pt>
                <c:pt idx="194">
                  <c:v>0.34761348398256836</c:v>
                </c:pt>
                <c:pt idx="195">
                  <c:v>0.35552953233694845</c:v>
                </c:pt>
                <c:pt idx="196">
                  <c:v>0.36242471951272665</c:v>
                </c:pt>
                <c:pt idx="197">
                  <c:v>0.33920721456567243</c:v>
                </c:pt>
                <c:pt idx="198">
                  <c:v>0.36515965821970542</c:v>
                </c:pt>
                <c:pt idx="199">
                  <c:v>0.37460716198188099</c:v>
                </c:pt>
                <c:pt idx="200">
                  <c:v>0.36803193485380059</c:v>
                </c:pt>
                <c:pt idx="201">
                  <c:v>0.36056584585441792</c:v>
                </c:pt>
                <c:pt idx="202">
                  <c:v>0.32356570798151424</c:v>
                </c:pt>
                <c:pt idx="203">
                  <c:v>0.30359295553421989</c:v>
                </c:pt>
                <c:pt idx="204">
                  <c:v>0.32115836375262563</c:v>
                </c:pt>
                <c:pt idx="205">
                  <c:v>0.29169656189186133</c:v>
                </c:pt>
                <c:pt idx="206">
                  <c:v>0.29473294416326146</c:v>
                </c:pt>
                <c:pt idx="207">
                  <c:v>0.31640747597159019</c:v>
                </c:pt>
                <c:pt idx="208">
                  <c:v>0.28872528941634701</c:v>
                </c:pt>
                <c:pt idx="209">
                  <c:v>0.28138590175103612</c:v>
                </c:pt>
                <c:pt idx="210">
                  <c:v>0.27273417249464893</c:v>
                </c:pt>
                <c:pt idx="211">
                  <c:v>0.22607432138756656</c:v>
                </c:pt>
                <c:pt idx="212">
                  <c:v>0.17366013638176656</c:v>
                </c:pt>
                <c:pt idx="213">
                  <c:v>0.22115620622357496</c:v>
                </c:pt>
                <c:pt idx="214">
                  <c:v>0.18344861533020557</c:v>
                </c:pt>
                <c:pt idx="215">
                  <c:v>0.28642157329661788</c:v>
                </c:pt>
                <c:pt idx="216">
                  <c:v>0.26226131375065637</c:v>
                </c:pt>
                <c:pt idx="217">
                  <c:v>0.31647502148434459</c:v>
                </c:pt>
                <c:pt idx="218">
                  <c:v>0.31488821802966466</c:v>
                </c:pt>
                <c:pt idx="219">
                  <c:v>0.32120551721717611</c:v>
                </c:pt>
                <c:pt idx="220">
                  <c:v>0.30606743617613041</c:v>
                </c:pt>
                <c:pt idx="221">
                  <c:v>0.26814160631008516</c:v>
                </c:pt>
                <c:pt idx="222">
                  <c:v>0.21555482527407061</c:v>
                </c:pt>
                <c:pt idx="223">
                  <c:v>0.23425116767448484</c:v>
                </c:pt>
                <c:pt idx="224">
                  <c:v>0.25176424889018473</c:v>
                </c:pt>
                <c:pt idx="225">
                  <c:v>0.31638452862351862</c:v>
                </c:pt>
                <c:pt idx="226">
                  <c:v>0.32412074932318208</c:v>
                </c:pt>
                <c:pt idx="227">
                  <c:v>0.33847610299298486</c:v>
                </c:pt>
                <c:pt idx="228">
                  <c:v>0.30708982046450545</c:v>
                </c:pt>
                <c:pt idx="229">
                  <c:v>0.3279932936847299</c:v>
                </c:pt>
                <c:pt idx="230">
                  <c:v>0.31719474120294272</c:v>
                </c:pt>
                <c:pt idx="231">
                  <c:v>0.33810946781273149</c:v>
                </c:pt>
                <c:pt idx="232">
                  <c:v>0.33183683602216552</c:v>
                </c:pt>
                <c:pt idx="233">
                  <c:v>0.33284059053810722</c:v>
                </c:pt>
                <c:pt idx="234">
                  <c:v>0.32300043285269231</c:v>
                </c:pt>
                <c:pt idx="235">
                  <c:v>0.29717469053273093</c:v>
                </c:pt>
                <c:pt idx="236">
                  <c:v>0.29237642900267352</c:v>
                </c:pt>
                <c:pt idx="237">
                  <c:v>0.32454110244523199</c:v>
                </c:pt>
                <c:pt idx="238">
                  <c:v>0.31981105986902691</c:v>
                </c:pt>
                <c:pt idx="239">
                  <c:v>0.25561545083338083</c:v>
                </c:pt>
                <c:pt idx="240">
                  <c:v>0.27099019921659034</c:v>
                </c:pt>
                <c:pt idx="241">
                  <c:v>0.29540157676603535</c:v>
                </c:pt>
                <c:pt idx="242">
                  <c:v>0.30323248831916411</c:v>
                </c:pt>
                <c:pt idx="243">
                  <c:v>0.30620395590378185</c:v>
                </c:pt>
                <c:pt idx="244">
                  <c:v>0.29873584658110497</c:v>
                </c:pt>
                <c:pt idx="245">
                  <c:v>0.27885930809704917</c:v>
                </c:pt>
                <c:pt idx="246">
                  <c:v>0.23647580796284559</c:v>
                </c:pt>
                <c:pt idx="247">
                  <c:v>0.19968791103115521</c:v>
                </c:pt>
                <c:pt idx="248">
                  <c:v>0.24797191325157228</c:v>
                </c:pt>
                <c:pt idx="249">
                  <c:v>0.24966517704432889</c:v>
                </c:pt>
                <c:pt idx="250">
                  <c:v>0.2608879848302294</c:v>
                </c:pt>
                <c:pt idx="251">
                  <c:v>0.23048553680764058</c:v>
                </c:pt>
                <c:pt idx="252">
                  <c:v>0.21166013288239047</c:v>
                </c:pt>
                <c:pt idx="253">
                  <c:v>0.24505938120380077</c:v>
                </c:pt>
                <c:pt idx="254">
                  <c:v>0.24960276101283574</c:v>
                </c:pt>
                <c:pt idx="255">
                  <c:v>0.23540154353454942</c:v>
                </c:pt>
                <c:pt idx="256">
                  <c:v>0.22694720175216532</c:v>
                </c:pt>
                <c:pt idx="257">
                  <c:v>0.19616559380366716</c:v>
                </c:pt>
                <c:pt idx="258">
                  <c:v>0.18228292655246198</c:v>
                </c:pt>
                <c:pt idx="259">
                  <c:v>0.17279494709213855</c:v>
                </c:pt>
                <c:pt idx="260">
                  <c:v>0.1427635147638617</c:v>
                </c:pt>
                <c:pt idx="261">
                  <c:v>0.16915718192014312</c:v>
                </c:pt>
                <c:pt idx="262">
                  <c:v>0.15878034832412785</c:v>
                </c:pt>
                <c:pt idx="263">
                  <c:v>0.17030806128757076</c:v>
                </c:pt>
                <c:pt idx="264">
                  <c:v>0.15720638430720615</c:v>
                </c:pt>
                <c:pt idx="265">
                  <c:v>0.1219320808596069</c:v>
                </c:pt>
                <c:pt idx="266">
                  <c:v>0.15724841458433741</c:v>
                </c:pt>
                <c:pt idx="267">
                  <c:v>0.15263319056843591</c:v>
                </c:pt>
                <c:pt idx="268">
                  <c:v>0.14442226942072264</c:v>
                </c:pt>
                <c:pt idx="269">
                  <c:v>0.13609774442421915</c:v>
                </c:pt>
                <c:pt idx="270">
                  <c:v>0.13588530208006055</c:v>
                </c:pt>
                <c:pt idx="271">
                  <c:v>0.11439196369017066</c:v>
                </c:pt>
                <c:pt idx="272">
                  <c:v>0.10756864589662708</c:v>
                </c:pt>
                <c:pt idx="273">
                  <c:v>7.1964142320333796E-2</c:v>
                </c:pt>
                <c:pt idx="274">
                  <c:v>6.4757686892712593E-2</c:v>
                </c:pt>
                <c:pt idx="275">
                  <c:v>6.2393008619001204E-2</c:v>
                </c:pt>
                <c:pt idx="276">
                  <c:v>2.7766247109505846E-2</c:v>
                </c:pt>
                <c:pt idx="277">
                  <c:v>4.2151062253889524E-2</c:v>
                </c:pt>
                <c:pt idx="278">
                  <c:v>7.6040984794442698E-2</c:v>
                </c:pt>
                <c:pt idx="279">
                  <c:v>6.4973452385467409E-2</c:v>
                </c:pt>
                <c:pt idx="280">
                  <c:v>2.7083837286510138E-2</c:v>
                </c:pt>
                <c:pt idx="281">
                  <c:v>2.2493247368346341E-3</c:v>
                </c:pt>
                <c:pt idx="282">
                  <c:v>3.431687790290084E-2</c:v>
                </c:pt>
                <c:pt idx="283">
                  <c:v>3.8235178496066474E-2</c:v>
                </c:pt>
                <c:pt idx="284">
                  <c:v>2.8225930450452418E-2</c:v>
                </c:pt>
                <c:pt idx="285">
                  <c:v>-4.1658562820556019E-3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12C-4CAB-878E-26BCC6943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8911240"/>
        <c:axId val="258907712"/>
        <c:extLst/>
      </c:lineChart>
      <c:dateAx>
        <c:axId val="258911240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8907712"/>
        <c:crosses val="autoZero"/>
        <c:auto val="0"/>
        <c:lblOffset val="100"/>
        <c:baseTimeUnit val="days"/>
        <c:majorUnit val="13"/>
        <c:majorTimeUnit val="months"/>
      </c:dateAx>
      <c:valAx>
        <c:axId val="258907712"/>
        <c:scaling>
          <c:orientation val="minMax"/>
        </c:scaling>
        <c:delete val="0"/>
        <c:axPos val="l"/>
        <c:numFmt formatCode="0%;\(0%\)" sourceLinked="0"/>
        <c:majorTickMark val="out"/>
        <c:minorTickMark val="none"/>
        <c:tickLblPos val="low"/>
        <c:spPr>
          <a:noFill/>
          <a:ln w="63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8911240"/>
        <c:crossesAt val="41459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93BF6-3D1D-4E67-8E21-C2A9EE13A7E2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3F4A8A-29E3-4335-BC26-BCC535CD32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643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571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80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329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7156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56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988475-0B57-4CAA-B19F-9D8A9753ADCE}"/>
              </a:ext>
            </a:extLst>
          </p:cNvPr>
          <p:cNvSpPr/>
          <p:nvPr userDrawn="1"/>
        </p:nvSpPr>
        <p:spPr>
          <a:xfrm>
            <a:off x="0" y="0"/>
            <a:ext cx="7772400" cy="10058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7471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61036-B015-4A96-ADB5-C876AEEC6314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878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62124" y="535517"/>
            <a:ext cx="1675924" cy="852402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353" y="535517"/>
            <a:ext cx="4930616" cy="852402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5BE04-127B-44BC-9F17-F519A19971EF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8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4556-4399-4F7F-930C-B017C90FF76E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014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05" y="2507618"/>
            <a:ext cx="6703695" cy="4184014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05" y="6731215"/>
            <a:ext cx="6703695" cy="2200274"/>
          </a:xfrm>
        </p:spPr>
        <p:txBody>
          <a:bodyPr/>
          <a:lstStyle>
            <a:lvl1pPr marL="0" indent="0">
              <a:buNone/>
              <a:defRPr sz="2040">
                <a:solidFill>
                  <a:schemeClr val="tx1"/>
                </a:solidFill>
              </a:defRPr>
            </a:lvl1pPr>
            <a:lvl2pPr marL="38862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7240" indent="0">
              <a:buNone/>
              <a:defRPr sz="1530">
                <a:solidFill>
                  <a:schemeClr val="tx1">
                    <a:tint val="75000"/>
                  </a:schemeClr>
                </a:solidFill>
              </a:defRPr>
            </a:lvl3pPr>
            <a:lvl4pPr marL="11658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4pPr>
            <a:lvl5pPr marL="155448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5pPr>
            <a:lvl6pPr marL="194310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6pPr>
            <a:lvl7pPr marL="233172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7pPr>
            <a:lvl8pPr marL="272034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8pPr>
            <a:lvl9pPr marL="31089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0BAA3-F2BF-4431-B113-1C0F8A7A3677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155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2F34-15EF-4D34-91BB-5387965B69D2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076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535519"/>
            <a:ext cx="6703695" cy="194415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366" y="2465706"/>
            <a:ext cx="3288089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366" y="3674110"/>
            <a:ext cx="3288089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7A7AC-CBCE-48B4-AAE5-BC50AE8740A9}" type="datetime1">
              <a:rPr lang="en-US" smtClean="0"/>
              <a:t>7/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853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F13A1-86C7-4B8D-B950-05A557DDC303}" type="datetime1">
              <a:rPr lang="en-US" smtClean="0"/>
              <a:t>7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681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7CBF9-B292-4610-B255-8499BA0F3C36}" type="datetime1">
              <a:rPr lang="en-US" smtClean="0"/>
              <a:t>7/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428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4282" y="1448226"/>
            <a:ext cx="3934778" cy="7147983"/>
          </a:xfrm>
        </p:spPr>
        <p:txBody>
          <a:bodyPr/>
          <a:lstStyle>
            <a:lvl1pPr>
              <a:defRPr sz="2720"/>
            </a:lvl1pPr>
            <a:lvl2pPr>
              <a:defRPr sz="2380"/>
            </a:lvl2pPr>
            <a:lvl3pPr>
              <a:defRPr sz="204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3ECA5C-0F6C-4A27-B90E-90AB6C2E6F66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24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04282" y="1448226"/>
            <a:ext cx="3934778" cy="7147983"/>
          </a:xfrm>
        </p:spPr>
        <p:txBody>
          <a:bodyPr anchor="t"/>
          <a:lstStyle>
            <a:lvl1pPr marL="0" indent="0">
              <a:buNone/>
              <a:defRPr sz="2720"/>
            </a:lvl1pPr>
            <a:lvl2pPr marL="388620" indent="0">
              <a:buNone/>
              <a:defRPr sz="2380"/>
            </a:lvl2pPr>
            <a:lvl3pPr marL="777240" indent="0">
              <a:buNone/>
              <a:defRPr sz="2040"/>
            </a:lvl3pPr>
            <a:lvl4pPr marL="1165860" indent="0">
              <a:buNone/>
              <a:defRPr sz="1700"/>
            </a:lvl4pPr>
            <a:lvl5pPr marL="1554480" indent="0">
              <a:buNone/>
              <a:defRPr sz="1700"/>
            </a:lvl5pPr>
            <a:lvl6pPr marL="1943100" indent="0">
              <a:buNone/>
              <a:defRPr sz="1700"/>
            </a:lvl6pPr>
            <a:lvl7pPr marL="2331720" indent="0">
              <a:buNone/>
              <a:defRPr sz="1700"/>
            </a:lvl7pPr>
            <a:lvl8pPr marL="2720340" indent="0">
              <a:buNone/>
              <a:defRPr sz="1700"/>
            </a:lvl8pPr>
            <a:lvl9pPr marL="3108960" indent="0">
              <a:buNone/>
              <a:defRPr sz="17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DF79C-62B9-4600-83CA-822C7CB88116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93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39837E7-3C82-CD95-66AF-5136BD2F4D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7" b="59753"/>
          <a:stretch/>
        </p:blipFill>
        <p:spPr>
          <a:xfrm>
            <a:off x="685800" y="685800"/>
            <a:ext cx="4532536" cy="976867"/>
          </a:xfrm>
          <a:prstGeom prst="rect">
            <a:avLst/>
          </a:prstGeom>
        </p:spPr>
      </p:pic>
      <p:sp>
        <p:nvSpPr>
          <p:cNvPr id="10" name="Rectangle 30">
            <a:extLst>
              <a:ext uri="{FF2B5EF4-FFF2-40B4-BE49-F238E27FC236}">
                <a16:creationId xmlns:a16="http://schemas.microsoft.com/office/drawing/2014/main" id="{BA0D86CD-8F3A-CD6B-8BFF-EC4ABF0E9BB2}"/>
              </a:ext>
            </a:extLst>
          </p:cNvPr>
          <p:cNvSpPr/>
          <p:nvPr userDrawn="1"/>
        </p:nvSpPr>
        <p:spPr>
          <a:xfrm>
            <a:off x="685799" y="688658"/>
            <a:ext cx="4477751" cy="1039514"/>
          </a:xfrm>
          <a:custGeom>
            <a:avLst/>
            <a:gdLst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550709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81634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76770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71906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64472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481450"/>
              <a:gd name="connsiteY0" fmla="*/ 0 h 986046"/>
              <a:gd name="connsiteX1" fmla="*/ 4481450 w 4481450"/>
              <a:gd name="connsiteY1" fmla="*/ 0 h 986046"/>
              <a:gd name="connsiteX2" fmla="*/ 4064472 w 4481450"/>
              <a:gd name="connsiteY2" fmla="*/ 986046 h 986046"/>
              <a:gd name="connsiteX3" fmla="*/ 0 w 4481450"/>
              <a:gd name="connsiteY3" fmla="*/ 986046 h 986046"/>
              <a:gd name="connsiteX4" fmla="*/ 0 w 4481450"/>
              <a:gd name="connsiteY4" fmla="*/ 0 h 98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81450" h="986046">
                <a:moveTo>
                  <a:pt x="0" y="0"/>
                </a:moveTo>
                <a:lnTo>
                  <a:pt x="4481450" y="0"/>
                </a:lnTo>
                <a:lnTo>
                  <a:pt x="4064472" y="986046"/>
                </a:lnTo>
                <a:lnTo>
                  <a:pt x="0" y="98604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93E75E3-6466-D524-7CDC-47DA5C216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8718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3E75E3-6466-D524-7CDC-47DA5C216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353" y="4878918"/>
            <a:ext cx="6703695" cy="19441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353" y="2677584"/>
            <a:ext cx="6703695" cy="6381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353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882E7-4D91-446B-95E8-54630906FA6C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4608" y="9322649"/>
            <a:ext cx="2623185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28285" y="9136380"/>
            <a:ext cx="1748790" cy="2362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rgbClr val="11496E"/>
                </a:solidFill>
              </a:defRPr>
            </a:lvl1pPr>
          </a:lstStyle>
          <a:p>
            <a:fld id="{E75163A2-26E5-4FA8-819E-F809925EDC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C3DF0B7A-4C1D-452B-9531-8A76813978AD}"/>
              </a:ext>
            </a:extLst>
          </p:cNvPr>
          <p:cNvSpPr/>
          <p:nvPr userDrawn="1"/>
        </p:nvSpPr>
        <p:spPr>
          <a:xfrm>
            <a:off x="4392154" y="1739501"/>
            <a:ext cx="291714" cy="314933"/>
          </a:xfrm>
          <a:prstGeom prst="parallelogram">
            <a:avLst>
              <a:gd name="adj" fmla="val 46550"/>
            </a:avLst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04FB2C8-AA47-45AA-BFB5-F0C396D6E64E}"/>
              </a:ext>
            </a:extLst>
          </p:cNvPr>
          <p:cNvSpPr/>
          <p:nvPr userDrawn="1"/>
        </p:nvSpPr>
        <p:spPr>
          <a:xfrm>
            <a:off x="687060" y="1739502"/>
            <a:ext cx="3861033" cy="315566"/>
          </a:xfrm>
          <a:prstGeom prst="rect">
            <a:avLst/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>
            <a:off x="5247410" y="686962"/>
            <a:ext cx="1829665" cy="1039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4">
            <a:extLst>
              <a:ext uri="{FF2B5EF4-FFF2-40B4-BE49-F238E27FC236}">
                <a16:creationId xmlns:a16="http://schemas.microsoft.com/office/drawing/2014/main" id="{9D6A43A9-535F-456A-A338-D882160AEB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602" y="1119416"/>
            <a:ext cx="1230362" cy="208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534" y="685800"/>
            <a:ext cx="2443542" cy="1372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979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777240" rtl="0" eaLnBrk="1" latinLnBrk="0" hangingPunct="1">
        <a:lnSpc>
          <a:spcPct val="90000"/>
        </a:lnSpc>
        <a:spcBef>
          <a:spcPct val="0"/>
        </a:spcBef>
        <a:buNone/>
        <a:defRPr sz="37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310" indent="-194310" algn="l" defTabSz="777240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Char char="•"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9715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213741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60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6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2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10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7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3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8" userDrawn="1">
          <p15:clr>
            <a:srgbClr val="F26B43"/>
          </p15:clr>
        </p15:guide>
        <p15:guide id="2" pos="2448" userDrawn="1">
          <p15:clr>
            <a:srgbClr val="F26B43"/>
          </p15:clr>
        </p15:guide>
        <p15:guide id="3" pos="4458" userDrawn="1">
          <p15:clr>
            <a:srgbClr val="F26B43"/>
          </p15:clr>
        </p15:guide>
        <p15:guide id="4" pos="432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59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26" Type="http://schemas.openxmlformats.org/officeDocument/2006/relationships/image" Target="../media/image28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3.png"/><Relationship Id="rId34" Type="http://schemas.openxmlformats.org/officeDocument/2006/relationships/image" Target="../media/image31.jpe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emf"/><Relationship Id="rId25" Type="http://schemas.openxmlformats.org/officeDocument/2006/relationships/image" Target="../media/image27.png"/><Relationship Id="rId33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8.gif"/><Relationship Id="rId20" Type="http://schemas.openxmlformats.org/officeDocument/2006/relationships/image" Target="../media/image22.png"/><Relationship Id="rId29" Type="http://schemas.openxmlformats.org/officeDocument/2006/relationships/hyperlink" Target="mailto:afridman@peakstone.com" TargetMode="External"/><Relationship Id="rId1" Type="http://schemas.openxmlformats.org/officeDocument/2006/relationships/customXml" Target="../../customXml/item1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24" Type="http://schemas.openxmlformats.org/officeDocument/2006/relationships/image" Target="../media/image26.jpeg"/><Relationship Id="rId32" Type="http://schemas.openxmlformats.org/officeDocument/2006/relationships/hyperlink" Target="mailto:nrobles@peakstone.com" TargetMode="External"/><Relationship Id="rId37" Type="http://schemas.openxmlformats.org/officeDocument/2006/relationships/image" Target="../media/image34.jpeg"/><Relationship Id="rId5" Type="http://schemas.openxmlformats.org/officeDocument/2006/relationships/image" Target="../media/image7.jpeg"/><Relationship Id="rId15" Type="http://schemas.openxmlformats.org/officeDocument/2006/relationships/image" Target="../media/image17.jpeg"/><Relationship Id="rId23" Type="http://schemas.openxmlformats.org/officeDocument/2006/relationships/image" Target="../media/image25.png"/><Relationship Id="rId28" Type="http://schemas.openxmlformats.org/officeDocument/2006/relationships/hyperlink" Target="mailto:mdobin@peakstone.com" TargetMode="External"/><Relationship Id="rId36" Type="http://schemas.openxmlformats.org/officeDocument/2006/relationships/image" Target="../media/image33.jpe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hyperlink" Target="mailto:jtemple@peakstone.com" TargetMode="External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hyperlink" Target="mailto:ssleigh@peakstone.com" TargetMode="External"/><Relationship Id="rId35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8.xml"/><Relationship Id="rId5" Type="http://schemas.openxmlformats.org/officeDocument/2006/relationships/chart" Target="../charts/chart1.xml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4.xml"/><Relationship Id="rId2" Type="http://schemas.openxmlformats.org/officeDocument/2006/relationships/tags" Target="../tags/tag3.xml"/><Relationship Id="rId1" Type="http://schemas.openxmlformats.org/officeDocument/2006/relationships/customXml" Target="../../customXml/item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8353180-DA97-71E5-CDC1-0290D8A283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00" r="25400"/>
          <a:stretch/>
        </p:blipFill>
        <p:spPr>
          <a:xfrm flipH="1">
            <a:off x="685800" y="685800"/>
            <a:ext cx="6391274" cy="868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692631" y="2534878"/>
            <a:ext cx="5761461" cy="6523506"/>
          </a:xfrm>
          <a:custGeom>
            <a:avLst/>
            <a:gdLst>
              <a:gd name="connsiteX0" fmla="*/ 0 w 5486400"/>
              <a:gd name="connsiteY0" fmla="*/ 0 h 7262949"/>
              <a:gd name="connsiteX1" fmla="*/ 3344092 w 5486400"/>
              <a:gd name="connsiteY1" fmla="*/ 0 h 7262949"/>
              <a:gd name="connsiteX2" fmla="*/ 5486400 w 5486400"/>
              <a:gd name="connsiteY2" fmla="*/ 7262949 h 7262949"/>
              <a:gd name="connsiteX3" fmla="*/ 0 w 5486400"/>
              <a:gd name="connsiteY3" fmla="*/ 7262949 h 7262949"/>
              <a:gd name="connsiteX4" fmla="*/ 0 w 5486400"/>
              <a:gd name="connsiteY4" fmla="*/ 0 h 7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6400" h="7262949">
                <a:moveTo>
                  <a:pt x="0" y="0"/>
                </a:moveTo>
                <a:lnTo>
                  <a:pt x="3344092" y="0"/>
                </a:lnTo>
                <a:lnTo>
                  <a:pt x="5486400" y="7262949"/>
                </a:lnTo>
                <a:lnTo>
                  <a:pt x="0" y="7262949"/>
                </a:lnTo>
                <a:lnTo>
                  <a:pt x="0" y="0"/>
                </a:lnTo>
                <a:close/>
              </a:path>
            </a:pathLst>
          </a:custGeom>
          <a:solidFill>
            <a:srgbClr val="145078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 28"/>
          <p:cNvSpPr/>
          <p:nvPr/>
        </p:nvSpPr>
        <p:spPr>
          <a:xfrm>
            <a:off x="4327315" y="578298"/>
            <a:ext cx="2889925" cy="1109725"/>
          </a:xfrm>
          <a:custGeom>
            <a:avLst/>
            <a:gdLst>
              <a:gd name="connsiteX0" fmla="*/ 4232366 w 4232366"/>
              <a:gd name="connsiteY0" fmla="*/ 0 h 1293223"/>
              <a:gd name="connsiteX1" fmla="*/ 640080 w 4232366"/>
              <a:gd name="connsiteY1" fmla="*/ 0 h 1293223"/>
              <a:gd name="connsiteX2" fmla="*/ 0 w 4232366"/>
              <a:gd name="connsiteY2" fmla="*/ 1293223 h 1293223"/>
              <a:gd name="connsiteX3" fmla="*/ 4232366 w 4232366"/>
              <a:gd name="connsiteY3" fmla="*/ 1293223 h 1293223"/>
              <a:gd name="connsiteX4" fmla="*/ 4232366 w 4232366"/>
              <a:gd name="connsiteY4" fmla="*/ 0 h 1293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2366" h="1293223">
                <a:moveTo>
                  <a:pt x="4232366" y="0"/>
                </a:moveTo>
                <a:lnTo>
                  <a:pt x="640080" y="0"/>
                </a:lnTo>
                <a:lnTo>
                  <a:pt x="0" y="1293223"/>
                </a:lnTo>
                <a:lnTo>
                  <a:pt x="4232366" y="1293223"/>
                </a:lnTo>
                <a:lnTo>
                  <a:pt x="42323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BC820F3F-F06F-4B13-A1F6-F42881CB0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888" y="1161420"/>
            <a:ext cx="1969105" cy="333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696363" y="5523180"/>
            <a:ext cx="57615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1"/>
                </a:solidFill>
              </a:rPr>
              <a:t>Packaging Industry </a:t>
            </a:r>
          </a:p>
          <a:p>
            <a:r>
              <a:rPr lang="en-US" sz="3200" b="1">
                <a:solidFill>
                  <a:schemeClr val="bg1"/>
                </a:solidFill>
              </a:rPr>
              <a:t>M&amp;A and Valuation Insights</a:t>
            </a:r>
          </a:p>
        </p:txBody>
      </p:sp>
      <p:sp>
        <p:nvSpPr>
          <p:cNvPr id="36" name="Parallelogram 35"/>
          <p:cNvSpPr/>
          <p:nvPr/>
        </p:nvSpPr>
        <p:spPr>
          <a:xfrm>
            <a:off x="4098321" y="867858"/>
            <a:ext cx="918399" cy="820165"/>
          </a:xfrm>
          <a:prstGeom prst="parallelogram">
            <a:avLst>
              <a:gd name="adj" fmla="val 48965"/>
            </a:avLst>
          </a:prstGeom>
          <a:gradFill flip="none" rotWithShape="1">
            <a:gsLst>
              <a:gs pos="0">
                <a:srgbClr val="145078">
                  <a:shade val="30000"/>
                  <a:satMod val="115000"/>
                </a:srgbClr>
              </a:gs>
              <a:gs pos="50000">
                <a:srgbClr val="145078">
                  <a:shade val="67500"/>
                  <a:satMod val="115000"/>
                </a:srgbClr>
              </a:gs>
              <a:gs pos="100000">
                <a:srgbClr val="145078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96489" y="7718352"/>
            <a:ext cx="18889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April 202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6489" y="8619148"/>
            <a:ext cx="3171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www.peakstone.com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1161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Overview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83BBF8-ADA3-46C8-B3D1-60B4B10F2EDE}"/>
              </a:ext>
            </a:extLst>
          </p:cNvPr>
          <p:cNvGrpSpPr/>
          <p:nvPr/>
        </p:nvGrpSpPr>
        <p:grpSpPr>
          <a:xfrm>
            <a:off x="691551" y="2163435"/>
            <a:ext cx="6395050" cy="1112924"/>
            <a:chOff x="444499" y="1551305"/>
            <a:chExt cx="6874883" cy="126174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D59B012-90A8-4A00-8566-C16018F6D634}"/>
                </a:ext>
              </a:extLst>
            </p:cNvPr>
            <p:cNvSpPr/>
            <p:nvPr/>
          </p:nvSpPr>
          <p:spPr>
            <a:xfrm>
              <a:off x="444500" y="1578243"/>
              <a:ext cx="6874881" cy="1234807"/>
            </a:xfrm>
            <a:prstGeom prst="rect">
              <a:avLst/>
            </a:prstGeom>
            <a:solidFill>
              <a:srgbClr val="145078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2949AB-A91F-41F1-BDE6-0BF835461B40}"/>
                </a:ext>
              </a:extLst>
            </p:cNvPr>
            <p:cNvCxnSpPr>
              <a:cxnSpLocks/>
              <a:stCxn id="20" idx="1"/>
              <a:endCxn id="20" idx="3"/>
            </p:cNvCxnSpPr>
            <p:nvPr/>
          </p:nvCxnSpPr>
          <p:spPr>
            <a:xfrm>
              <a:off x="444500" y="2195647"/>
              <a:ext cx="6874881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B098F0B-77D1-4C85-95FD-52DAC5027AE0}"/>
                </a:ext>
              </a:extLst>
            </p:cNvPr>
            <p:cNvCxnSpPr>
              <a:cxnSpLocks/>
            </p:cNvCxnSpPr>
            <p:nvPr/>
          </p:nvCxnSpPr>
          <p:spPr>
            <a:xfrm>
              <a:off x="2163572" y="1645676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99C2523-5C79-4E6C-98B4-DA21A16321A6}"/>
                </a:ext>
              </a:extLst>
            </p:cNvPr>
            <p:cNvCxnSpPr>
              <a:cxnSpLocks/>
            </p:cNvCxnSpPr>
            <p:nvPr/>
          </p:nvCxnSpPr>
          <p:spPr>
            <a:xfrm>
              <a:off x="2322068" y="2195647"/>
              <a:ext cx="1399032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6E998E7-66FE-46BD-9519-94EFAFC845F6}"/>
                </a:ext>
              </a:extLst>
            </p:cNvPr>
            <p:cNvCxnSpPr>
              <a:cxnSpLocks/>
            </p:cNvCxnSpPr>
            <p:nvPr/>
          </p:nvCxnSpPr>
          <p:spPr>
            <a:xfrm>
              <a:off x="4025900" y="2195647"/>
              <a:ext cx="1399032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F0DAB5A-5A65-4DD2-8F3E-A00B6EE9D7AB}"/>
                </a:ext>
              </a:extLst>
            </p:cNvPr>
            <p:cNvCxnSpPr>
              <a:cxnSpLocks/>
            </p:cNvCxnSpPr>
            <p:nvPr/>
          </p:nvCxnSpPr>
          <p:spPr>
            <a:xfrm>
              <a:off x="5748020" y="2195647"/>
              <a:ext cx="155448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80D6024-153D-4C46-8CAB-F2CD280E393E}"/>
                </a:ext>
              </a:extLst>
            </p:cNvPr>
            <p:cNvCxnSpPr>
              <a:cxnSpLocks/>
            </p:cNvCxnSpPr>
            <p:nvPr/>
          </p:nvCxnSpPr>
          <p:spPr>
            <a:xfrm>
              <a:off x="2163572" y="2282331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7018302-9618-4FDB-950F-3B2490BE7BDE}"/>
                </a:ext>
              </a:extLst>
            </p:cNvPr>
            <p:cNvCxnSpPr>
              <a:cxnSpLocks/>
            </p:cNvCxnSpPr>
            <p:nvPr/>
          </p:nvCxnSpPr>
          <p:spPr>
            <a:xfrm>
              <a:off x="3873500" y="1654443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B436019-46D1-4356-91C5-B5302AB4DF5C}"/>
                </a:ext>
              </a:extLst>
            </p:cNvPr>
            <p:cNvCxnSpPr>
              <a:cxnSpLocks/>
            </p:cNvCxnSpPr>
            <p:nvPr/>
          </p:nvCxnSpPr>
          <p:spPr>
            <a:xfrm>
              <a:off x="3873500" y="2291098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069CE78-3AFB-40A8-A7BF-5C9DDAE66C55}"/>
                </a:ext>
              </a:extLst>
            </p:cNvPr>
            <p:cNvCxnSpPr>
              <a:cxnSpLocks/>
            </p:cNvCxnSpPr>
            <p:nvPr/>
          </p:nvCxnSpPr>
          <p:spPr>
            <a:xfrm>
              <a:off x="5592572" y="1654443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AEDDEC4-B12F-493E-A331-BC381E06B76C}"/>
                </a:ext>
              </a:extLst>
            </p:cNvPr>
            <p:cNvCxnSpPr>
              <a:cxnSpLocks/>
            </p:cNvCxnSpPr>
            <p:nvPr/>
          </p:nvCxnSpPr>
          <p:spPr>
            <a:xfrm>
              <a:off x="5592572" y="2291098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0E6599E-47FF-4077-B934-410A80612AE5}"/>
                </a:ext>
              </a:extLst>
            </p:cNvPr>
            <p:cNvSpPr/>
            <p:nvPr/>
          </p:nvSpPr>
          <p:spPr>
            <a:xfrm>
              <a:off x="444499" y="1607492"/>
              <a:ext cx="171907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2008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Year Founded</a:t>
              </a:r>
              <a:endParaRPr lang="en-US" sz="1200" i="1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25AEBC0-873C-4FD3-A1EC-AFE9B20B7D99}"/>
                </a:ext>
              </a:extLst>
            </p:cNvPr>
            <p:cNvSpPr/>
            <p:nvPr/>
          </p:nvSpPr>
          <p:spPr>
            <a:xfrm>
              <a:off x="2163572" y="1604900"/>
              <a:ext cx="1709926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500+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Transactions by Peakstone MD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B82D84A-99F9-4DAD-8B47-23692225F21C}"/>
                </a:ext>
              </a:extLst>
            </p:cNvPr>
            <p:cNvSpPr/>
            <p:nvPr/>
          </p:nvSpPr>
          <p:spPr>
            <a:xfrm>
              <a:off x="3882641" y="1604900"/>
              <a:ext cx="1709927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$200+ Billion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Capital Raised by Peakstone MD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5C0690E-D1CF-422D-BD37-2D7273CA93E9}"/>
                </a:ext>
              </a:extLst>
            </p:cNvPr>
            <p:cNvSpPr/>
            <p:nvPr/>
          </p:nvSpPr>
          <p:spPr>
            <a:xfrm>
              <a:off x="5592568" y="1551305"/>
              <a:ext cx="170993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25+ Years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Average Years of Peakstone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MD Experience</a:t>
              </a:r>
            </a:p>
            <a:p>
              <a:pPr algn="ctr">
                <a:buSzPct val="100000"/>
              </a:pPr>
              <a:endParaRPr lang="en-US" sz="1200" i="1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AC47ACE-0DF3-4C0A-A839-5BB19D3AD0CD}"/>
                </a:ext>
              </a:extLst>
            </p:cNvPr>
            <p:cNvSpPr/>
            <p:nvPr/>
          </p:nvSpPr>
          <p:spPr>
            <a:xfrm>
              <a:off x="444499" y="2236023"/>
              <a:ext cx="171907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40+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Investment Banking Professionals</a:t>
              </a:r>
              <a:endParaRPr lang="en-US" sz="1200" i="1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6026EDF-885B-4E07-A582-3B4CE401CA91}"/>
                </a:ext>
              </a:extLst>
            </p:cNvPr>
            <p:cNvSpPr/>
            <p:nvPr/>
          </p:nvSpPr>
          <p:spPr>
            <a:xfrm>
              <a:off x="3873500" y="2251389"/>
              <a:ext cx="1719073" cy="4885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$10 - $500 Million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Client Revenue Profile</a:t>
              </a:r>
              <a:endParaRPr lang="en-US" sz="1200" i="1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BD5BC88-856E-4425-9ED2-55F3A3040039}"/>
                </a:ext>
              </a:extLst>
            </p:cNvPr>
            <p:cNvSpPr/>
            <p:nvPr/>
          </p:nvSpPr>
          <p:spPr>
            <a:xfrm>
              <a:off x="5609452" y="2250745"/>
              <a:ext cx="170993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30+ Countries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Global Reach</a:t>
              </a:r>
              <a:endParaRPr lang="en-US" sz="1200" i="1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CF84BC3-CA1B-43C5-A432-38F6CAE92552}"/>
                </a:ext>
              </a:extLst>
            </p:cNvPr>
            <p:cNvSpPr/>
            <p:nvPr/>
          </p:nvSpPr>
          <p:spPr>
            <a:xfrm>
              <a:off x="2146687" y="2230021"/>
              <a:ext cx="170993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18+</a:t>
              </a:r>
            </a:p>
            <a:p>
              <a:pPr algn="ctr">
                <a:buSzPct val="100000"/>
              </a:pPr>
              <a:r>
                <a:rPr lang="en-US" sz="800" i="1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Industries Covered</a:t>
              </a:r>
              <a:endParaRPr lang="en-US" sz="1200" i="1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3187" y="4953296"/>
            <a:ext cx="955416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254" name="Group 253"/>
          <p:cNvGrpSpPr>
            <a:grpSpLocks noChangeAspect="1"/>
          </p:cNvGrpSpPr>
          <p:nvPr/>
        </p:nvGrpSpPr>
        <p:grpSpPr>
          <a:xfrm>
            <a:off x="1848635" y="5791711"/>
            <a:ext cx="812717" cy="236224"/>
            <a:chOff x="554155" y="6376968"/>
            <a:chExt cx="1308890" cy="380442"/>
          </a:xfrm>
        </p:grpSpPr>
        <p:sp>
          <p:nvSpPr>
            <p:cNvPr id="255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256" name="Picture 255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sp>
        <p:nvSpPr>
          <p:cNvPr id="257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3634" y="4953296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58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8785" y="4953296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59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3936" y="4953296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60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670" y="3674485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261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9087" y="4953296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262" name="Group 261"/>
          <p:cNvGrpSpPr>
            <a:grpSpLocks noChangeAspect="1"/>
          </p:cNvGrpSpPr>
          <p:nvPr/>
        </p:nvGrpSpPr>
        <p:grpSpPr>
          <a:xfrm>
            <a:off x="2932496" y="5791711"/>
            <a:ext cx="812717" cy="236224"/>
            <a:chOff x="554155" y="6376968"/>
            <a:chExt cx="1308890" cy="380442"/>
          </a:xfrm>
        </p:grpSpPr>
        <p:sp>
          <p:nvSpPr>
            <p:cNvPr id="263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264" name="Picture 263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265" name="Group 264"/>
          <p:cNvGrpSpPr>
            <a:grpSpLocks noChangeAspect="1"/>
          </p:cNvGrpSpPr>
          <p:nvPr/>
        </p:nvGrpSpPr>
        <p:grpSpPr>
          <a:xfrm>
            <a:off x="4016357" y="5791711"/>
            <a:ext cx="812717" cy="236224"/>
            <a:chOff x="554155" y="6376968"/>
            <a:chExt cx="1308890" cy="380442"/>
          </a:xfrm>
        </p:grpSpPr>
        <p:sp>
          <p:nvSpPr>
            <p:cNvPr id="266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267" name="Picture 266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268" name="Group 267"/>
          <p:cNvGrpSpPr>
            <a:grpSpLocks noChangeAspect="1"/>
          </p:cNvGrpSpPr>
          <p:nvPr/>
        </p:nvGrpSpPr>
        <p:grpSpPr>
          <a:xfrm>
            <a:off x="5100218" y="5791711"/>
            <a:ext cx="812717" cy="236224"/>
            <a:chOff x="554155" y="6376968"/>
            <a:chExt cx="1308890" cy="380442"/>
          </a:xfrm>
        </p:grpSpPr>
        <p:sp>
          <p:nvSpPr>
            <p:cNvPr id="269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Financial Advisor</a:t>
              </a:r>
            </a:p>
          </p:txBody>
        </p:sp>
        <p:pic>
          <p:nvPicPr>
            <p:cNvPr id="270" name="Picture 269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271" name="Group 270"/>
          <p:cNvGrpSpPr>
            <a:grpSpLocks noChangeAspect="1"/>
          </p:cNvGrpSpPr>
          <p:nvPr/>
        </p:nvGrpSpPr>
        <p:grpSpPr>
          <a:xfrm>
            <a:off x="6184079" y="5791711"/>
            <a:ext cx="812717" cy="236224"/>
            <a:chOff x="554155" y="6376968"/>
            <a:chExt cx="1308890" cy="380442"/>
          </a:xfrm>
        </p:grpSpPr>
        <p:sp>
          <p:nvSpPr>
            <p:cNvPr id="272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273" name="Picture 27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274" name="Group 273"/>
          <p:cNvGrpSpPr>
            <a:grpSpLocks noChangeAspect="1"/>
          </p:cNvGrpSpPr>
          <p:nvPr/>
        </p:nvGrpSpPr>
        <p:grpSpPr>
          <a:xfrm>
            <a:off x="754007" y="4512900"/>
            <a:ext cx="812717" cy="236224"/>
            <a:chOff x="554155" y="6376968"/>
            <a:chExt cx="1308890" cy="380442"/>
          </a:xfrm>
        </p:grpSpPr>
        <p:sp>
          <p:nvSpPr>
            <p:cNvPr id="275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276" name="Picture 275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2940330" y="5061638"/>
            <a:ext cx="769503" cy="601300"/>
            <a:chOff x="785963" y="5007424"/>
            <a:chExt cx="769503" cy="601300"/>
          </a:xfrm>
        </p:grpSpPr>
        <p:pic>
          <p:nvPicPr>
            <p:cNvPr id="1042" name="Picture 18" descr="Huber Group acquires Alden &amp;amp; Ott – Translink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666" b="24666"/>
            <a:stretch/>
          </p:blipFill>
          <p:spPr bwMode="auto">
            <a:xfrm>
              <a:off x="785963" y="5007424"/>
              <a:ext cx="769503" cy="214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4" name="Picture 20" descr="huber group Logo Vector - (.SVG + .PNG) - GetLogoVector.Com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512" y="5308499"/>
              <a:ext cx="540405" cy="300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5070305" y="5054908"/>
            <a:ext cx="863525" cy="615610"/>
            <a:chOff x="1821751" y="5014855"/>
            <a:chExt cx="863525" cy="615610"/>
          </a:xfrm>
        </p:grpSpPr>
        <p:pic>
          <p:nvPicPr>
            <p:cNvPr id="1046" name="Picture 22" descr="Pure Pulp Products Company Profile: Acquisition &amp;amp; Investors | PitchBook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997" b="19083"/>
            <a:stretch/>
          </p:blipFill>
          <p:spPr bwMode="auto">
            <a:xfrm>
              <a:off x="2065178" y="5014855"/>
              <a:ext cx="376670" cy="229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8" name="Picture 24" descr="A Plastic Planet - Wood Pulp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10" t="12852" r="2790" b="14463"/>
            <a:stretch/>
          </p:blipFill>
          <p:spPr bwMode="auto">
            <a:xfrm>
              <a:off x="1821751" y="5353756"/>
              <a:ext cx="863525" cy="2767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6166974" y="3782315"/>
            <a:ext cx="866285" cy="630552"/>
            <a:chOff x="2905522" y="5014353"/>
            <a:chExt cx="866285" cy="630552"/>
          </a:xfrm>
        </p:grpSpPr>
        <p:pic>
          <p:nvPicPr>
            <p:cNvPr id="1050" name="Picture 26" descr="FP International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99943" y="5014353"/>
              <a:ext cx="277443" cy="224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2" name="Picture 28" descr="Products Worth Protecting Deserve Pregis | Home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5267" y="5296825"/>
              <a:ext cx="606794" cy="1688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4" name="Picture 30" descr="Olympus Partners | LinkedIn"/>
            <p:cNvPicPr>
              <a:picLocks noChangeAspect="1" noChangeArrowheads="1"/>
            </p:cNvPicPr>
            <p:nvPr/>
          </p:nvPicPr>
          <p:blipFill rotWithShape="1">
            <a:blip r:embed="rId11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32" t="37358" r="5479" b="35106"/>
            <a:stretch/>
          </p:blipFill>
          <p:spPr bwMode="auto">
            <a:xfrm>
              <a:off x="2905522" y="5547279"/>
              <a:ext cx="866285" cy="97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3187" y="3676700"/>
            <a:ext cx="955416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49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3634" y="3676700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50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8785" y="3676700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51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3936" y="3676700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52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695" y="4955446"/>
            <a:ext cx="947144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53" name="Rectangle 17">
            <a:extLst>
              <a:ext uri="{FF2B5EF4-FFF2-40B4-BE49-F238E27FC236}">
                <a16:creationId xmlns:a16="http://schemas.microsoft.com/office/drawing/2014/main" id="{61015DCC-9A8C-41B6-8747-6CE49A4F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9087" y="3676700"/>
            <a:ext cx="960120" cy="1148727"/>
          </a:xfrm>
          <a:prstGeom prst="rect">
            <a:avLst/>
          </a:prstGeom>
          <a:noFill/>
          <a:ln w="3175" cmpd="thinThick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83" name="Group 182"/>
          <p:cNvGrpSpPr>
            <a:grpSpLocks noChangeAspect="1"/>
          </p:cNvGrpSpPr>
          <p:nvPr/>
        </p:nvGrpSpPr>
        <p:grpSpPr>
          <a:xfrm>
            <a:off x="1844537" y="4515115"/>
            <a:ext cx="812717" cy="236224"/>
            <a:chOff x="554155" y="6376968"/>
            <a:chExt cx="1308890" cy="380442"/>
          </a:xfrm>
        </p:grpSpPr>
        <p:sp>
          <p:nvSpPr>
            <p:cNvPr id="184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Financial Advisor</a:t>
              </a:r>
            </a:p>
          </p:txBody>
        </p:sp>
        <p:pic>
          <p:nvPicPr>
            <p:cNvPr id="185" name="Picture 184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2889465" y="3768193"/>
            <a:ext cx="908181" cy="628980"/>
            <a:chOff x="720722" y="3768193"/>
            <a:chExt cx="908181" cy="628980"/>
          </a:xfrm>
        </p:grpSpPr>
        <p:pic>
          <p:nvPicPr>
            <p:cNvPr id="1026" name="Picture 2" descr="Novolex - Crunchbase Company Profile &amp;amp; Fundi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076" y="3948953"/>
              <a:ext cx="527472" cy="230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20722" y="3768193"/>
              <a:ext cx="908181" cy="114143"/>
            </a:xfrm>
            <a:prstGeom prst="rect">
              <a:avLst/>
            </a:prstGeom>
          </p:spPr>
        </p:pic>
        <p:pic>
          <p:nvPicPr>
            <p:cNvPr id="1028" name="Picture 4" descr="File:The Carlyle Group logo.svg - Wikimedia Commons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829"/>
            <a:stretch/>
          </p:blipFill>
          <p:spPr bwMode="auto">
            <a:xfrm>
              <a:off x="738885" y="4258681"/>
              <a:ext cx="871854" cy="1384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4027879" y="5058856"/>
            <a:ext cx="809902" cy="677791"/>
            <a:chOff x="2935215" y="3731401"/>
            <a:chExt cx="809902" cy="677791"/>
          </a:xfrm>
        </p:grpSpPr>
        <p:pic>
          <p:nvPicPr>
            <p:cNvPr id="237" name="Picture 2" descr="Novolex - Crunchbase Company Profile &amp;amp; Fundi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0057" y="3979078"/>
              <a:ext cx="580219" cy="253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Charles Shor, CEO of the World&amp;#39;s Largest Paper Bag Manufacturer, Bags a New  President for the New Year"/>
            <p:cNvPicPr>
              <a:picLocks noChangeAspect="1" noChangeArrowheads="1"/>
            </p:cNvPicPr>
            <p:nvPr/>
          </p:nvPicPr>
          <p:blipFill rotWithShape="1">
            <a:blip r:embed="rId15" cstate="print">
              <a:clrChange>
                <a:clrFrom>
                  <a:srgbClr val="98CEFD"/>
                </a:clrFrom>
                <a:clrTo>
                  <a:srgbClr val="98CE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776" t="34723" r="10561" b="35316"/>
            <a:stretch/>
          </p:blipFill>
          <p:spPr bwMode="auto">
            <a:xfrm>
              <a:off x="3029856" y="3731401"/>
              <a:ext cx="620620" cy="222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Wind Point Partners - Crunchbase Investor Profile &amp;amp; Investments"/>
            <p:cNvPicPr>
              <a:picLocks noChangeAspect="1" noChangeArrowheads="1"/>
            </p:cNvPicPr>
            <p:nvPr/>
          </p:nvPicPr>
          <p:blipFill rotWithShape="1"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193" b="38411"/>
            <a:stretch/>
          </p:blipFill>
          <p:spPr bwMode="auto">
            <a:xfrm>
              <a:off x="2935215" y="4227807"/>
              <a:ext cx="809902" cy="181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oup 9"/>
          <p:cNvGrpSpPr/>
          <p:nvPr/>
        </p:nvGrpSpPr>
        <p:grpSpPr>
          <a:xfrm>
            <a:off x="1896694" y="5073429"/>
            <a:ext cx="716288" cy="621860"/>
            <a:chOff x="5150822" y="3756670"/>
            <a:chExt cx="716288" cy="621860"/>
          </a:xfrm>
        </p:grpSpPr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51087BD8-DFBC-4525-B158-65B88C994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150822" y="3756670"/>
              <a:ext cx="716288" cy="227580"/>
            </a:xfrm>
            <a:prstGeom prst="rect">
              <a:avLst/>
            </a:prstGeom>
          </p:spPr>
        </p:pic>
        <p:pic>
          <p:nvPicPr>
            <p:cNvPr id="132" name="Picture 1" descr="http://www.olympuspartners.com/sites/default/files/styles/large/public/FFR%20Merchandising%20Logo%20%282014%29.jpg?itok=CZt74ndx">
              <a:extLst>
                <a:ext uri="{FF2B5EF4-FFF2-40B4-BE49-F238E27FC236}">
                  <a16:creationId xmlns:a16="http://schemas.microsoft.com/office/drawing/2014/main" id="{82AB8F70-6ED8-4E59-B653-225C8D5CBBA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78" r="6713" b="18262"/>
            <a:stretch/>
          </p:blipFill>
          <p:spPr bwMode="auto">
            <a:xfrm>
              <a:off x="5339275" y="4041481"/>
              <a:ext cx="339382" cy="337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747986" y="5038685"/>
            <a:ext cx="849431" cy="682976"/>
            <a:chOff x="6183915" y="3727925"/>
            <a:chExt cx="849431" cy="682976"/>
          </a:xfrm>
        </p:grpSpPr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8E434CC4-9E53-4162-89CC-F360C165C1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3439" t="27803" r="2407" b="33448"/>
            <a:stretch/>
          </p:blipFill>
          <p:spPr>
            <a:xfrm>
              <a:off x="6183915" y="3727925"/>
              <a:ext cx="849431" cy="194438"/>
            </a:xfrm>
            <a:prstGeom prst="rect">
              <a:avLst/>
            </a:prstGeom>
          </p:spPr>
        </p:pic>
        <p:pic>
          <p:nvPicPr>
            <p:cNvPr id="147" name="Picture 146">
              <a:extLst>
                <a:ext uri="{FF2B5EF4-FFF2-40B4-BE49-F238E27FC236}">
                  <a16:creationId xmlns:a16="http://schemas.microsoft.com/office/drawing/2014/main" id="{CAD2E2A6-6E65-457D-A149-B69A2F29CD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9" t="27512" r="9136" b="26434"/>
            <a:stretch/>
          </p:blipFill>
          <p:spPr>
            <a:xfrm>
              <a:off x="6297597" y="4282010"/>
              <a:ext cx="622067" cy="128891"/>
            </a:xfrm>
            <a:prstGeom prst="rect">
              <a:avLst/>
            </a:prstGeom>
          </p:spPr>
        </p:pic>
        <p:pic>
          <p:nvPicPr>
            <p:cNvPr id="148" name="Picture 2" descr="Image result for hickory farms logo">
              <a:extLst>
                <a:ext uri="{FF2B5EF4-FFF2-40B4-BE49-F238E27FC236}">
                  <a16:creationId xmlns:a16="http://schemas.microsoft.com/office/drawing/2014/main" id="{068C3C71-A1E1-403D-9E4A-06F41B19BB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785"/>
            <a:stretch/>
          </p:blipFill>
          <p:spPr bwMode="auto">
            <a:xfrm>
              <a:off x="6238708" y="3984558"/>
              <a:ext cx="739845" cy="2121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4" name="Group 153"/>
          <p:cNvGrpSpPr>
            <a:grpSpLocks noChangeAspect="1"/>
          </p:cNvGrpSpPr>
          <p:nvPr/>
        </p:nvGrpSpPr>
        <p:grpSpPr>
          <a:xfrm>
            <a:off x="2932496" y="4515115"/>
            <a:ext cx="812717" cy="236224"/>
            <a:chOff x="554155" y="6376968"/>
            <a:chExt cx="1308890" cy="380442"/>
          </a:xfrm>
        </p:grpSpPr>
        <p:sp>
          <p:nvSpPr>
            <p:cNvPr id="155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161" name="Picture 160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162" name="Group 161"/>
          <p:cNvGrpSpPr>
            <a:grpSpLocks noChangeAspect="1"/>
          </p:cNvGrpSpPr>
          <p:nvPr/>
        </p:nvGrpSpPr>
        <p:grpSpPr>
          <a:xfrm>
            <a:off x="4016357" y="4515115"/>
            <a:ext cx="812717" cy="236224"/>
            <a:chOff x="554155" y="6376968"/>
            <a:chExt cx="1308890" cy="380442"/>
          </a:xfrm>
        </p:grpSpPr>
        <p:sp>
          <p:nvSpPr>
            <p:cNvPr id="163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165" name="Group 164"/>
          <p:cNvGrpSpPr>
            <a:grpSpLocks noChangeAspect="1"/>
          </p:cNvGrpSpPr>
          <p:nvPr/>
        </p:nvGrpSpPr>
        <p:grpSpPr>
          <a:xfrm>
            <a:off x="5100218" y="4515115"/>
            <a:ext cx="812717" cy="236224"/>
            <a:chOff x="554155" y="6376968"/>
            <a:chExt cx="1308890" cy="380442"/>
          </a:xfrm>
        </p:grpSpPr>
        <p:sp>
          <p:nvSpPr>
            <p:cNvPr id="166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167" name="Picture 166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168" name="Group 167"/>
          <p:cNvGrpSpPr>
            <a:grpSpLocks noChangeAspect="1"/>
          </p:cNvGrpSpPr>
          <p:nvPr/>
        </p:nvGrpSpPr>
        <p:grpSpPr>
          <a:xfrm>
            <a:off x="6184079" y="4515115"/>
            <a:ext cx="812717" cy="236224"/>
            <a:chOff x="554155" y="6376968"/>
            <a:chExt cx="1308890" cy="380442"/>
          </a:xfrm>
        </p:grpSpPr>
        <p:sp>
          <p:nvSpPr>
            <p:cNvPr id="169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155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170" name="Picture 169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7599" y="6592849"/>
              <a:ext cx="982001" cy="164561"/>
            </a:xfrm>
            <a:prstGeom prst="rect">
              <a:avLst/>
            </a:prstGeom>
          </p:spPr>
        </p:pic>
      </p:grpSp>
      <p:grpSp>
        <p:nvGrpSpPr>
          <p:cNvPr id="171" name="Group 170"/>
          <p:cNvGrpSpPr>
            <a:grpSpLocks noChangeAspect="1"/>
          </p:cNvGrpSpPr>
          <p:nvPr/>
        </p:nvGrpSpPr>
        <p:grpSpPr>
          <a:xfrm>
            <a:off x="769397" y="5793861"/>
            <a:ext cx="812717" cy="236224"/>
            <a:chOff x="577530" y="6376968"/>
            <a:chExt cx="1308890" cy="380442"/>
          </a:xfrm>
        </p:grpSpPr>
        <p:sp>
          <p:nvSpPr>
            <p:cNvPr id="172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7530" y="6376968"/>
              <a:ext cx="1308890" cy="16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M&amp;A Advisor</a:t>
              </a:r>
            </a:p>
          </p:txBody>
        </p:sp>
        <p:pic>
          <p:nvPicPr>
            <p:cNvPr id="173" name="Picture 17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40974" y="6592849"/>
              <a:ext cx="982001" cy="164561"/>
            </a:xfrm>
            <a:prstGeom prst="rect">
              <a:avLst/>
            </a:prstGeom>
          </p:spPr>
        </p:pic>
      </p:grpSp>
      <p:sp>
        <p:nvSpPr>
          <p:cNvPr id="18" name="AutoShape 2" descr="CALco - Crunchbase Company Profile &amp;amp; Fundi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6" name="Group 225"/>
          <p:cNvGrpSpPr/>
          <p:nvPr/>
        </p:nvGrpSpPr>
        <p:grpSpPr>
          <a:xfrm>
            <a:off x="5065258" y="3824852"/>
            <a:ext cx="879120" cy="528393"/>
            <a:chOff x="1813953" y="3793322"/>
            <a:chExt cx="879120" cy="528393"/>
          </a:xfrm>
        </p:grpSpPr>
        <p:pic>
          <p:nvPicPr>
            <p:cNvPr id="224" name="Picture 223"/>
            <p:cNvPicPr>
              <a:picLocks noChangeAspect="1"/>
            </p:cNvPicPr>
            <p:nvPr/>
          </p:nvPicPr>
          <p:blipFill rotWithShape="1">
            <a:blip r:embed="rId22"/>
            <a:srcRect l="3793" t="39241" r="5173" b="37035"/>
            <a:stretch/>
          </p:blipFill>
          <p:spPr>
            <a:xfrm>
              <a:off x="1824135" y="3793322"/>
              <a:ext cx="858756" cy="223797"/>
            </a:xfrm>
            <a:prstGeom prst="rect">
              <a:avLst/>
            </a:prstGeom>
          </p:spPr>
        </p:pic>
        <p:pic>
          <p:nvPicPr>
            <p:cNvPr id="225" name="Picture 4" descr="Strength Capital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13953" y="4174902"/>
              <a:ext cx="879120" cy="146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9" name="Picture 10" descr="Closed Deal Announcement – Peakstone Advises Kickapoo Valley Cheese on Sale  to Biery Cheese | Peakstone Group – M&amp;amp;A Advisory"/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5" t="8319" r="24457" b="9281"/>
          <a:stretch/>
        </p:blipFill>
        <p:spPr bwMode="auto">
          <a:xfrm>
            <a:off x="6271626" y="4976108"/>
            <a:ext cx="679564" cy="72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825597" y="3768735"/>
            <a:ext cx="850597" cy="626719"/>
            <a:chOff x="745416" y="3768735"/>
            <a:chExt cx="850597" cy="626719"/>
          </a:xfrm>
        </p:grpSpPr>
        <p:pic>
          <p:nvPicPr>
            <p:cNvPr id="1030" name="Picture 6" descr="The Packaging Lab - Custom Packaging Made SimpleThe Influence Packaging Has  on Brand Recognition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416" y="3768735"/>
              <a:ext cx="850597" cy="2667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9" name="Text Box 222">
              <a:extLst>
                <a:ext uri="{FF2B5EF4-FFF2-40B4-BE49-F238E27FC236}">
                  <a16:creationId xmlns:a16="http://schemas.microsoft.com/office/drawing/2014/main" id="{8E886C90-20CD-4B2F-9B26-7157D09675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4356" y="4190270"/>
              <a:ext cx="812717" cy="205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ct val="50000"/>
                </a:spcBef>
              </a:pPr>
              <a:r>
                <a:rPr lang="en-US" altLang="en-US" sz="800" b="1">
                  <a:solidFill>
                    <a:prstClr val="black"/>
                  </a:solidFill>
                  <a:latin typeface="Calibri" pitchFamily="34" charset="0"/>
                </a:rPr>
                <a:t>International Strategic</a:t>
              </a:r>
            </a:p>
          </p:txBody>
        </p:sp>
      </p:grpSp>
      <p:sp>
        <p:nvSpPr>
          <p:cNvPr id="189" name="Slide Number Placeholder 8">
            <a:extLst>
              <a:ext uri="{FF2B5EF4-FFF2-40B4-BE49-F238E27FC236}">
                <a16:creationId xmlns:a16="http://schemas.microsoft.com/office/drawing/2014/main" id="{39631362-222F-4329-A500-06DFFD160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28285" y="9136380"/>
            <a:ext cx="1748790" cy="236220"/>
          </a:xfrm>
        </p:spPr>
        <p:txBody>
          <a:bodyPr/>
          <a:lstStyle/>
          <a:p>
            <a:r>
              <a:rPr lang="en-US"/>
              <a:t>Page </a:t>
            </a:r>
            <a:fld id="{E75163A2-26E5-4FA8-819E-F809925EDC09}" type="slidenum">
              <a:rPr lang="en-US" smtClean="0"/>
              <a:t>2</a:t>
            </a:fld>
            <a:endParaRPr lang="en-US"/>
          </a:p>
        </p:txBody>
      </p:sp>
      <p:pic>
        <p:nvPicPr>
          <p:cNvPr id="5" name="Picture 4" descr="Peakstone Advises Mesmerize on its Sale of BriteVision to Vidya Brands Group  | Peakstone Group – M&amp;A Advisory">
            <a:extLst>
              <a:ext uri="{FF2B5EF4-FFF2-40B4-BE49-F238E27FC236}">
                <a16:creationId xmlns:a16="http://schemas.microsoft.com/office/drawing/2014/main" id="{E7F65007-0593-014E-278D-2A9DE0755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939" y="3754513"/>
            <a:ext cx="769503" cy="600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DB18C1F4-242C-7B20-E74A-9E58D8675763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1921" y="3771192"/>
            <a:ext cx="780703" cy="307777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C01BA826-3A0F-0E6D-1248-CF43025F4743}"/>
              </a:ext>
            </a:extLst>
          </p:cNvPr>
          <p:cNvSpPr txBox="1"/>
          <p:nvPr/>
        </p:nvSpPr>
        <p:spPr>
          <a:xfrm>
            <a:off x="409807" y="4132155"/>
            <a:ext cx="15794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err="1"/>
              <a:t>Drost</a:t>
            </a:r>
            <a:r>
              <a:rPr lang="en-US" sz="800"/>
              <a:t> Investment</a:t>
            </a:r>
          </a:p>
          <a:p>
            <a:pPr algn="ctr"/>
            <a:r>
              <a:rPr lang="en-US" sz="800"/>
              <a:t> Group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E8F2423-A88F-3491-9D5F-B6E119735E8B}"/>
              </a:ext>
            </a:extLst>
          </p:cNvPr>
          <p:cNvGrpSpPr/>
          <p:nvPr/>
        </p:nvGrpSpPr>
        <p:grpSpPr>
          <a:xfrm>
            <a:off x="692834" y="3328556"/>
            <a:ext cx="6393767" cy="307777"/>
            <a:chOff x="692834" y="3328556"/>
            <a:chExt cx="6393767" cy="30777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4ED15F4-66FD-0415-D48F-F14800F9B265}"/>
                </a:ext>
              </a:extLst>
            </p:cNvPr>
            <p:cNvSpPr txBox="1"/>
            <p:nvPr/>
          </p:nvSpPr>
          <p:spPr>
            <a:xfrm>
              <a:off x="897041" y="3328556"/>
              <a:ext cx="6189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145078"/>
                  </a:solidFill>
                </a:rPr>
                <a:t>Selected Transactions</a:t>
              </a:r>
              <a:endParaRPr lang="en-US" sz="1400">
                <a:solidFill>
                  <a:srgbClr val="145078"/>
                </a:solidFill>
              </a:endParaRPr>
            </a:p>
          </p:txBody>
        </p:sp>
        <p:sp>
          <p:nvSpPr>
            <p:cNvPr id="39" name="Rectangle 13">
              <a:extLst>
                <a:ext uri="{FF2B5EF4-FFF2-40B4-BE49-F238E27FC236}">
                  <a16:creationId xmlns:a16="http://schemas.microsoft.com/office/drawing/2014/main" id="{7FDF2F81-D0B2-EC5D-4312-932DE0741BCA}"/>
                </a:ext>
              </a:extLst>
            </p:cNvPr>
            <p:cNvSpPr/>
            <p:nvPr/>
          </p:nvSpPr>
          <p:spPr>
            <a:xfrm>
              <a:off x="692834" y="3391866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00B28527-DF00-097C-CA2B-9681AD8E21A0}"/>
                </a:ext>
              </a:extLst>
            </p:cNvPr>
            <p:cNvCxnSpPr>
              <a:cxnSpLocks/>
            </p:cNvCxnSpPr>
            <p:nvPr/>
          </p:nvCxnSpPr>
          <p:spPr>
            <a:xfrm>
              <a:off x="2786695" y="3483405"/>
              <a:ext cx="4297680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D3E134C-50D4-4F9E-F54B-75DA086218EF}"/>
              </a:ext>
            </a:extLst>
          </p:cNvPr>
          <p:cNvGrpSpPr/>
          <p:nvPr/>
        </p:nvGrpSpPr>
        <p:grpSpPr>
          <a:xfrm>
            <a:off x="692834" y="6161123"/>
            <a:ext cx="6386560" cy="307777"/>
            <a:chOff x="692834" y="6161123"/>
            <a:chExt cx="6386560" cy="307777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C7D7A9B-8F83-5FB6-36AB-B77AB0B3853C}"/>
                </a:ext>
              </a:extLst>
            </p:cNvPr>
            <p:cNvSpPr txBox="1"/>
            <p:nvPr/>
          </p:nvSpPr>
          <p:spPr>
            <a:xfrm>
              <a:off x="897040" y="6161123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145078"/>
                  </a:solidFill>
                </a:rPr>
                <a:t>Contact Information</a:t>
              </a: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B11EF962-84F9-1DA7-6FF7-48A62980FE56}"/>
                </a:ext>
              </a:extLst>
            </p:cNvPr>
            <p:cNvSpPr/>
            <p:nvPr/>
          </p:nvSpPr>
          <p:spPr>
            <a:xfrm>
              <a:off x="692834" y="622443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B4A7E41-990B-17E4-9E0F-32C60F3DCD70}"/>
                </a:ext>
              </a:extLst>
            </p:cNvPr>
            <p:cNvCxnSpPr>
              <a:cxnSpLocks/>
            </p:cNvCxnSpPr>
            <p:nvPr/>
          </p:nvCxnSpPr>
          <p:spPr>
            <a:xfrm>
              <a:off x="2781714" y="6315972"/>
              <a:ext cx="4297680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00E6A7EF-96A6-5D97-368B-FEF43C2AD2F2}"/>
              </a:ext>
            </a:extLst>
          </p:cNvPr>
          <p:cNvSpPr/>
          <p:nvPr/>
        </p:nvSpPr>
        <p:spPr>
          <a:xfrm>
            <a:off x="3941253" y="8873271"/>
            <a:ext cx="2047773" cy="475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>
                <a:solidFill>
                  <a:srgbClr val="145078"/>
                </a:solidFill>
              </a:rPr>
              <a:t>Michael Dobin – Analyst</a:t>
            </a:r>
            <a:endParaRPr lang="en-US" sz="900" b="1" u="sng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847) 609-9492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solidFill>
                  <a:srgbClr val="124A6F"/>
                </a:solidFill>
                <a:ea typeface="MS PGothic" pitchFamily="34" charset="-128"/>
                <a:cs typeface="Calibri" pitchFamily="34" charset="0"/>
                <a:hlinkClick r:id="rId28"/>
              </a:rPr>
              <a:t>mdobin@peakstone.com</a:t>
            </a:r>
            <a:r>
              <a:rPr lang="en-US" altLang="en-US" sz="900">
                <a:solidFill>
                  <a:srgbClr val="124A6F"/>
                </a:solidFill>
                <a:ea typeface="MS PGothic" pitchFamily="34" charset="-128"/>
                <a:cs typeface="Calibri" pitchFamily="34" charset="0"/>
              </a:rPr>
              <a:t>  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39EBCA7-A9CC-E796-1212-44ADAFEC5826}"/>
              </a:ext>
            </a:extLst>
          </p:cNvPr>
          <p:cNvSpPr/>
          <p:nvPr/>
        </p:nvSpPr>
        <p:spPr>
          <a:xfrm>
            <a:off x="698500" y="7402190"/>
            <a:ext cx="2047773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>
                <a:solidFill>
                  <a:srgbClr val="145078"/>
                </a:solidFill>
              </a:rPr>
              <a:t>Alex Fridman – Managing Partner</a:t>
            </a:r>
            <a:endParaRPr lang="en-US" sz="900" b="1" u="sng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03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ea typeface="MS PGothic" pitchFamily="34" charset="-128"/>
                <a:cs typeface="Calibri" pitchFamily="34" charset="0"/>
                <a:hlinkClick r:id="rId29"/>
              </a:rPr>
              <a:t>afridman@peakstone.com</a:t>
            </a:r>
            <a:endParaRPr lang="en-US" altLang="en-US" sz="90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ACE7DC6-2E54-902D-B2B7-8AFDC0FAC00A}"/>
              </a:ext>
            </a:extLst>
          </p:cNvPr>
          <p:cNvSpPr/>
          <p:nvPr/>
        </p:nvSpPr>
        <p:spPr>
          <a:xfrm>
            <a:off x="2746272" y="7402190"/>
            <a:ext cx="2273514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>
                <a:solidFill>
                  <a:srgbClr val="145078"/>
                </a:solidFill>
              </a:rPr>
              <a:t>Stephen Sleigh – Managing Partner</a:t>
            </a:r>
            <a:endParaRPr lang="en-US" sz="900" b="1" u="sng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sz="90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18</a:t>
            </a:r>
            <a:endParaRPr lang="en-US" altLang="en-US" sz="900">
              <a:solidFill>
                <a:srgbClr val="145078"/>
              </a:solidFill>
              <a:ea typeface="MS PGothic" pitchFamily="34" charset="-128"/>
              <a:cs typeface="Calibri" pitchFamily="34" charset="0"/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ea typeface="MS PGothic" pitchFamily="34" charset="-128"/>
                <a:cs typeface="Calibri" pitchFamily="34" charset="0"/>
                <a:hlinkClick r:id="rId30"/>
              </a:rPr>
              <a:t>ssleigh@peakstone.com</a:t>
            </a:r>
            <a:endParaRPr lang="en-US" altLang="en-US" sz="90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BDF57CA-4619-7EDC-E9AB-D2E2D18D7DE3}"/>
              </a:ext>
            </a:extLst>
          </p:cNvPr>
          <p:cNvSpPr/>
          <p:nvPr/>
        </p:nvSpPr>
        <p:spPr>
          <a:xfrm>
            <a:off x="5019785" y="7402190"/>
            <a:ext cx="2047773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>
                <a:solidFill>
                  <a:srgbClr val="145078"/>
                </a:solidFill>
              </a:rPr>
              <a:t>Jeff Temple – Managing Partner</a:t>
            </a:r>
            <a:endParaRPr lang="en-US" sz="900" b="1" u="sng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01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>
                <a:ea typeface="MS PGothic" pitchFamily="34" charset="-128"/>
                <a:cs typeface="Calibri" pitchFamily="34" charset="0"/>
                <a:hlinkClick r:id="rId31"/>
              </a:rPr>
              <a:t>jtemple@peakstone.com </a:t>
            </a:r>
            <a:endParaRPr lang="en-US" altLang="en-US" sz="90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22647F6-80CB-CBCD-68D8-88C6687645A3}"/>
              </a:ext>
            </a:extLst>
          </p:cNvPr>
          <p:cNvSpPr/>
          <p:nvPr/>
        </p:nvSpPr>
        <p:spPr>
          <a:xfrm>
            <a:off x="1870026" y="8873271"/>
            <a:ext cx="2047773" cy="475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>
                <a:solidFill>
                  <a:srgbClr val="145078"/>
                </a:solidFill>
              </a:rPr>
              <a:t>Noah Robles – Associate</a:t>
            </a:r>
            <a:endParaRPr lang="en-US" sz="900" b="1" u="sng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IN" sz="90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05) 494-2035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IN" sz="900" i="0">
                <a:solidFill>
                  <a:srgbClr val="333333"/>
                </a:solidFill>
                <a:effectLst/>
                <a:hlinkClick r:id="rId32"/>
              </a:rPr>
              <a:t>nrobles@peakstone.com</a:t>
            </a:r>
            <a:endParaRPr lang="en-US" altLang="en-US" sz="900">
              <a:solidFill>
                <a:srgbClr val="124A6F"/>
              </a:solidFill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58" name="Picture 2">
            <a:extLst>
              <a:ext uri="{FF2B5EF4-FFF2-40B4-BE49-F238E27FC236}">
                <a16:creationId xmlns:a16="http://schemas.microsoft.com/office/drawing/2014/main" id="{E88B0B8F-E1EB-0F8A-ABD0-F06A91C73E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68"/>
          <a:stretch/>
        </p:blipFill>
        <p:spPr bwMode="auto">
          <a:xfrm>
            <a:off x="1269758" y="6483513"/>
            <a:ext cx="905256" cy="905256"/>
          </a:xfrm>
          <a:prstGeom prst="flowChartConnector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>
            <a:extLst>
              <a:ext uri="{FF2B5EF4-FFF2-40B4-BE49-F238E27FC236}">
                <a16:creationId xmlns:a16="http://schemas.microsoft.com/office/drawing/2014/main" id="{A9BCCA47-02D8-3CD8-9A89-FA8A402972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71"/>
          <a:stretch/>
        </p:blipFill>
        <p:spPr bwMode="auto">
          <a:xfrm>
            <a:off x="3430401" y="6483513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>
            <a:extLst>
              <a:ext uri="{FF2B5EF4-FFF2-40B4-BE49-F238E27FC236}">
                <a16:creationId xmlns:a16="http://schemas.microsoft.com/office/drawing/2014/main" id="{B5225D37-ACA2-0BD3-409A-BAA296FF8DA8}"/>
              </a:ext>
            </a:extLst>
          </p:cNvPr>
          <p:cNvPicPr>
            <a:picLocks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24517"/>
          <a:stretch/>
        </p:blipFill>
        <p:spPr bwMode="auto">
          <a:xfrm>
            <a:off x="5591043" y="6483513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>
            <a:extLst>
              <a:ext uri="{FF2B5EF4-FFF2-40B4-BE49-F238E27FC236}">
                <a16:creationId xmlns:a16="http://schemas.microsoft.com/office/drawing/2014/main" id="{D77D4DDB-5807-7734-AC7B-0FAB5E2568A7}"/>
              </a:ext>
            </a:extLst>
          </p:cNvPr>
          <p:cNvPicPr>
            <a:picLocks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163"/>
          <a:stretch/>
        </p:blipFill>
        <p:spPr bwMode="auto">
          <a:xfrm>
            <a:off x="4512511" y="7967940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>
            <a:extLst>
              <a:ext uri="{FF2B5EF4-FFF2-40B4-BE49-F238E27FC236}">
                <a16:creationId xmlns:a16="http://schemas.microsoft.com/office/drawing/2014/main" id="{81DA899E-F385-9B69-64F6-F00CF4EECE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" t="-1" b="26854"/>
          <a:stretch/>
        </p:blipFill>
        <p:spPr bwMode="auto">
          <a:xfrm>
            <a:off x="2442454" y="7967940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551485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Rectangle 301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1294" y="2434711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8500" y="5875482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U.S. M&amp;A Activity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E75163A2-26E5-4FA8-819E-F809925EDC09}" type="slidenum">
              <a:rPr lang="en-US" smtClean="0"/>
              <a:t>3</a:t>
            </a:fld>
            <a:endParaRPr lang="en-US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A438B066-DC74-4B0D-8968-F83A498F5885}"/>
              </a:ext>
            </a:extLst>
          </p:cNvPr>
          <p:cNvSpPr txBox="1"/>
          <p:nvPr/>
        </p:nvSpPr>
        <p:spPr>
          <a:xfrm>
            <a:off x="642804" y="8988789"/>
            <a:ext cx="6002000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As of March 31, 2024</a:t>
            </a: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80E8B799-7D55-4623-A727-5291A28BC627}"/>
              </a:ext>
            </a:extLst>
          </p:cNvPr>
          <p:cNvSpPr/>
          <p:nvPr/>
        </p:nvSpPr>
        <p:spPr>
          <a:xfrm>
            <a:off x="966628" y="5892353"/>
            <a:ext cx="128240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900" i="1">
                <a:solidFill>
                  <a:srgbClr val="145078"/>
                </a:solidFill>
              </a:rPr>
              <a:t>(#)</a:t>
            </a:r>
          </a:p>
        </p:txBody>
      </p:sp>
      <p:grpSp>
        <p:nvGrpSpPr>
          <p:cNvPr id="312" name="Group 311"/>
          <p:cNvGrpSpPr/>
          <p:nvPr/>
        </p:nvGrpSpPr>
        <p:grpSpPr>
          <a:xfrm>
            <a:off x="788703" y="2484491"/>
            <a:ext cx="6194994" cy="2964216"/>
            <a:chOff x="788703" y="2484491"/>
            <a:chExt cx="6194994" cy="2964216"/>
          </a:xfrm>
        </p:grpSpPr>
        <p:sp>
          <p:nvSpPr>
            <p:cNvPr id="313" name="Freeform 32">
              <a:extLst>
                <a:ext uri="{FF2B5EF4-FFF2-40B4-BE49-F238E27FC236}">
                  <a16:creationId xmlns:a16="http://schemas.microsoft.com/office/drawing/2014/main" id="{9739C41B-2951-495F-AFF8-74E995906E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00749" y="2484491"/>
              <a:ext cx="783707" cy="800867"/>
            </a:xfrm>
            <a:custGeom>
              <a:avLst/>
              <a:gdLst>
                <a:gd name="T0" fmla="*/ 0 w 459"/>
                <a:gd name="T1" fmla="*/ 0 h 520"/>
                <a:gd name="T2" fmla="*/ 0 w 459"/>
                <a:gd name="T3" fmla="*/ 0 h 520"/>
                <a:gd name="T4" fmla="*/ 0 w 459"/>
                <a:gd name="T5" fmla="*/ 0 h 520"/>
                <a:gd name="T6" fmla="*/ 0 w 459"/>
                <a:gd name="T7" fmla="*/ 0 h 520"/>
                <a:gd name="T8" fmla="*/ 0 w 459"/>
                <a:gd name="T9" fmla="*/ 0 h 520"/>
                <a:gd name="T10" fmla="*/ 0 w 459"/>
                <a:gd name="T11" fmla="*/ 0 h 520"/>
                <a:gd name="T12" fmla="*/ 0 w 459"/>
                <a:gd name="T13" fmla="*/ 0 h 520"/>
                <a:gd name="T14" fmla="*/ 0 w 459"/>
                <a:gd name="T15" fmla="*/ 0 h 520"/>
                <a:gd name="T16" fmla="*/ 0 w 459"/>
                <a:gd name="T17" fmla="*/ 0 h 520"/>
                <a:gd name="T18" fmla="*/ 0 w 459"/>
                <a:gd name="T19" fmla="*/ 0 h 520"/>
                <a:gd name="T20" fmla="*/ 0 w 459"/>
                <a:gd name="T21" fmla="*/ 0 h 520"/>
                <a:gd name="T22" fmla="*/ 0 w 459"/>
                <a:gd name="T23" fmla="*/ 0 h 520"/>
                <a:gd name="T24" fmla="*/ 0 w 459"/>
                <a:gd name="T25" fmla="*/ 0 h 520"/>
                <a:gd name="T26" fmla="*/ 0 w 459"/>
                <a:gd name="T27" fmla="*/ 0 h 520"/>
                <a:gd name="T28" fmla="*/ 0 w 459"/>
                <a:gd name="T29" fmla="*/ 0 h 520"/>
                <a:gd name="T30" fmla="*/ 0 w 459"/>
                <a:gd name="T31" fmla="*/ 0 h 520"/>
                <a:gd name="T32" fmla="*/ 0 w 459"/>
                <a:gd name="T33" fmla="*/ 0 h 520"/>
                <a:gd name="T34" fmla="*/ 0 w 459"/>
                <a:gd name="T35" fmla="*/ 0 h 520"/>
                <a:gd name="T36" fmla="*/ 0 w 459"/>
                <a:gd name="T37" fmla="*/ 0 h 520"/>
                <a:gd name="T38" fmla="*/ 0 w 459"/>
                <a:gd name="T39" fmla="*/ 0 h 520"/>
                <a:gd name="T40" fmla="*/ 0 w 459"/>
                <a:gd name="T41" fmla="*/ 0 h 520"/>
                <a:gd name="T42" fmla="*/ 0 w 459"/>
                <a:gd name="T43" fmla="*/ 0 h 520"/>
                <a:gd name="T44" fmla="*/ 0 w 459"/>
                <a:gd name="T45" fmla="*/ 0 h 520"/>
                <a:gd name="T46" fmla="*/ 0 w 459"/>
                <a:gd name="T47" fmla="*/ 0 h 520"/>
                <a:gd name="T48" fmla="*/ 0 w 459"/>
                <a:gd name="T49" fmla="*/ 0 h 520"/>
                <a:gd name="T50" fmla="*/ 0 w 459"/>
                <a:gd name="T51" fmla="*/ 0 h 520"/>
                <a:gd name="T52" fmla="*/ 0 w 459"/>
                <a:gd name="T53" fmla="*/ 0 h 520"/>
                <a:gd name="T54" fmla="*/ 0 w 459"/>
                <a:gd name="T55" fmla="*/ 0 h 520"/>
                <a:gd name="T56" fmla="*/ 0 w 459"/>
                <a:gd name="T57" fmla="*/ 0 h 520"/>
                <a:gd name="T58" fmla="*/ 0 w 459"/>
                <a:gd name="T59" fmla="*/ 0 h 520"/>
                <a:gd name="T60" fmla="*/ 0 w 459"/>
                <a:gd name="T61" fmla="*/ 0 h 520"/>
                <a:gd name="T62" fmla="*/ 0 w 459"/>
                <a:gd name="T63" fmla="*/ 0 h 520"/>
                <a:gd name="T64" fmla="*/ 0 w 459"/>
                <a:gd name="T65" fmla="*/ 0 h 520"/>
                <a:gd name="T66" fmla="*/ 0 w 459"/>
                <a:gd name="T67" fmla="*/ 0 h 520"/>
                <a:gd name="T68" fmla="*/ 0 w 459"/>
                <a:gd name="T69" fmla="*/ 0 h 520"/>
                <a:gd name="T70" fmla="*/ 0 w 459"/>
                <a:gd name="T71" fmla="*/ 0 h 520"/>
                <a:gd name="T72" fmla="*/ 0 w 459"/>
                <a:gd name="T73" fmla="*/ 0 h 520"/>
                <a:gd name="T74" fmla="*/ 0 w 459"/>
                <a:gd name="T75" fmla="*/ 0 h 520"/>
                <a:gd name="T76" fmla="*/ 0 w 459"/>
                <a:gd name="T77" fmla="*/ 0 h 520"/>
                <a:gd name="T78" fmla="*/ 0 w 459"/>
                <a:gd name="T79" fmla="*/ 0 h 520"/>
                <a:gd name="T80" fmla="*/ 0 w 459"/>
                <a:gd name="T81" fmla="*/ 0 h 520"/>
                <a:gd name="T82" fmla="*/ 0 w 459"/>
                <a:gd name="T83" fmla="*/ 0 h 52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59"/>
                <a:gd name="T127" fmla="*/ 0 h 520"/>
                <a:gd name="T128" fmla="*/ 459 w 459"/>
                <a:gd name="T129" fmla="*/ 520 h 52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59" h="520">
                  <a:moveTo>
                    <a:pt x="68" y="520"/>
                  </a:moveTo>
                  <a:lnTo>
                    <a:pt x="130" y="520"/>
                  </a:lnTo>
                  <a:lnTo>
                    <a:pt x="206" y="520"/>
                  </a:lnTo>
                  <a:lnTo>
                    <a:pt x="291" y="520"/>
                  </a:lnTo>
                  <a:lnTo>
                    <a:pt x="366" y="520"/>
                  </a:lnTo>
                  <a:lnTo>
                    <a:pt x="358" y="484"/>
                  </a:lnTo>
                  <a:lnTo>
                    <a:pt x="331" y="464"/>
                  </a:lnTo>
                  <a:lnTo>
                    <a:pt x="315" y="439"/>
                  </a:lnTo>
                  <a:lnTo>
                    <a:pt x="295" y="435"/>
                  </a:lnTo>
                  <a:lnTo>
                    <a:pt x="270" y="413"/>
                  </a:lnTo>
                  <a:lnTo>
                    <a:pt x="274" y="368"/>
                  </a:lnTo>
                  <a:lnTo>
                    <a:pt x="279" y="356"/>
                  </a:lnTo>
                  <a:lnTo>
                    <a:pt x="266" y="343"/>
                  </a:lnTo>
                  <a:lnTo>
                    <a:pt x="266" y="331"/>
                  </a:lnTo>
                  <a:lnTo>
                    <a:pt x="276" y="314"/>
                  </a:lnTo>
                  <a:lnTo>
                    <a:pt x="302" y="298"/>
                  </a:lnTo>
                  <a:lnTo>
                    <a:pt x="302" y="247"/>
                  </a:lnTo>
                  <a:lnTo>
                    <a:pt x="308" y="240"/>
                  </a:lnTo>
                  <a:lnTo>
                    <a:pt x="315" y="245"/>
                  </a:lnTo>
                  <a:lnTo>
                    <a:pt x="364" y="200"/>
                  </a:lnTo>
                  <a:lnTo>
                    <a:pt x="459" y="130"/>
                  </a:lnTo>
                  <a:lnTo>
                    <a:pt x="390" y="115"/>
                  </a:lnTo>
                  <a:lnTo>
                    <a:pt x="357" y="124"/>
                  </a:lnTo>
                  <a:lnTo>
                    <a:pt x="271" y="72"/>
                  </a:lnTo>
                  <a:lnTo>
                    <a:pt x="222" y="76"/>
                  </a:lnTo>
                  <a:lnTo>
                    <a:pt x="192" y="62"/>
                  </a:lnTo>
                  <a:lnTo>
                    <a:pt x="165" y="62"/>
                  </a:lnTo>
                  <a:lnTo>
                    <a:pt x="140" y="1"/>
                  </a:lnTo>
                  <a:lnTo>
                    <a:pt x="128" y="0"/>
                  </a:lnTo>
                  <a:lnTo>
                    <a:pt x="128" y="40"/>
                  </a:lnTo>
                  <a:lnTo>
                    <a:pt x="0" y="40"/>
                  </a:lnTo>
                  <a:lnTo>
                    <a:pt x="11" y="68"/>
                  </a:lnTo>
                  <a:lnTo>
                    <a:pt x="8" y="114"/>
                  </a:lnTo>
                  <a:lnTo>
                    <a:pt x="24" y="165"/>
                  </a:lnTo>
                  <a:lnTo>
                    <a:pt x="25" y="216"/>
                  </a:lnTo>
                  <a:lnTo>
                    <a:pt x="27" y="249"/>
                  </a:lnTo>
                  <a:lnTo>
                    <a:pt x="42" y="291"/>
                  </a:lnTo>
                  <a:lnTo>
                    <a:pt x="42" y="311"/>
                  </a:lnTo>
                  <a:lnTo>
                    <a:pt x="24" y="341"/>
                  </a:lnTo>
                  <a:lnTo>
                    <a:pt x="49" y="368"/>
                  </a:lnTo>
                  <a:lnTo>
                    <a:pt x="49" y="520"/>
                  </a:lnTo>
                  <a:lnTo>
                    <a:pt x="68" y="52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14" name="Freeform 8">
              <a:extLst>
                <a:ext uri="{FF2B5EF4-FFF2-40B4-BE49-F238E27FC236}">
                  <a16:creationId xmlns:a16="http://schemas.microsoft.com/office/drawing/2014/main" id="{16001570-41D0-4217-8EA9-D80D62D450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49444" y="3500982"/>
              <a:ext cx="350606" cy="486677"/>
            </a:xfrm>
            <a:custGeom>
              <a:avLst/>
              <a:gdLst>
                <a:gd name="T0" fmla="*/ 0 w 201"/>
                <a:gd name="T1" fmla="*/ 0 h 315"/>
                <a:gd name="T2" fmla="*/ 0 w 201"/>
                <a:gd name="T3" fmla="*/ 0 h 315"/>
                <a:gd name="T4" fmla="*/ 0 w 201"/>
                <a:gd name="T5" fmla="*/ 0 h 315"/>
                <a:gd name="T6" fmla="*/ 0 w 201"/>
                <a:gd name="T7" fmla="*/ 0 h 315"/>
                <a:gd name="T8" fmla="*/ 0 w 201"/>
                <a:gd name="T9" fmla="*/ 0 h 315"/>
                <a:gd name="T10" fmla="*/ 0 w 201"/>
                <a:gd name="T11" fmla="*/ 0 h 315"/>
                <a:gd name="T12" fmla="*/ 0 w 201"/>
                <a:gd name="T13" fmla="*/ 0 h 315"/>
                <a:gd name="T14" fmla="*/ 0 w 201"/>
                <a:gd name="T15" fmla="*/ 0 h 315"/>
                <a:gd name="T16" fmla="*/ 0 w 201"/>
                <a:gd name="T17" fmla="*/ 0 h 315"/>
                <a:gd name="T18" fmla="*/ 0 w 201"/>
                <a:gd name="T19" fmla="*/ 0 h 315"/>
                <a:gd name="T20" fmla="*/ 0 w 201"/>
                <a:gd name="T21" fmla="*/ 0 h 315"/>
                <a:gd name="T22" fmla="*/ 0 w 201"/>
                <a:gd name="T23" fmla="*/ 0 h 315"/>
                <a:gd name="T24" fmla="*/ 0 w 201"/>
                <a:gd name="T25" fmla="*/ 0 h 315"/>
                <a:gd name="T26" fmla="*/ 0 w 201"/>
                <a:gd name="T27" fmla="*/ 0 h 315"/>
                <a:gd name="T28" fmla="*/ 0 w 201"/>
                <a:gd name="T29" fmla="*/ 0 h 315"/>
                <a:gd name="T30" fmla="*/ 0 w 201"/>
                <a:gd name="T31" fmla="*/ 0 h 315"/>
                <a:gd name="T32" fmla="*/ 0 w 201"/>
                <a:gd name="T33" fmla="*/ 0 h 315"/>
                <a:gd name="T34" fmla="*/ 0 w 201"/>
                <a:gd name="T35" fmla="*/ 0 h 315"/>
                <a:gd name="T36" fmla="*/ 0 w 201"/>
                <a:gd name="T37" fmla="*/ 0 h 315"/>
                <a:gd name="T38" fmla="*/ 0 w 201"/>
                <a:gd name="T39" fmla="*/ 0 h 315"/>
                <a:gd name="T40" fmla="*/ 0 w 201"/>
                <a:gd name="T41" fmla="*/ 0 h 315"/>
                <a:gd name="T42" fmla="*/ 0 w 201"/>
                <a:gd name="T43" fmla="*/ 0 h 315"/>
                <a:gd name="T44" fmla="*/ 0 w 201"/>
                <a:gd name="T45" fmla="*/ 0 h 315"/>
                <a:gd name="T46" fmla="*/ 0 w 201"/>
                <a:gd name="T47" fmla="*/ 0 h 315"/>
                <a:gd name="T48" fmla="*/ 0 w 201"/>
                <a:gd name="T49" fmla="*/ 0 h 315"/>
                <a:gd name="T50" fmla="*/ 0 w 201"/>
                <a:gd name="T51" fmla="*/ 0 h 315"/>
                <a:gd name="T52" fmla="*/ 0 w 201"/>
                <a:gd name="T53" fmla="*/ 0 h 315"/>
                <a:gd name="T54" fmla="*/ 0 w 201"/>
                <a:gd name="T55" fmla="*/ 0 h 315"/>
                <a:gd name="T56" fmla="*/ 0 w 201"/>
                <a:gd name="T57" fmla="*/ 0 h 315"/>
                <a:gd name="T58" fmla="*/ 0 w 201"/>
                <a:gd name="T59" fmla="*/ 0 h 315"/>
                <a:gd name="T60" fmla="*/ 0 w 201"/>
                <a:gd name="T61" fmla="*/ 0 h 315"/>
                <a:gd name="T62" fmla="*/ 0 w 201"/>
                <a:gd name="T63" fmla="*/ 0 h 315"/>
                <a:gd name="T64" fmla="*/ 0 w 201"/>
                <a:gd name="T65" fmla="*/ 0 h 315"/>
                <a:gd name="T66" fmla="*/ 0 w 201"/>
                <a:gd name="T67" fmla="*/ 0 h 315"/>
                <a:gd name="T68" fmla="*/ 0 w 201"/>
                <a:gd name="T69" fmla="*/ 0 h 315"/>
                <a:gd name="T70" fmla="*/ 0 w 201"/>
                <a:gd name="T71" fmla="*/ 0 h 315"/>
                <a:gd name="T72" fmla="*/ 0 w 201"/>
                <a:gd name="T73" fmla="*/ 0 h 315"/>
                <a:gd name="T74" fmla="*/ 0 w 201"/>
                <a:gd name="T75" fmla="*/ 0 h 315"/>
                <a:gd name="T76" fmla="*/ 0 w 201"/>
                <a:gd name="T77" fmla="*/ 0 h 315"/>
                <a:gd name="T78" fmla="*/ 0 w 201"/>
                <a:gd name="T79" fmla="*/ 0 h 31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1"/>
                <a:gd name="T121" fmla="*/ 0 h 315"/>
                <a:gd name="T122" fmla="*/ 201 w 201"/>
                <a:gd name="T123" fmla="*/ 315 h 31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1" h="315">
                  <a:moveTo>
                    <a:pt x="35" y="192"/>
                  </a:moveTo>
                  <a:lnTo>
                    <a:pt x="35" y="107"/>
                  </a:lnTo>
                  <a:lnTo>
                    <a:pt x="35" y="4"/>
                  </a:lnTo>
                  <a:lnTo>
                    <a:pt x="58" y="10"/>
                  </a:lnTo>
                  <a:lnTo>
                    <a:pt x="71" y="0"/>
                  </a:lnTo>
                  <a:lnTo>
                    <a:pt x="201" y="2"/>
                  </a:lnTo>
                  <a:lnTo>
                    <a:pt x="201" y="107"/>
                  </a:lnTo>
                  <a:lnTo>
                    <a:pt x="201" y="213"/>
                  </a:lnTo>
                  <a:lnTo>
                    <a:pt x="197" y="217"/>
                  </a:lnTo>
                  <a:lnTo>
                    <a:pt x="201" y="237"/>
                  </a:lnTo>
                  <a:lnTo>
                    <a:pt x="178" y="246"/>
                  </a:lnTo>
                  <a:lnTo>
                    <a:pt x="162" y="241"/>
                  </a:lnTo>
                  <a:lnTo>
                    <a:pt x="164" y="257"/>
                  </a:lnTo>
                  <a:lnTo>
                    <a:pt x="152" y="263"/>
                  </a:lnTo>
                  <a:lnTo>
                    <a:pt x="148" y="275"/>
                  </a:lnTo>
                  <a:lnTo>
                    <a:pt x="138" y="277"/>
                  </a:lnTo>
                  <a:lnTo>
                    <a:pt x="133" y="295"/>
                  </a:lnTo>
                  <a:lnTo>
                    <a:pt x="125" y="302"/>
                  </a:lnTo>
                  <a:lnTo>
                    <a:pt x="107" y="283"/>
                  </a:lnTo>
                  <a:lnTo>
                    <a:pt x="108" y="289"/>
                  </a:lnTo>
                  <a:lnTo>
                    <a:pt x="99" y="289"/>
                  </a:lnTo>
                  <a:lnTo>
                    <a:pt x="89" y="310"/>
                  </a:lnTo>
                  <a:lnTo>
                    <a:pt x="78" y="298"/>
                  </a:lnTo>
                  <a:lnTo>
                    <a:pt x="60" y="315"/>
                  </a:lnTo>
                  <a:lnTo>
                    <a:pt x="31" y="299"/>
                  </a:lnTo>
                  <a:lnTo>
                    <a:pt x="27" y="312"/>
                  </a:lnTo>
                  <a:lnTo>
                    <a:pt x="26" y="306"/>
                  </a:lnTo>
                  <a:lnTo>
                    <a:pt x="13" y="304"/>
                  </a:lnTo>
                  <a:lnTo>
                    <a:pt x="9" y="315"/>
                  </a:lnTo>
                  <a:lnTo>
                    <a:pt x="3" y="311"/>
                  </a:lnTo>
                  <a:lnTo>
                    <a:pt x="0" y="307"/>
                  </a:lnTo>
                  <a:lnTo>
                    <a:pt x="3" y="307"/>
                  </a:lnTo>
                  <a:lnTo>
                    <a:pt x="5" y="291"/>
                  </a:lnTo>
                  <a:lnTo>
                    <a:pt x="10" y="287"/>
                  </a:lnTo>
                  <a:lnTo>
                    <a:pt x="7" y="281"/>
                  </a:lnTo>
                  <a:lnTo>
                    <a:pt x="29" y="259"/>
                  </a:lnTo>
                  <a:lnTo>
                    <a:pt x="37" y="240"/>
                  </a:lnTo>
                  <a:lnTo>
                    <a:pt x="35" y="225"/>
                  </a:lnTo>
                  <a:lnTo>
                    <a:pt x="27" y="212"/>
                  </a:lnTo>
                  <a:lnTo>
                    <a:pt x="35" y="192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5" name="Freeform 9">
              <a:extLst>
                <a:ext uri="{FF2B5EF4-FFF2-40B4-BE49-F238E27FC236}">
                  <a16:creationId xmlns:a16="http://schemas.microsoft.com/office/drawing/2014/main" id="{C7781FCA-5907-4EC0-A894-5393FEF8FC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10680" y="4308011"/>
              <a:ext cx="494970" cy="517484"/>
            </a:xfrm>
            <a:custGeom>
              <a:avLst/>
              <a:gdLst>
                <a:gd name="T0" fmla="*/ 0 w 289"/>
                <a:gd name="T1" fmla="*/ 0 h 334"/>
                <a:gd name="T2" fmla="*/ 0 w 289"/>
                <a:gd name="T3" fmla="*/ 0 h 334"/>
                <a:gd name="T4" fmla="*/ 0 w 289"/>
                <a:gd name="T5" fmla="*/ 0 h 334"/>
                <a:gd name="T6" fmla="*/ 0 w 289"/>
                <a:gd name="T7" fmla="*/ 0 h 334"/>
                <a:gd name="T8" fmla="*/ 0 w 289"/>
                <a:gd name="T9" fmla="*/ 0 h 334"/>
                <a:gd name="T10" fmla="*/ 0 w 289"/>
                <a:gd name="T11" fmla="*/ 0 h 334"/>
                <a:gd name="T12" fmla="*/ 0 w 289"/>
                <a:gd name="T13" fmla="*/ 0 h 334"/>
                <a:gd name="T14" fmla="*/ 0 w 289"/>
                <a:gd name="T15" fmla="*/ 0 h 334"/>
                <a:gd name="T16" fmla="*/ 0 w 289"/>
                <a:gd name="T17" fmla="*/ 0 h 334"/>
                <a:gd name="T18" fmla="*/ 0 w 289"/>
                <a:gd name="T19" fmla="*/ 0 h 334"/>
                <a:gd name="T20" fmla="*/ 0 w 289"/>
                <a:gd name="T21" fmla="*/ 0 h 334"/>
                <a:gd name="T22" fmla="*/ 0 w 289"/>
                <a:gd name="T23" fmla="*/ 0 h 334"/>
                <a:gd name="T24" fmla="*/ 0 w 289"/>
                <a:gd name="T25" fmla="*/ 0 h 334"/>
                <a:gd name="T26" fmla="*/ 0 w 289"/>
                <a:gd name="T27" fmla="*/ 0 h 334"/>
                <a:gd name="T28" fmla="*/ 0 w 289"/>
                <a:gd name="T29" fmla="*/ 0 h 334"/>
                <a:gd name="T30" fmla="*/ 0 w 289"/>
                <a:gd name="T31" fmla="*/ 0 h 334"/>
                <a:gd name="T32" fmla="*/ 0 w 289"/>
                <a:gd name="T33" fmla="*/ 0 h 334"/>
                <a:gd name="T34" fmla="*/ 0 w 289"/>
                <a:gd name="T35" fmla="*/ 0 h 334"/>
                <a:gd name="T36" fmla="*/ 0 w 289"/>
                <a:gd name="T37" fmla="*/ 0 h 334"/>
                <a:gd name="T38" fmla="*/ 0 w 289"/>
                <a:gd name="T39" fmla="*/ 0 h 334"/>
                <a:gd name="T40" fmla="*/ 0 w 289"/>
                <a:gd name="T41" fmla="*/ 0 h 334"/>
                <a:gd name="T42" fmla="*/ 0 w 289"/>
                <a:gd name="T43" fmla="*/ 0 h 334"/>
                <a:gd name="T44" fmla="*/ 0 w 289"/>
                <a:gd name="T45" fmla="*/ 0 h 334"/>
                <a:gd name="T46" fmla="*/ 0 w 289"/>
                <a:gd name="T47" fmla="*/ 0 h 334"/>
                <a:gd name="T48" fmla="*/ 0 w 289"/>
                <a:gd name="T49" fmla="*/ 0 h 334"/>
                <a:gd name="T50" fmla="*/ 0 w 289"/>
                <a:gd name="T51" fmla="*/ 0 h 334"/>
                <a:gd name="T52" fmla="*/ 0 w 289"/>
                <a:gd name="T53" fmla="*/ 0 h 334"/>
                <a:gd name="T54" fmla="*/ 0 w 289"/>
                <a:gd name="T55" fmla="*/ 0 h 334"/>
                <a:gd name="T56" fmla="*/ 0 w 289"/>
                <a:gd name="T57" fmla="*/ 0 h 334"/>
                <a:gd name="T58" fmla="*/ 0 w 289"/>
                <a:gd name="T59" fmla="*/ 0 h 334"/>
                <a:gd name="T60" fmla="*/ 0 w 289"/>
                <a:gd name="T61" fmla="*/ 0 h 334"/>
                <a:gd name="T62" fmla="*/ 0 w 289"/>
                <a:gd name="T63" fmla="*/ 0 h 334"/>
                <a:gd name="T64" fmla="*/ 0 w 289"/>
                <a:gd name="T65" fmla="*/ 0 h 334"/>
                <a:gd name="T66" fmla="*/ 0 w 289"/>
                <a:gd name="T67" fmla="*/ 0 h 334"/>
                <a:gd name="T68" fmla="*/ 0 w 289"/>
                <a:gd name="T69" fmla="*/ 0 h 334"/>
                <a:gd name="T70" fmla="*/ 0 w 289"/>
                <a:gd name="T71" fmla="*/ 0 h 334"/>
                <a:gd name="T72" fmla="*/ 0 w 289"/>
                <a:gd name="T73" fmla="*/ 0 h 334"/>
                <a:gd name="T74" fmla="*/ 0 w 289"/>
                <a:gd name="T75" fmla="*/ 0 h 334"/>
                <a:gd name="T76" fmla="*/ 0 w 289"/>
                <a:gd name="T77" fmla="*/ 0 h 33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9"/>
                <a:gd name="T118" fmla="*/ 0 h 334"/>
                <a:gd name="T119" fmla="*/ 289 w 289"/>
                <a:gd name="T120" fmla="*/ 334 h 33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9" h="334">
                  <a:moveTo>
                    <a:pt x="250" y="309"/>
                  </a:moveTo>
                  <a:lnTo>
                    <a:pt x="252" y="293"/>
                  </a:lnTo>
                  <a:lnTo>
                    <a:pt x="262" y="269"/>
                  </a:lnTo>
                  <a:lnTo>
                    <a:pt x="265" y="259"/>
                  </a:lnTo>
                  <a:lnTo>
                    <a:pt x="278" y="227"/>
                  </a:lnTo>
                  <a:lnTo>
                    <a:pt x="289" y="216"/>
                  </a:lnTo>
                  <a:lnTo>
                    <a:pt x="274" y="210"/>
                  </a:lnTo>
                  <a:lnTo>
                    <a:pt x="274" y="195"/>
                  </a:lnTo>
                  <a:lnTo>
                    <a:pt x="267" y="182"/>
                  </a:lnTo>
                  <a:lnTo>
                    <a:pt x="257" y="174"/>
                  </a:lnTo>
                  <a:lnTo>
                    <a:pt x="252" y="146"/>
                  </a:lnTo>
                  <a:lnTo>
                    <a:pt x="237" y="136"/>
                  </a:lnTo>
                  <a:lnTo>
                    <a:pt x="225" y="121"/>
                  </a:lnTo>
                  <a:lnTo>
                    <a:pt x="225" y="113"/>
                  </a:lnTo>
                  <a:lnTo>
                    <a:pt x="188" y="78"/>
                  </a:lnTo>
                  <a:lnTo>
                    <a:pt x="168" y="41"/>
                  </a:lnTo>
                  <a:lnTo>
                    <a:pt x="159" y="39"/>
                  </a:lnTo>
                  <a:lnTo>
                    <a:pt x="139" y="22"/>
                  </a:lnTo>
                  <a:lnTo>
                    <a:pt x="155" y="0"/>
                  </a:lnTo>
                  <a:lnTo>
                    <a:pt x="0" y="0"/>
                  </a:lnTo>
                  <a:lnTo>
                    <a:pt x="17" y="86"/>
                  </a:lnTo>
                  <a:lnTo>
                    <a:pt x="27" y="146"/>
                  </a:lnTo>
                  <a:lnTo>
                    <a:pt x="32" y="173"/>
                  </a:lnTo>
                  <a:lnTo>
                    <a:pt x="41" y="189"/>
                  </a:lnTo>
                  <a:lnTo>
                    <a:pt x="40" y="195"/>
                  </a:lnTo>
                  <a:lnTo>
                    <a:pt x="45" y="199"/>
                  </a:lnTo>
                  <a:lnTo>
                    <a:pt x="35" y="210"/>
                  </a:lnTo>
                  <a:lnTo>
                    <a:pt x="32" y="226"/>
                  </a:lnTo>
                  <a:lnTo>
                    <a:pt x="39" y="236"/>
                  </a:lnTo>
                  <a:lnTo>
                    <a:pt x="32" y="277"/>
                  </a:lnTo>
                  <a:lnTo>
                    <a:pt x="39" y="291"/>
                  </a:lnTo>
                  <a:lnTo>
                    <a:pt x="47" y="310"/>
                  </a:lnTo>
                  <a:lnTo>
                    <a:pt x="129" y="314"/>
                  </a:lnTo>
                  <a:lnTo>
                    <a:pt x="208" y="321"/>
                  </a:lnTo>
                  <a:lnTo>
                    <a:pt x="212" y="334"/>
                  </a:lnTo>
                  <a:lnTo>
                    <a:pt x="218" y="334"/>
                  </a:lnTo>
                  <a:lnTo>
                    <a:pt x="218" y="308"/>
                  </a:lnTo>
                  <a:lnTo>
                    <a:pt x="224" y="302"/>
                  </a:lnTo>
                  <a:lnTo>
                    <a:pt x="250" y="309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6" name="Freeform 13">
              <a:extLst>
                <a:ext uri="{FF2B5EF4-FFF2-40B4-BE49-F238E27FC236}">
                  <a16:creationId xmlns:a16="http://schemas.microsoft.com/office/drawing/2014/main" id="{ED27CE10-92F4-48E9-AB9C-33D1D1410F3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63316" y="4080075"/>
              <a:ext cx="632466" cy="634539"/>
            </a:xfrm>
            <a:custGeom>
              <a:avLst/>
              <a:gdLst>
                <a:gd name="T0" fmla="*/ 0 w 368"/>
                <a:gd name="T1" fmla="*/ 0 h 415"/>
                <a:gd name="T2" fmla="*/ 0 w 368"/>
                <a:gd name="T3" fmla="*/ 0 h 415"/>
                <a:gd name="T4" fmla="*/ 0 w 368"/>
                <a:gd name="T5" fmla="*/ 0 h 415"/>
                <a:gd name="T6" fmla="*/ 0 w 368"/>
                <a:gd name="T7" fmla="*/ 0 h 415"/>
                <a:gd name="T8" fmla="*/ 0 w 368"/>
                <a:gd name="T9" fmla="*/ 0 h 415"/>
                <a:gd name="T10" fmla="*/ 0 w 368"/>
                <a:gd name="T11" fmla="*/ 0 h 415"/>
                <a:gd name="T12" fmla="*/ 0 w 368"/>
                <a:gd name="T13" fmla="*/ 0 h 415"/>
                <a:gd name="T14" fmla="*/ 0 w 368"/>
                <a:gd name="T15" fmla="*/ 0 h 415"/>
                <a:gd name="T16" fmla="*/ 0 w 368"/>
                <a:gd name="T17" fmla="*/ 0 h 415"/>
                <a:gd name="T18" fmla="*/ 0 w 368"/>
                <a:gd name="T19" fmla="*/ 0 h 415"/>
                <a:gd name="T20" fmla="*/ 0 w 368"/>
                <a:gd name="T21" fmla="*/ 0 h 415"/>
                <a:gd name="T22" fmla="*/ 0 w 368"/>
                <a:gd name="T23" fmla="*/ 0 h 415"/>
                <a:gd name="T24" fmla="*/ 0 w 368"/>
                <a:gd name="T25" fmla="*/ 0 h 415"/>
                <a:gd name="T26" fmla="*/ 0 w 368"/>
                <a:gd name="T27" fmla="*/ 0 h 415"/>
                <a:gd name="T28" fmla="*/ 0 w 368"/>
                <a:gd name="T29" fmla="*/ 0 h 415"/>
                <a:gd name="T30" fmla="*/ 0 w 368"/>
                <a:gd name="T31" fmla="*/ 0 h 415"/>
                <a:gd name="T32" fmla="*/ 0 w 368"/>
                <a:gd name="T33" fmla="*/ 0 h 415"/>
                <a:gd name="T34" fmla="*/ 0 w 368"/>
                <a:gd name="T35" fmla="*/ 0 h 415"/>
                <a:gd name="T36" fmla="*/ 0 w 368"/>
                <a:gd name="T37" fmla="*/ 0 h 415"/>
                <a:gd name="T38" fmla="*/ 0 w 368"/>
                <a:gd name="T39" fmla="*/ 0 h 415"/>
                <a:gd name="T40" fmla="*/ 0 w 368"/>
                <a:gd name="T41" fmla="*/ 0 h 415"/>
                <a:gd name="T42" fmla="*/ 0 w 368"/>
                <a:gd name="T43" fmla="*/ 0 h 415"/>
                <a:gd name="T44" fmla="*/ 0 w 368"/>
                <a:gd name="T45" fmla="*/ 0 h 41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8"/>
                <a:gd name="T70" fmla="*/ 0 h 415"/>
                <a:gd name="T71" fmla="*/ 368 w 368"/>
                <a:gd name="T72" fmla="*/ 415 h 41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8" h="415">
                  <a:moveTo>
                    <a:pt x="219" y="369"/>
                  </a:moveTo>
                  <a:lnTo>
                    <a:pt x="308" y="369"/>
                  </a:lnTo>
                  <a:lnTo>
                    <a:pt x="365" y="369"/>
                  </a:lnTo>
                  <a:lnTo>
                    <a:pt x="365" y="287"/>
                  </a:lnTo>
                  <a:lnTo>
                    <a:pt x="365" y="206"/>
                  </a:lnTo>
                  <a:lnTo>
                    <a:pt x="365" y="114"/>
                  </a:lnTo>
                  <a:lnTo>
                    <a:pt x="365" y="39"/>
                  </a:lnTo>
                  <a:lnTo>
                    <a:pt x="368" y="39"/>
                  </a:lnTo>
                  <a:lnTo>
                    <a:pt x="368" y="0"/>
                  </a:lnTo>
                  <a:lnTo>
                    <a:pt x="264" y="0"/>
                  </a:lnTo>
                  <a:lnTo>
                    <a:pt x="161" y="0"/>
                  </a:lnTo>
                  <a:lnTo>
                    <a:pt x="74" y="0"/>
                  </a:lnTo>
                  <a:lnTo>
                    <a:pt x="0" y="0"/>
                  </a:lnTo>
                  <a:lnTo>
                    <a:pt x="0" y="111"/>
                  </a:lnTo>
                  <a:lnTo>
                    <a:pt x="0" y="221"/>
                  </a:lnTo>
                  <a:lnTo>
                    <a:pt x="0" y="323"/>
                  </a:lnTo>
                  <a:lnTo>
                    <a:pt x="0" y="415"/>
                  </a:lnTo>
                  <a:lnTo>
                    <a:pt x="50" y="415"/>
                  </a:lnTo>
                  <a:lnTo>
                    <a:pt x="50" y="381"/>
                  </a:lnTo>
                  <a:lnTo>
                    <a:pt x="102" y="381"/>
                  </a:lnTo>
                  <a:lnTo>
                    <a:pt x="149" y="380"/>
                  </a:lnTo>
                  <a:lnTo>
                    <a:pt x="145" y="369"/>
                  </a:lnTo>
                  <a:lnTo>
                    <a:pt x="219" y="369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7" name="Freeform 14">
              <a:extLst>
                <a:ext uri="{FF2B5EF4-FFF2-40B4-BE49-F238E27FC236}">
                  <a16:creationId xmlns:a16="http://schemas.microsoft.com/office/drawing/2014/main" id="{7735A212-D743-4C39-BEAD-E29A741D84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65228" y="4080075"/>
              <a:ext cx="598089" cy="634539"/>
            </a:xfrm>
            <a:custGeom>
              <a:avLst/>
              <a:gdLst>
                <a:gd name="T0" fmla="*/ 0 w 347"/>
                <a:gd name="T1" fmla="*/ 0 h 415"/>
                <a:gd name="T2" fmla="*/ 0 w 347"/>
                <a:gd name="T3" fmla="*/ 0 h 415"/>
                <a:gd name="T4" fmla="*/ 0 w 347"/>
                <a:gd name="T5" fmla="*/ 0 h 415"/>
                <a:gd name="T6" fmla="*/ 0 w 347"/>
                <a:gd name="T7" fmla="*/ 0 h 415"/>
                <a:gd name="T8" fmla="*/ 0 w 347"/>
                <a:gd name="T9" fmla="*/ 0 h 415"/>
                <a:gd name="T10" fmla="*/ 0 w 347"/>
                <a:gd name="T11" fmla="*/ 0 h 415"/>
                <a:gd name="T12" fmla="*/ 0 w 347"/>
                <a:gd name="T13" fmla="*/ 0 h 415"/>
                <a:gd name="T14" fmla="*/ 0 w 347"/>
                <a:gd name="T15" fmla="*/ 0 h 415"/>
                <a:gd name="T16" fmla="*/ 0 w 347"/>
                <a:gd name="T17" fmla="*/ 0 h 415"/>
                <a:gd name="T18" fmla="*/ 0 w 347"/>
                <a:gd name="T19" fmla="*/ 0 h 415"/>
                <a:gd name="T20" fmla="*/ 0 w 347"/>
                <a:gd name="T21" fmla="*/ 0 h 415"/>
                <a:gd name="T22" fmla="*/ 0 w 347"/>
                <a:gd name="T23" fmla="*/ 0 h 415"/>
                <a:gd name="T24" fmla="*/ 0 w 347"/>
                <a:gd name="T25" fmla="*/ 0 h 415"/>
                <a:gd name="T26" fmla="*/ 0 w 347"/>
                <a:gd name="T27" fmla="*/ 0 h 415"/>
                <a:gd name="T28" fmla="*/ 0 w 347"/>
                <a:gd name="T29" fmla="*/ 0 h 415"/>
                <a:gd name="T30" fmla="*/ 0 w 347"/>
                <a:gd name="T31" fmla="*/ 0 h 415"/>
                <a:gd name="T32" fmla="*/ 0 w 347"/>
                <a:gd name="T33" fmla="*/ 0 h 415"/>
                <a:gd name="T34" fmla="*/ 0 w 347"/>
                <a:gd name="T35" fmla="*/ 0 h 415"/>
                <a:gd name="T36" fmla="*/ 0 w 347"/>
                <a:gd name="T37" fmla="*/ 0 h 415"/>
                <a:gd name="T38" fmla="*/ 0 w 347"/>
                <a:gd name="T39" fmla="*/ 0 h 415"/>
                <a:gd name="T40" fmla="*/ 0 w 347"/>
                <a:gd name="T41" fmla="*/ 0 h 415"/>
                <a:gd name="T42" fmla="*/ 0 w 347"/>
                <a:gd name="T43" fmla="*/ 0 h 415"/>
                <a:gd name="T44" fmla="*/ 0 w 347"/>
                <a:gd name="T45" fmla="*/ 0 h 415"/>
                <a:gd name="T46" fmla="*/ 0 w 347"/>
                <a:gd name="T47" fmla="*/ 0 h 415"/>
                <a:gd name="T48" fmla="*/ 0 w 347"/>
                <a:gd name="T49" fmla="*/ 0 h 415"/>
                <a:gd name="T50" fmla="*/ 0 w 347"/>
                <a:gd name="T51" fmla="*/ 0 h 415"/>
                <a:gd name="T52" fmla="*/ 0 w 347"/>
                <a:gd name="T53" fmla="*/ 0 h 415"/>
                <a:gd name="T54" fmla="*/ 0 w 347"/>
                <a:gd name="T55" fmla="*/ 0 h 415"/>
                <a:gd name="T56" fmla="*/ 0 w 347"/>
                <a:gd name="T57" fmla="*/ 0 h 415"/>
                <a:gd name="T58" fmla="*/ 0 w 347"/>
                <a:gd name="T59" fmla="*/ 0 h 415"/>
                <a:gd name="T60" fmla="*/ 0 w 347"/>
                <a:gd name="T61" fmla="*/ 0 h 415"/>
                <a:gd name="T62" fmla="*/ 0 w 347"/>
                <a:gd name="T63" fmla="*/ 0 h 415"/>
                <a:gd name="T64" fmla="*/ 0 w 347"/>
                <a:gd name="T65" fmla="*/ 0 h 41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7"/>
                <a:gd name="T100" fmla="*/ 0 h 415"/>
                <a:gd name="T101" fmla="*/ 347 w 347"/>
                <a:gd name="T102" fmla="*/ 415 h 41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7" h="415">
                  <a:moveTo>
                    <a:pt x="90" y="0"/>
                  </a:moveTo>
                  <a:lnTo>
                    <a:pt x="154" y="0"/>
                  </a:lnTo>
                  <a:lnTo>
                    <a:pt x="232" y="0"/>
                  </a:lnTo>
                  <a:lnTo>
                    <a:pt x="295" y="0"/>
                  </a:lnTo>
                  <a:lnTo>
                    <a:pt x="347" y="0"/>
                  </a:lnTo>
                  <a:lnTo>
                    <a:pt x="347" y="111"/>
                  </a:lnTo>
                  <a:lnTo>
                    <a:pt x="347" y="221"/>
                  </a:lnTo>
                  <a:lnTo>
                    <a:pt x="347" y="323"/>
                  </a:lnTo>
                  <a:lnTo>
                    <a:pt x="347" y="415"/>
                  </a:lnTo>
                  <a:lnTo>
                    <a:pt x="295" y="415"/>
                  </a:lnTo>
                  <a:lnTo>
                    <a:pt x="232" y="415"/>
                  </a:lnTo>
                  <a:lnTo>
                    <a:pt x="145" y="384"/>
                  </a:lnTo>
                  <a:lnTo>
                    <a:pt x="59" y="351"/>
                  </a:lnTo>
                  <a:lnTo>
                    <a:pt x="0" y="329"/>
                  </a:lnTo>
                  <a:lnTo>
                    <a:pt x="0" y="322"/>
                  </a:lnTo>
                  <a:lnTo>
                    <a:pt x="4" y="315"/>
                  </a:lnTo>
                  <a:lnTo>
                    <a:pt x="14" y="316"/>
                  </a:lnTo>
                  <a:lnTo>
                    <a:pt x="20" y="307"/>
                  </a:lnTo>
                  <a:lnTo>
                    <a:pt x="19" y="299"/>
                  </a:lnTo>
                  <a:lnTo>
                    <a:pt x="4" y="291"/>
                  </a:lnTo>
                  <a:lnTo>
                    <a:pt x="3" y="267"/>
                  </a:lnTo>
                  <a:lnTo>
                    <a:pt x="14" y="257"/>
                  </a:lnTo>
                  <a:lnTo>
                    <a:pt x="16" y="228"/>
                  </a:lnTo>
                  <a:lnTo>
                    <a:pt x="39" y="204"/>
                  </a:lnTo>
                  <a:lnTo>
                    <a:pt x="8" y="160"/>
                  </a:lnTo>
                  <a:lnTo>
                    <a:pt x="8" y="151"/>
                  </a:lnTo>
                  <a:lnTo>
                    <a:pt x="11" y="126"/>
                  </a:lnTo>
                  <a:lnTo>
                    <a:pt x="3" y="81"/>
                  </a:lnTo>
                  <a:lnTo>
                    <a:pt x="12" y="65"/>
                  </a:lnTo>
                  <a:lnTo>
                    <a:pt x="39" y="73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8" name="Freeform 16">
              <a:extLst>
                <a:ext uri="{FF2B5EF4-FFF2-40B4-BE49-F238E27FC236}">
                  <a16:creationId xmlns:a16="http://schemas.microsoft.com/office/drawing/2014/main" id="{F5DD8192-F1F2-4934-AE06-827D44EA1D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2154" y="3476347"/>
              <a:ext cx="1051813" cy="1115057"/>
            </a:xfrm>
            <a:custGeom>
              <a:avLst/>
              <a:gdLst>
                <a:gd name="T0" fmla="*/ 0 w 614"/>
                <a:gd name="T1" fmla="*/ 0 h 724"/>
                <a:gd name="T2" fmla="*/ 0 w 614"/>
                <a:gd name="T3" fmla="*/ 0 h 724"/>
                <a:gd name="T4" fmla="*/ 0 w 614"/>
                <a:gd name="T5" fmla="*/ 0 h 724"/>
                <a:gd name="T6" fmla="*/ 0 w 614"/>
                <a:gd name="T7" fmla="*/ 0 h 724"/>
                <a:gd name="T8" fmla="*/ 0 w 614"/>
                <a:gd name="T9" fmla="*/ 0 h 724"/>
                <a:gd name="T10" fmla="*/ 0 w 614"/>
                <a:gd name="T11" fmla="*/ 0 h 724"/>
                <a:gd name="T12" fmla="*/ 0 w 614"/>
                <a:gd name="T13" fmla="*/ 0 h 724"/>
                <a:gd name="T14" fmla="*/ 0 w 614"/>
                <a:gd name="T15" fmla="*/ 0 h 724"/>
                <a:gd name="T16" fmla="*/ 0 w 614"/>
                <a:gd name="T17" fmla="*/ 0 h 724"/>
                <a:gd name="T18" fmla="*/ 0 w 614"/>
                <a:gd name="T19" fmla="*/ 0 h 724"/>
                <a:gd name="T20" fmla="*/ 0 w 614"/>
                <a:gd name="T21" fmla="*/ 0 h 724"/>
                <a:gd name="T22" fmla="*/ 0 w 614"/>
                <a:gd name="T23" fmla="*/ 0 h 724"/>
                <a:gd name="T24" fmla="*/ 0 w 614"/>
                <a:gd name="T25" fmla="*/ 0 h 724"/>
                <a:gd name="T26" fmla="*/ 0 w 614"/>
                <a:gd name="T27" fmla="*/ 0 h 724"/>
                <a:gd name="T28" fmla="*/ 0 w 614"/>
                <a:gd name="T29" fmla="*/ 0 h 724"/>
                <a:gd name="T30" fmla="*/ 0 w 614"/>
                <a:gd name="T31" fmla="*/ 0 h 724"/>
                <a:gd name="T32" fmla="*/ 0 w 614"/>
                <a:gd name="T33" fmla="*/ 0 h 724"/>
                <a:gd name="T34" fmla="*/ 0 w 614"/>
                <a:gd name="T35" fmla="*/ 0 h 724"/>
                <a:gd name="T36" fmla="*/ 0 w 614"/>
                <a:gd name="T37" fmla="*/ 0 h 724"/>
                <a:gd name="T38" fmla="*/ 0 w 614"/>
                <a:gd name="T39" fmla="*/ 0 h 724"/>
                <a:gd name="T40" fmla="*/ 0 w 614"/>
                <a:gd name="T41" fmla="*/ 0 h 724"/>
                <a:gd name="T42" fmla="*/ 0 w 614"/>
                <a:gd name="T43" fmla="*/ 0 h 724"/>
                <a:gd name="T44" fmla="*/ 0 w 614"/>
                <a:gd name="T45" fmla="*/ 0 h 724"/>
                <a:gd name="T46" fmla="*/ 0 w 614"/>
                <a:gd name="T47" fmla="*/ 0 h 724"/>
                <a:gd name="T48" fmla="*/ 0 w 614"/>
                <a:gd name="T49" fmla="*/ 0 h 724"/>
                <a:gd name="T50" fmla="*/ 0 w 614"/>
                <a:gd name="T51" fmla="*/ 0 h 724"/>
                <a:gd name="T52" fmla="*/ 0 w 614"/>
                <a:gd name="T53" fmla="*/ 0 h 724"/>
                <a:gd name="T54" fmla="*/ 0 w 614"/>
                <a:gd name="T55" fmla="*/ 0 h 724"/>
                <a:gd name="T56" fmla="*/ 0 w 614"/>
                <a:gd name="T57" fmla="*/ 0 h 724"/>
                <a:gd name="T58" fmla="*/ 0 w 614"/>
                <a:gd name="T59" fmla="*/ 0 h 724"/>
                <a:gd name="T60" fmla="*/ 0 w 614"/>
                <a:gd name="T61" fmla="*/ 0 h 724"/>
                <a:gd name="T62" fmla="*/ 0 w 614"/>
                <a:gd name="T63" fmla="*/ 0 h 7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4"/>
                <a:gd name="T97" fmla="*/ 0 h 724"/>
                <a:gd name="T98" fmla="*/ 614 w 614"/>
                <a:gd name="T99" fmla="*/ 724 h 7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4" h="724">
                  <a:moveTo>
                    <a:pt x="578" y="658"/>
                  </a:moveTo>
                  <a:lnTo>
                    <a:pt x="589" y="648"/>
                  </a:lnTo>
                  <a:lnTo>
                    <a:pt x="591" y="619"/>
                  </a:lnTo>
                  <a:lnTo>
                    <a:pt x="614" y="595"/>
                  </a:lnTo>
                  <a:lnTo>
                    <a:pt x="583" y="551"/>
                  </a:lnTo>
                  <a:lnTo>
                    <a:pt x="583" y="542"/>
                  </a:lnTo>
                  <a:lnTo>
                    <a:pt x="525" y="486"/>
                  </a:lnTo>
                  <a:lnTo>
                    <a:pt x="439" y="410"/>
                  </a:lnTo>
                  <a:lnTo>
                    <a:pt x="377" y="352"/>
                  </a:lnTo>
                  <a:lnTo>
                    <a:pt x="312" y="289"/>
                  </a:lnTo>
                  <a:lnTo>
                    <a:pt x="257" y="239"/>
                  </a:lnTo>
                  <a:lnTo>
                    <a:pt x="257" y="144"/>
                  </a:lnTo>
                  <a:lnTo>
                    <a:pt x="257" y="67"/>
                  </a:lnTo>
                  <a:lnTo>
                    <a:pt x="257" y="0"/>
                  </a:lnTo>
                  <a:lnTo>
                    <a:pt x="195" y="0"/>
                  </a:lnTo>
                  <a:lnTo>
                    <a:pt x="127" y="0"/>
                  </a:lnTo>
                  <a:lnTo>
                    <a:pt x="62" y="0"/>
                  </a:lnTo>
                  <a:lnTo>
                    <a:pt x="8" y="0"/>
                  </a:lnTo>
                  <a:lnTo>
                    <a:pt x="19" y="49"/>
                  </a:lnTo>
                  <a:lnTo>
                    <a:pt x="15" y="96"/>
                  </a:lnTo>
                  <a:lnTo>
                    <a:pt x="0" y="117"/>
                  </a:lnTo>
                  <a:lnTo>
                    <a:pt x="0" y="129"/>
                  </a:lnTo>
                  <a:lnTo>
                    <a:pt x="36" y="185"/>
                  </a:lnTo>
                  <a:lnTo>
                    <a:pt x="35" y="210"/>
                  </a:lnTo>
                  <a:lnTo>
                    <a:pt x="45" y="250"/>
                  </a:lnTo>
                  <a:lnTo>
                    <a:pt x="81" y="289"/>
                  </a:lnTo>
                  <a:lnTo>
                    <a:pt x="85" y="308"/>
                  </a:lnTo>
                  <a:lnTo>
                    <a:pt x="95" y="320"/>
                  </a:lnTo>
                  <a:lnTo>
                    <a:pt x="111" y="321"/>
                  </a:lnTo>
                  <a:lnTo>
                    <a:pt x="114" y="303"/>
                  </a:lnTo>
                  <a:lnTo>
                    <a:pt x="143" y="309"/>
                  </a:lnTo>
                  <a:lnTo>
                    <a:pt x="123" y="322"/>
                  </a:lnTo>
                  <a:lnTo>
                    <a:pt x="136" y="354"/>
                  </a:lnTo>
                  <a:lnTo>
                    <a:pt x="114" y="332"/>
                  </a:lnTo>
                  <a:lnTo>
                    <a:pt x="123" y="382"/>
                  </a:lnTo>
                  <a:lnTo>
                    <a:pt x="132" y="393"/>
                  </a:lnTo>
                  <a:lnTo>
                    <a:pt x="148" y="395"/>
                  </a:lnTo>
                  <a:lnTo>
                    <a:pt x="154" y="406"/>
                  </a:lnTo>
                  <a:lnTo>
                    <a:pt x="154" y="418"/>
                  </a:lnTo>
                  <a:lnTo>
                    <a:pt x="147" y="424"/>
                  </a:lnTo>
                  <a:lnTo>
                    <a:pt x="150" y="444"/>
                  </a:lnTo>
                  <a:lnTo>
                    <a:pt x="212" y="510"/>
                  </a:lnTo>
                  <a:lnTo>
                    <a:pt x="212" y="523"/>
                  </a:lnTo>
                  <a:lnTo>
                    <a:pt x="228" y="535"/>
                  </a:lnTo>
                  <a:lnTo>
                    <a:pt x="232" y="576"/>
                  </a:lnTo>
                  <a:lnTo>
                    <a:pt x="273" y="588"/>
                  </a:lnTo>
                  <a:lnTo>
                    <a:pt x="286" y="587"/>
                  </a:lnTo>
                  <a:lnTo>
                    <a:pt x="339" y="619"/>
                  </a:lnTo>
                  <a:lnTo>
                    <a:pt x="343" y="612"/>
                  </a:lnTo>
                  <a:lnTo>
                    <a:pt x="352" y="613"/>
                  </a:lnTo>
                  <a:lnTo>
                    <a:pt x="365" y="636"/>
                  </a:lnTo>
                  <a:lnTo>
                    <a:pt x="393" y="644"/>
                  </a:lnTo>
                  <a:lnTo>
                    <a:pt x="426" y="678"/>
                  </a:lnTo>
                  <a:lnTo>
                    <a:pt x="433" y="687"/>
                  </a:lnTo>
                  <a:lnTo>
                    <a:pt x="438" y="724"/>
                  </a:lnTo>
                  <a:lnTo>
                    <a:pt x="489" y="720"/>
                  </a:lnTo>
                  <a:lnTo>
                    <a:pt x="532" y="718"/>
                  </a:lnTo>
                  <a:lnTo>
                    <a:pt x="575" y="713"/>
                  </a:lnTo>
                  <a:lnTo>
                    <a:pt x="579" y="706"/>
                  </a:lnTo>
                  <a:lnTo>
                    <a:pt x="589" y="707"/>
                  </a:lnTo>
                  <a:lnTo>
                    <a:pt x="595" y="698"/>
                  </a:lnTo>
                  <a:lnTo>
                    <a:pt x="594" y="690"/>
                  </a:lnTo>
                  <a:lnTo>
                    <a:pt x="579" y="682"/>
                  </a:lnTo>
                  <a:lnTo>
                    <a:pt x="578" y="658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19" name="Freeform 17">
              <a:extLst>
                <a:ext uri="{FF2B5EF4-FFF2-40B4-BE49-F238E27FC236}">
                  <a16:creationId xmlns:a16="http://schemas.microsoft.com/office/drawing/2014/main" id="{F558DDB8-7079-4FC7-A5F9-E3C8414CE25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47728" y="3476347"/>
              <a:ext cx="515597" cy="603732"/>
            </a:xfrm>
            <a:custGeom>
              <a:avLst/>
              <a:gdLst>
                <a:gd name="T0" fmla="*/ 0 w 302"/>
                <a:gd name="T1" fmla="*/ 0 h 391"/>
                <a:gd name="T2" fmla="*/ 0 w 302"/>
                <a:gd name="T3" fmla="*/ 0 h 391"/>
                <a:gd name="T4" fmla="*/ 0 w 302"/>
                <a:gd name="T5" fmla="*/ 0 h 391"/>
                <a:gd name="T6" fmla="*/ 0 w 302"/>
                <a:gd name="T7" fmla="*/ 0 h 391"/>
                <a:gd name="T8" fmla="*/ 0 w 302"/>
                <a:gd name="T9" fmla="*/ 0 h 391"/>
                <a:gd name="T10" fmla="*/ 0 w 302"/>
                <a:gd name="T11" fmla="*/ 0 h 391"/>
                <a:gd name="T12" fmla="*/ 0 w 302"/>
                <a:gd name="T13" fmla="*/ 0 h 391"/>
                <a:gd name="T14" fmla="*/ 0 w 302"/>
                <a:gd name="T15" fmla="*/ 0 h 391"/>
                <a:gd name="T16" fmla="*/ 0 w 302"/>
                <a:gd name="T17" fmla="*/ 0 h 391"/>
                <a:gd name="T18" fmla="*/ 0 w 302"/>
                <a:gd name="T19" fmla="*/ 0 h 391"/>
                <a:gd name="T20" fmla="*/ 0 w 302"/>
                <a:gd name="T21" fmla="*/ 0 h 391"/>
                <a:gd name="T22" fmla="*/ 0 w 302"/>
                <a:gd name="T23" fmla="*/ 0 h 391"/>
                <a:gd name="T24" fmla="*/ 0 w 302"/>
                <a:gd name="T25" fmla="*/ 0 h 391"/>
                <a:gd name="T26" fmla="*/ 0 w 302"/>
                <a:gd name="T27" fmla="*/ 0 h 391"/>
                <a:gd name="T28" fmla="*/ 0 w 302"/>
                <a:gd name="T29" fmla="*/ 0 h 391"/>
                <a:gd name="T30" fmla="*/ 0 w 302"/>
                <a:gd name="T31" fmla="*/ 0 h 391"/>
                <a:gd name="T32" fmla="*/ 0 w 302"/>
                <a:gd name="T33" fmla="*/ 0 h 391"/>
                <a:gd name="T34" fmla="*/ 0 w 302"/>
                <a:gd name="T35" fmla="*/ 0 h 39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2"/>
                <a:gd name="T55" fmla="*/ 0 h 391"/>
                <a:gd name="T56" fmla="*/ 302 w 302"/>
                <a:gd name="T57" fmla="*/ 391 h 39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2" h="391">
                  <a:moveTo>
                    <a:pt x="37" y="0"/>
                  </a:moveTo>
                  <a:lnTo>
                    <a:pt x="182" y="0"/>
                  </a:lnTo>
                  <a:lnTo>
                    <a:pt x="182" y="80"/>
                  </a:lnTo>
                  <a:lnTo>
                    <a:pt x="241" y="80"/>
                  </a:lnTo>
                  <a:lnTo>
                    <a:pt x="302" y="80"/>
                  </a:lnTo>
                  <a:lnTo>
                    <a:pt x="302" y="186"/>
                  </a:lnTo>
                  <a:lnTo>
                    <a:pt x="302" y="305"/>
                  </a:lnTo>
                  <a:lnTo>
                    <a:pt x="302" y="391"/>
                  </a:lnTo>
                  <a:lnTo>
                    <a:pt x="250" y="391"/>
                  </a:lnTo>
                  <a:lnTo>
                    <a:pt x="187" y="391"/>
                  </a:lnTo>
                  <a:lnTo>
                    <a:pt x="109" y="391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0" y="304"/>
                  </a:lnTo>
                  <a:lnTo>
                    <a:pt x="0" y="194"/>
                  </a:lnTo>
                  <a:lnTo>
                    <a:pt x="0" y="90"/>
                  </a:lnTo>
                  <a:lnTo>
                    <a:pt x="0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0" name="Freeform 18">
              <a:extLst>
                <a:ext uri="{FF2B5EF4-FFF2-40B4-BE49-F238E27FC236}">
                  <a16:creationId xmlns:a16="http://schemas.microsoft.com/office/drawing/2014/main" id="{114655F1-36F7-46F5-A8B3-0636C32A90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22131" y="3476347"/>
              <a:ext cx="625593" cy="831674"/>
            </a:xfrm>
            <a:custGeom>
              <a:avLst/>
              <a:gdLst>
                <a:gd name="T0" fmla="*/ 0 w 363"/>
                <a:gd name="T1" fmla="*/ 0 h 542"/>
                <a:gd name="T2" fmla="*/ 0 w 363"/>
                <a:gd name="T3" fmla="*/ 0 h 542"/>
                <a:gd name="T4" fmla="*/ 0 w 363"/>
                <a:gd name="T5" fmla="*/ 0 h 542"/>
                <a:gd name="T6" fmla="*/ 0 w 363"/>
                <a:gd name="T7" fmla="*/ 0 h 542"/>
                <a:gd name="T8" fmla="*/ 0 w 363"/>
                <a:gd name="T9" fmla="*/ 0 h 542"/>
                <a:gd name="T10" fmla="*/ 0 w 363"/>
                <a:gd name="T11" fmla="*/ 0 h 542"/>
                <a:gd name="T12" fmla="*/ 0 w 363"/>
                <a:gd name="T13" fmla="*/ 0 h 542"/>
                <a:gd name="T14" fmla="*/ 0 w 363"/>
                <a:gd name="T15" fmla="*/ 0 h 542"/>
                <a:gd name="T16" fmla="*/ 0 w 363"/>
                <a:gd name="T17" fmla="*/ 0 h 542"/>
                <a:gd name="T18" fmla="*/ 0 w 363"/>
                <a:gd name="T19" fmla="*/ 0 h 542"/>
                <a:gd name="T20" fmla="*/ 0 w 363"/>
                <a:gd name="T21" fmla="*/ 0 h 542"/>
                <a:gd name="T22" fmla="*/ 0 w 363"/>
                <a:gd name="T23" fmla="*/ 0 h 542"/>
                <a:gd name="T24" fmla="*/ 0 w 363"/>
                <a:gd name="T25" fmla="*/ 0 h 542"/>
                <a:gd name="T26" fmla="*/ 0 w 363"/>
                <a:gd name="T27" fmla="*/ 0 h 542"/>
                <a:gd name="T28" fmla="*/ 0 w 363"/>
                <a:gd name="T29" fmla="*/ 0 h 542"/>
                <a:gd name="T30" fmla="*/ 0 w 363"/>
                <a:gd name="T31" fmla="*/ 0 h 542"/>
                <a:gd name="T32" fmla="*/ 0 w 363"/>
                <a:gd name="T33" fmla="*/ 0 h 542"/>
                <a:gd name="T34" fmla="*/ 0 w 363"/>
                <a:gd name="T35" fmla="*/ 0 h 542"/>
                <a:gd name="T36" fmla="*/ 0 w 363"/>
                <a:gd name="T37" fmla="*/ 0 h 542"/>
                <a:gd name="T38" fmla="*/ 0 w 363"/>
                <a:gd name="T39" fmla="*/ 0 h 542"/>
                <a:gd name="T40" fmla="*/ 0 w 363"/>
                <a:gd name="T41" fmla="*/ 0 h 542"/>
                <a:gd name="T42" fmla="*/ 0 w 363"/>
                <a:gd name="T43" fmla="*/ 0 h 542"/>
                <a:gd name="T44" fmla="*/ 0 w 363"/>
                <a:gd name="T45" fmla="*/ 0 h 542"/>
                <a:gd name="T46" fmla="*/ 0 w 363"/>
                <a:gd name="T47" fmla="*/ 0 h 5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63"/>
                <a:gd name="T73" fmla="*/ 0 h 542"/>
                <a:gd name="T74" fmla="*/ 363 w 363"/>
                <a:gd name="T75" fmla="*/ 542 h 5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63" h="542">
                  <a:moveTo>
                    <a:pt x="268" y="486"/>
                  </a:moveTo>
                  <a:lnTo>
                    <a:pt x="182" y="410"/>
                  </a:lnTo>
                  <a:lnTo>
                    <a:pt x="120" y="352"/>
                  </a:lnTo>
                  <a:lnTo>
                    <a:pt x="55" y="289"/>
                  </a:lnTo>
                  <a:lnTo>
                    <a:pt x="0" y="239"/>
                  </a:lnTo>
                  <a:lnTo>
                    <a:pt x="0" y="144"/>
                  </a:lnTo>
                  <a:lnTo>
                    <a:pt x="0" y="67"/>
                  </a:lnTo>
                  <a:lnTo>
                    <a:pt x="0" y="0"/>
                  </a:lnTo>
                  <a:lnTo>
                    <a:pt x="59" y="0"/>
                  </a:lnTo>
                  <a:lnTo>
                    <a:pt x="119" y="0"/>
                  </a:lnTo>
                  <a:lnTo>
                    <a:pt x="181" y="0"/>
                  </a:lnTo>
                  <a:lnTo>
                    <a:pt x="239" y="0"/>
                  </a:lnTo>
                  <a:lnTo>
                    <a:pt x="297" y="0"/>
                  </a:lnTo>
                  <a:lnTo>
                    <a:pt x="363" y="0"/>
                  </a:lnTo>
                  <a:lnTo>
                    <a:pt x="363" y="90"/>
                  </a:lnTo>
                  <a:lnTo>
                    <a:pt x="363" y="194"/>
                  </a:lnTo>
                  <a:lnTo>
                    <a:pt x="363" y="304"/>
                  </a:lnTo>
                  <a:lnTo>
                    <a:pt x="363" y="452"/>
                  </a:lnTo>
                  <a:lnTo>
                    <a:pt x="357" y="464"/>
                  </a:lnTo>
                  <a:lnTo>
                    <a:pt x="330" y="456"/>
                  </a:lnTo>
                  <a:lnTo>
                    <a:pt x="321" y="472"/>
                  </a:lnTo>
                  <a:lnTo>
                    <a:pt x="329" y="517"/>
                  </a:lnTo>
                  <a:lnTo>
                    <a:pt x="326" y="542"/>
                  </a:lnTo>
                  <a:lnTo>
                    <a:pt x="268" y="486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1" name="Freeform 19">
              <a:extLst>
                <a:ext uri="{FF2B5EF4-FFF2-40B4-BE49-F238E27FC236}">
                  <a16:creationId xmlns:a16="http://schemas.microsoft.com/office/drawing/2014/main" id="{EB55B73E-3379-47B3-9768-F19328BCFB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406" y="2928053"/>
              <a:ext cx="824953" cy="548282"/>
            </a:xfrm>
            <a:custGeom>
              <a:avLst/>
              <a:gdLst>
                <a:gd name="T0" fmla="*/ 0 w 480"/>
                <a:gd name="T1" fmla="*/ 0 h 355"/>
                <a:gd name="T2" fmla="*/ 0 w 480"/>
                <a:gd name="T3" fmla="*/ 0 h 355"/>
                <a:gd name="T4" fmla="*/ 0 w 480"/>
                <a:gd name="T5" fmla="*/ 0 h 355"/>
                <a:gd name="T6" fmla="*/ 0 w 480"/>
                <a:gd name="T7" fmla="*/ 0 h 355"/>
                <a:gd name="T8" fmla="*/ 0 w 480"/>
                <a:gd name="T9" fmla="*/ 0 h 355"/>
                <a:gd name="T10" fmla="*/ 0 w 480"/>
                <a:gd name="T11" fmla="*/ 0 h 355"/>
                <a:gd name="T12" fmla="*/ 0 w 480"/>
                <a:gd name="T13" fmla="*/ 0 h 355"/>
                <a:gd name="T14" fmla="*/ 0 w 480"/>
                <a:gd name="T15" fmla="*/ 0 h 355"/>
                <a:gd name="T16" fmla="*/ 0 w 480"/>
                <a:gd name="T17" fmla="*/ 0 h 355"/>
                <a:gd name="T18" fmla="*/ 0 w 480"/>
                <a:gd name="T19" fmla="*/ 0 h 355"/>
                <a:gd name="T20" fmla="*/ 0 w 480"/>
                <a:gd name="T21" fmla="*/ 0 h 355"/>
                <a:gd name="T22" fmla="*/ 0 w 480"/>
                <a:gd name="T23" fmla="*/ 0 h 355"/>
                <a:gd name="T24" fmla="*/ 0 w 480"/>
                <a:gd name="T25" fmla="*/ 0 h 355"/>
                <a:gd name="T26" fmla="*/ 0 w 480"/>
                <a:gd name="T27" fmla="*/ 0 h 355"/>
                <a:gd name="T28" fmla="*/ 0 w 480"/>
                <a:gd name="T29" fmla="*/ 0 h 355"/>
                <a:gd name="T30" fmla="*/ 0 w 480"/>
                <a:gd name="T31" fmla="*/ 0 h 355"/>
                <a:gd name="T32" fmla="*/ 0 w 480"/>
                <a:gd name="T33" fmla="*/ 0 h 355"/>
                <a:gd name="T34" fmla="*/ 0 w 480"/>
                <a:gd name="T35" fmla="*/ 0 h 355"/>
                <a:gd name="T36" fmla="*/ 0 w 480"/>
                <a:gd name="T37" fmla="*/ 0 h 355"/>
                <a:gd name="T38" fmla="*/ 0 w 480"/>
                <a:gd name="T39" fmla="*/ 0 h 355"/>
                <a:gd name="T40" fmla="*/ 0 w 480"/>
                <a:gd name="T41" fmla="*/ 0 h 355"/>
                <a:gd name="T42" fmla="*/ 0 w 480"/>
                <a:gd name="T43" fmla="*/ 0 h 355"/>
                <a:gd name="T44" fmla="*/ 0 w 480"/>
                <a:gd name="T45" fmla="*/ 0 h 355"/>
                <a:gd name="T46" fmla="*/ 0 w 480"/>
                <a:gd name="T47" fmla="*/ 0 h 355"/>
                <a:gd name="T48" fmla="*/ 0 w 480"/>
                <a:gd name="T49" fmla="*/ 0 h 355"/>
                <a:gd name="T50" fmla="*/ 0 w 480"/>
                <a:gd name="T51" fmla="*/ 0 h 355"/>
                <a:gd name="T52" fmla="*/ 0 w 480"/>
                <a:gd name="T53" fmla="*/ 0 h 355"/>
                <a:gd name="T54" fmla="*/ 0 w 480"/>
                <a:gd name="T55" fmla="*/ 0 h 355"/>
                <a:gd name="T56" fmla="*/ 0 w 480"/>
                <a:gd name="T57" fmla="*/ 0 h 355"/>
                <a:gd name="T58" fmla="*/ 0 w 480"/>
                <a:gd name="T59" fmla="*/ 0 h 355"/>
                <a:gd name="T60" fmla="*/ 0 w 480"/>
                <a:gd name="T61" fmla="*/ 0 h 355"/>
                <a:gd name="T62" fmla="*/ 0 w 480"/>
                <a:gd name="T63" fmla="*/ 0 h 355"/>
                <a:gd name="T64" fmla="*/ 0 w 480"/>
                <a:gd name="T65" fmla="*/ 0 h 355"/>
                <a:gd name="T66" fmla="*/ 0 w 480"/>
                <a:gd name="T67" fmla="*/ 0 h 355"/>
                <a:gd name="T68" fmla="*/ 0 w 480"/>
                <a:gd name="T69" fmla="*/ 0 h 355"/>
                <a:gd name="T70" fmla="*/ 0 w 480"/>
                <a:gd name="T71" fmla="*/ 0 h 355"/>
                <a:gd name="T72" fmla="*/ 0 w 480"/>
                <a:gd name="T73" fmla="*/ 0 h 355"/>
                <a:gd name="T74" fmla="*/ 0 w 480"/>
                <a:gd name="T75" fmla="*/ 0 h 3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0"/>
                <a:gd name="T115" fmla="*/ 0 h 355"/>
                <a:gd name="T116" fmla="*/ 480 w 480"/>
                <a:gd name="T117" fmla="*/ 355 h 3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0" h="355">
                  <a:moveTo>
                    <a:pt x="384" y="355"/>
                  </a:moveTo>
                  <a:lnTo>
                    <a:pt x="324" y="355"/>
                  </a:lnTo>
                  <a:lnTo>
                    <a:pt x="265" y="355"/>
                  </a:lnTo>
                  <a:lnTo>
                    <a:pt x="203" y="355"/>
                  </a:lnTo>
                  <a:lnTo>
                    <a:pt x="135" y="355"/>
                  </a:lnTo>
                  <a:lnTo>
                    <a:pt x="70" y="355"/>
                  </a:lnTo>
                  <a:lnTo>
                    <a:pt x="16" y="355"/>
                  </a:lnTo>
                  <a:lnTo>
                    <a:pt x="6" y="327"/>
                  </a:lnTo>
                  <a:lnTo>
                    <a:pt x="0" y="283"/>
                  </a:lnTo>
                  <a:lnTo>
                    <a:pt x="7" y="253"/>
                  </a:lnTo>
                  <a:lnTo>
                    <a:pt x="19" y="237"/>
                  </a:lnTo>
                  <a:lnTo>
                    <a:pt x="15" y="228"/>
                  </a:lnTo>
                  <a:lnTo>
                    <a:pt x="25" y="166"/>
                  </a:lnTo>
                  <a:lnTo>
                    <a:pt x="35" y="4"/>
                  </a:lnTo>
                  <a:lnTo>
                    <a:pt x="73" y="0"/>
                  </a:lnTo>
                  <a:lnTo>
                    <a:pt x="91" y="12"/>
                  </a:lnTo>
                  <a:lnTo>
                    <a:pt x="99" y="47"/>
                  </a:lnTo>
                  <a:lnTo>
                    <a:pt x="127" y="56"/>
                  </a:lnTo>
                  <a:lnTo>
                    <a:pt x="156" y="41"/>
                  </a:lnTo>
                  <a:lnTo>
                    <a:pt x="187" y="43"/>
                  </a:lnTo>
                  <a:lnTo>
                    <a:pt x="195" y="52"/>
                  </a:lnTo>
                  <a:lnTo>
                    <a:pt x="228" y="39"/>
                  </a:lnTo>
                  <a:lnTo>
                    <a:pt x="252" y="40"/>
                  </a:lnTo>
                  <a:lnTo>
                    <a:pt x="291" y="24"/>
                  </a:lnTo>
                  <a:lnTo>
                    <a:pt x="327" y="18"/>
                  </a:lnTo>
                  <a:lnTo>
                    <a:pt x="393" y="18"/>
                  </a:lnTo>
                  <a:lnTo>
                    <a:pt x="454" y="18"/>
                  </a:lnTo>
                  <a:lnTo>
                    <a:pt x="463" y="32"/>
                  </a:lnTo>
                  <a:lnTo>
                    <a:pt x="475" y="39"/>
                  </a:lnTo>
                  <a:lnTo>
                    <a:pt x="480" y="52"/>
                  </a:lnTo>
                  <a:lnTo>
                    <a:pt x="454" y="119"/>
                  </a:lnTo>
                  <a:lnTo>
                    <a:pt x="435" y="149"/>
                  </a:lnTo>
                  <a:lnTo>
                    <a:pt x="437" y="166"/>
                  </a:lnTo>
                  <a:lnTo>
                    <a:pt x="454" y="175"/>
                  </a:lnTo>
                  <a:lnTo>
                    <a:pt x="446" y="204"/>
                  </a:lnTo>
                  <a:lnTo>
                    <a:pt x="446" y="278"/>
                  </a:lnTo>
                  <a:lnTo>
                    <a:pt x="446" y="355"/>
                  </a:lnTo>
                  <a:lnTo>
                    <a:pt x="384" y="355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2" name="Freeform 20">
              <a:extLst>
                <a:ext uri="{FF2B5EF4-FFF2-40B4-BE49-F238E27FC236}">
                  <a16:creationId xmlns:a16="http://schemas.microsoft.com/office/drawing/2014/main" id="{A9168913-AC6C-4BCC-B002-C02C12DF0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10868" y="2546100"/>
              <a:ext cx="646211" cy="930239"/>
            </a:xfrm>
            <a:custGeom>
              <a:avLst/>
              <a:gdLst>
                <a:gd name="T0" fmla="*/ 0 w 375"/>
                <a:gd name="T1" fmla="*/ 0 h 604"/>
                <a:gd name="T2" fmla="*/ 0 w 375"/>
                <a:gd name="T3" fmla="*/ 0 h 604"/>
                <a:gd name="T4" fmla="*/ 0 w 375"/>
                <a:gd name="T5" fmla="*/ 0 h 604"/>
                <a:gd name="T6" fmla="*/ 0 w 375"/>
                <a:gd name="T7" fmla="*/ 0 h 604"/>
                <a:gd name="T8" fmla="*/ 0 w 375"/>
                <a:gd name="T9" fmla="*/ 0 h 604"/>
                <a:gd name="T10" fmla="*/ 0 w 375"/>
                <a:gd name="T11" fmla="*/ 0 h 604"/>
                <a:gd name="T12" fmla="*/ 0 w 375"/>
                <a:gd name="T13" fmla="*/ 0 h 604"/>
                <a:gd name="T14" fmla="*/ 0 w 375"/>
                <a:gd name="T15" fmla="*/ 0 h 604"/>
                <a:gd name="T16" fmla="*/ 0 w 375"/>
                <a:gd name="T17" fmla="*/ 0 h 604"/>
                <a:gd name="T18" fmla="*/ 0 w 375"/>
                <a:gd name="T19" fmla="*/ 0 h 604"/>
                <a:gd name="T20" fmla="*/ 0 w 375"/>
                <a:gd name="T21" fmla="*/ 0 h 604"/>
                <a:gd name="T22" fmla="*/ 0 w 375"/>
                <a:gd name="T23" fmla="*/ 0 h 604"/>
                <a:gd name="T24" fmla="*/ 0 w 375"/>
                <a:gd name="T25" fmla="*/ 0 h 604"/>
                <a:gd name="T26" fmla="*/ 0 w 375"/>
                <a:gd name="T27" fmla="*/ 0 h 604"/>
                <a:gd name="T28" fmla="*/ 0 w 375"/>
                <a:gd name="T29" fmla="*/ 0 h 604"/>
                <a:gd name="T30" fmla="*/ 0 w 375"/>
                <a:gd name="T31" fmla="*/ 0 h 604"/>
                <a:gd name="T32" fmla="*/ 0 w 375"/>
                <a:gd name="T33" fmla="*/ 0 h 604"/>
                <a:gd name="T34" fmla="*/ 0 w 375"/>
                <a:gd name="T35" fmla="*/ 0 h 604"/>
                <a:gd name="T36" fmla="*/ 0 w 375"/>
                <a:gd name="T37" fmla="*/ 0 h 604"/>
                <a:gd name="T38" fmla="*/ 0 w 375"/>
                <a:gd name="T39" fmla="*/ 0 h 604"/>
                <a:gd name="T40" fmla="*/ 0 w 375"/>
                <a:gd name="T41" fmla="*/ 0 h 604"/>
                <a:gd name="T42" fmla="*/ 0 w 375"/>
                <a:gd name="T43" fmla="*/ 0 h 604"/>
                <a:gd name="T44" fmla="*/ 0 w 375"/>
                <a:gd name="T45" fmla="*/ 0 h 604"/>
                <a:gd name="T46" fmla="*/ 0 w 375"/>
                <a:gd name="T47" fmla="*/ 0 h 604"/>
                <a:gd name="T48" fmla="*/ 0 w 375"/>
                <a:gd name="T49" fmla="*/ 0 h 604"/>
                <a:gd name="T50" fmla="*/ 0 w 375"/>
                <a:gd name="T51" fmla="*/ 0 h 604"/>
                <a:gd name="T52" fmla="*/ 0 w 375"/>
                <a:gd name="T53" fmla="*/ 0 h 604"/>
                <a:gd name="T54" fmla="*/ 0 w 375"/>
                <a:gd name="T55" fmla="*/ 0 h 604"/>
                <a:gd name="T56" fmla="*/ 0 w 375"/>
                <a:gd name="T57" fmla="*/ 0 h 604"/>
                <a:gd name="T58" fmla="*/ 0 w 375"/>
                <a:gd name="T59" fmla="*/ 0 h 604"/>
                <a:gd name="T60" fmla="*/ 0 w 375"/>
                <a:gd name="T61" fmla="*/ 0 h 604"/>
                <a:gd name="T62" fmla="*/ 0 w 375"/>
                <a:gd name="T63" fmla="*/ 0 h 604"/>
                <a:gd name="T64" fmla="*/ 0 w 375"/>
                <a:gd name="T65" fmla="*/ 0 h 604"/>
                <a:gd name="T66" fmla="*/ 0 w 375"/>
                <a:gd name="T67" fmla="*/ 0 h 604"/>
                <a:gd name="T68" fmla="*/ 0 w 375"/>
                <a:gd name="T69" fmla="*/ 0 h 604"/>
                <a:gd name="T70" fmla="*/ 0 w 375"/>
                <a:gd name="T71" fmla="*/ 0 h 604"/>
                <a:gd name="T72" fmla="*/ 0 w 375"/>
                <a:gd name="T73" fmla="*/ 0 h 604"/>
                <a:gd name="T74" fmla="*/ 0 w 375"/>
                <a:gd name="T75" fmla="*/ 0 h 604"/>
                <a:gd name="T76" fmla="*/ 0 w 375"/>
                <a:gd name="T77" fmla="*/ 0 h 604"/>
                <a:gd name="T78" fmla="*/ 0 w 375"/>
                <a:gd name="T79" fmla="*/ 0 h 604"/>
                <a:gd name="T80" fmla="*/ 0 w 375"/>
                <a:gd name="T81" fmla="*/ 0 h 604"/>
                <a:gd name="T82" fmla="*/ 0 w 375"/>
                <a:gd name="T83" fmla="*/ 0 h 604"/>
                <a:gd name="T84" fmla="*/ 0 w 375"/>
                <a:gd name="T85" fmla="*/ 0 h 604"/>
                <a:gd name="T86" fmla="*/ 0 w 375"/>
                <a:gd name="T87" fmla="*/ 0 h 604"/>
                <a:gd name="T88" fmla="*/ 0 w 375"/>
                <a:gd name="T89" fmla="*/ 0 h 604"/>
                <a:gd name="T90" fmla="*/ 0 w 375"/>
                <a:gd name="T91" fmla="*/ 0 h 604"/>
                <a:gd name="T92" fmla="*/ 0 w 375"/>
                <a:gd name="T93" fmla="*/ 0 h 604"/>
                <a:gd name="T94" fmla="*/ 0 w 375"/>
                <a:gd name="T95" fmla="*/ 0 h 604"/>
                <a:gd name="T96" fmla="*/ 0 w 375"/>
                <a:gd name="T97" fmla="*/ 0 h 604"/>
                <a:gd name="T98" fmla="*/ 0 w 375"/>
                <a:gd name="T99" fmla="*/ 0 h 604"/>
                <a:gd name="T100" fmla="*/ 0 w 375"/>
                <a:gd name="T101" fmla="*/ 0 h 604"/>
                <a:gd name="T102" fmla="*/ 0 w 375"/>
                <a:gd name="T103" fmla="*/ 0 h 604"/>
                <a:gd name="T104" fmla="*/ 0 w 375"/>
                <a:gd name="T105" fmla="*/ 0 h 6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75"/>
                <a:gd name="T160" fmla="*/ 0 h 604"/>
                <a:gd name="T161" fmla="*/ 375 w 375"/>
                <a:gd name="T162" fmla="*/ 604 h 6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75" h="604">
                  <a:moveTo>
                    <a:pt x="69" y="604"/>
                  </a:moveTo>
                  <a:lnTo>
                    <a:pt x="127" y="604"/>
                  </a:lnTo>
                  <a:lnTo>
                    <a:pt x="375" y="604"/>
                  </a:lnTo>
                  <a:lnTo>
                    <a:pt x="375" y="499"/>
                  </a:lnTo>
                  <a:lnTo>
                    <a:pt x="375" y="396"/>
                  </a:lnTo>
                  <a:lnTo>
                    <a:pt x="355" y="374"/>
                  </a:lnTo>
                  <a:lnTo>
                    <a:pt x="349" y="378"/>
                  </a:lnTo>
                  <a:lnTo>
                    <a:pt x="349" y="392"/>
                  </a:lnTo>
                  <a:lnTo>
                    <a:pt x="302" y="391"/>
                  </a:lnTo>
                  <a:lnTo>
                    <a:pt x="294" y="399"/>
                  </a:lnTo>
                  <a:lnTo>
                    <a:pt x="270" y="398"/>
                  </a:lnTo>
                  <a:lnTo>
                    <a:pt x="266" y="407"/>
                  </a:lnTo>
                  <a:lnTo>
                    <a:pt x="256" y="399"/>
                  </a:lnTo>
                  <a:lnTo>
                    <a:pt x="246" y="372"/>
                  </a:lnTo>
                  <a:lnTo>
                    <a:pt x="229" y="366"/>
                  </a:lnTo>
                  <a:lnTo>
                    <a:pt x="229" y="351"/>
                  </a:lnTo>
                  <a:lnTo>
                    <a:pt x="212" y="327"/>
                  </a:lnTo>
                  <a:lnTo>
                    <a:pt x="207" y="301"/>
                  </a:lnTo>
                  <a:lnTo>
                    <a:pt x="196" y="292"/>
                  </a:lnTo>
                  <a:lnTo>
                    <a:pt x="176" y="312"/>
                  </a:lnTo>
                  <a:lnTo>
                    <a:pt x="162" y="305"/>
                  </a:lnTo>
                  <a:lnTo>
                    <a:pt x="166" y="292"/>
                  </a:lnTo>
                  <a:lnTo>
                    <a:pt x="160" y="286"/>
                  </a:lnTo>
                  <a:lnTo>
                    <a:pt x="172" y="277"/>
                  </a:lnTo>
                  <a:lnTo>
                    <a:pt x="164" y="253"/>
                  </a:lnTo>
                  <a:lnTo>
                    <a:pt x="170" y="251"/>
                  </a:lnTo>
                  <a:lnTo>
                    <a:pt x="175" y="208"/>
                  </a:lnTo>
                  <a:lnTo>
                    <a:pt x="148" y="203"/>
                  </a:lnTo>
                  <a:lnTo>
                    <a:pt x="115" y="157"/>
                  </a:lnTo>
                  <a:lnTo>
                    <a:pt x="90" y="140"/>
                  </a:lnTo>
                  <a:lnTo>
                    <a:pt x="96" y="136"/>
                  </a:lnTo>
                  <a:lnTo>
                    <a:pt x="89" y="129"/>
                  </a:lnTo>
                  <a:lnTo>
                    <a:pt x="93" y="124"/>
                  </a:lnTo>
                  <a:lnTo>
                    <a:pt x="90" y="116"/>
                  </a:lnTo>
                  <a:lnTo>
                    <a:pt x="70" y="89"/>
                  </a:lnTo>
                  <a:lnTo>
                    <a:pt x="69" y="0"/>
                  </a:lnTo>
                  <a:lnTo>
                    <a:pt x="11" y="0"/>
                  </a:lnTo>
                  <a:lnTo>
                    <a:pt x="11" y="79"/>
                  </a:lnTo>
                  <a:lnTo>
                    <a:pt x="10" y="153"/>
                  </a:lnTo>
                  <a:lnTo>
                    <a:pt x="11" y="228"/>
                  </a:lnTo>
                  <a:lnTo>
                    <a:pt x="18" y="252"/>
                  </a:lnTo>
                  <a:lnTo>
                    <a:pt x="19" y="267"/>
                  </a:lnTo>
                  <a:lnTo>
                    <a:pt x="28" y="281"/>
                  </a:lnTo>
                  <a:lnTo>
                    <a:pt x="40" y="288"/>
                  </a:lnTo>
                  <a:lnTo>
                    <a:pt x="45" y="301"/>
                  </a:lnTo>
                  <a:lnTo>
                    <a:pt x="19" y="368"/>
                  </a:lnTo>
                  <a:lnTo>
                    <a:pt x="0" y="398"/>
                  </a:lnTo>
                  <a:lnTo>
                    <a:pt x="2" y="415"/>
                  </a:lnTo>
                  <a:lnTo>
                    <a:pt x="19" y="424"/>
                  </a:lnTo>
                  <a:lnTo>
                    <a:pt x="11" y="453"/>
                  </a:lnTo>
                  <a:lnTo>
                    <a:pt x="11" y="527"/>
                  </a:lnTo>
                  <a:lnTo>
                    <a:pt x="11" y="604"/>
                  </a:lnTo>
                  <a:lnTo>
                    <a:pt x="69" y="604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3" name="Freeform 21">
              <a:extLst>
                <a:ext uri="{FF2B5EF4-FFF2-40B4-BE49-F238E27FC236}">
                  <a16:creationId xmlns:a16="http://schemas.microsoft.com/office/drawing/2014/main" id="{BB28DAA8-5D9A-4455-AAD3-961F48B153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0910" y="2546100"/>
              <a:ext cx="804335" cy="468201"/>
            </a:xfrm>
            <a:custGeom>
              <a:avLst/>
              <a:gdLst>
                <a:gd name="T0" fmla="*/ 0 w 467"/>
                <a:gd name="T1" fmla="*/ 0 h 305"/>
                <a:gd name="T2" fmla="*/ 0 w 467"/>
                <a:gd name="T3" fmla="*/ 0 h 305"/>
                <a:gd name="T4" fmla="*/ 0 w 467"/>
                <a:gd name="T5" fmla="*/ 0 h 305"/>
                <a:gd name="T6" fmla="*/ 0 w 467"/>
                <a:gd name="T7" fmla="*/ 0 h 305"/>
                <a:gd name="T8" fmla="*/ 0 w 467"/>
                <a:gd name="T9" fmla="*/ 0 h 305"/>
                <a:gd name="T10" fmla="*/ 0 w 467"/>
                <a:gd name="T11" fmla="*/ 0 h 305"/>
                <a:gd name="T12" fmla="*/ 0 w 467"/>
                <a:gd name="T13" fmla="*/ 0 h 305"/>
                <a:gd name="T14" fmla="*/ 0 w 467"/>
                <a:gd name="T15" fmla="*/ 0 h 305"/>
                <a:gd name="T16" fmla="*/ 0 w 467"/>
                <a:gd name="T17" fmla="*/ 0 h 305"/>
                <a:gd name="T18" fmla="*/ 0 w 467"/>
                <a:gd name="T19" fmla="*/ 0 h 305"/>
                <a:gd name="T20" fmla="*/ 0 w 467"/>
                <a:gd name="T21" fmla="*/ 0 h 305"/>
                <a:gd name="T22" fmla="*/ 0 w 467"/>
                <a:gd name="T23" fmla="*/ 0 h 305"/>
                <a:gd name="T24" fmla="*/ 0 w 467"/>
                <a:gd name="T25" fmla="*/ 0 h 305"/>
                <a:gd name="T26" fmla="*/ 0 w 467"/>
                <a:gd name="T27" fmla="*/ 0 h 305"/>
                <a:gd name="T28" fmla="*/ 0 w 467"/>
                <a:gd name="T29" fmla="*/ 0 h 305"/>
                <a:gd name="T30" fmla="*/ 0 w 467"/>
                <a:gd name="T31" fmla="*/ 0 h 305"/>
                <a:gd name="T32" fmla="*/ 0 w 467"/>
                <a:gd name="T33" fmla="*/ 0 h 305"/>
                <a:gd name="T34" fmla="*/ 0 w 467"/>
                <a:gd name="T35" fmla="*/ 0 h 305"/>
                <a:gd name="T36" fmla="*/ 0 w 467"/>
                <a:gd name="T37" fmla="*/ 0 h 305"/>
                <a:gd name="T38" fmla="*/ 0 w 467"/>
                <a:gd name="T39" fmla="*/ 0 h 305"/>
                <a:gd name="T40" fmla="*/ 0 w 467"/>
                <a:gd name="T41" fmla="*/ 0 h 305"/>
                <a:gd name="T42" fmla="*/ 0 w 467"/>
                <a:gd name="T43" fmla="*/ 0 h 305"/>
                <a:gd name="T44" fmla="*/ 0 w 467"/>
                <a:gd name="T45" fmla="*/ 0 h 305"/>
                <a:gd name="T46" fmla="*/ 0 w 467"/>
                <a:gd name="T47" fmla="*/ 0 h 305"/>
                <a:gd name="T48" fmla="*/ 0 w 467"/>
                <a:gd name="T49" fmla="*/ 0 h 305"/>
                <a:gd name="T50" fmla="*/ 0 w 467"/>
                <a:gd name="T51" fmla="*/ 0 h 305"/>
                <a:gd name="T52" fmla="*/ 0 w 467"/>
                <a:gd name="T53" fmla="*/ 0 h 305"/>
                <a:gd name="T54" fmla="*/ 0 w 467"/>
                <a:gd name="T55" fmla="*/ 0 h 305"/>
                <a:gd name="T56" fmla="*/ 0 w 467"/>
                <a:gd name="T57" fmla="*/ 0 h 305"/>
                <a:gd name="T58" fmla="*/ 0 w 467"/>
                <a:gd name="T59" fmla="*/ 0 h 305"/>
                <a:gd name="T60" fmla="*/ 0 w 467"/>
                <a:gd name="T61" fmla="*/ 0 h 305"/>
                <a:gd name="T62" fmla="*/ 0 w 467"/>
                <a:gd name="T63" fmla="*/ 0 h 305"/>
                <a:gd name="T64" fmla="*/ 0 w 467"/>
                <a:gd name="T65" fmla="*/ 0 h 305"/>
                <a:gd name="T66" fmla="*/ 0 w 467"/>
                <a:gd name="T67" fmla="*/ 0 h 305"/>
                <a:gd name="T68" fmla="*/ 0 w 467"/>
                <a:gd name="T69" fmla="*/ 0 h 305"/>
                <a:gd name="T70" fmla="*/ 0 w 467"/>
                <a:gd name="T71" fmla="*/ 0 h 305"/>
                <a:gd name="T72" fmla="*/ 0 w 467"/>
                <a:gd name="T73" fmla="*/ 0 h 305"/>
                <a:gd name="T74" fmla="*/ 0 w 467"/>
                <a:gd name="T75" fmla="*/ 0 h 305"/>
                <a:gd name="T76" fmla="*/ 0 w 467"/>
                <a:gd name="T77" fmla="*/ 0 h 305"/>
                <a:gd name="T78" fmla="*/ 0 w 467"/>
                <a:gd name="T79" fmla="*/ 0 h 305"/>
                <a:gd name="T80" fmla="*/ 0 w 467"/>
                <a:gd name="T81" fmla="*/ 0 h 305"/>
                <a:gd name="T82" fmla="*/ 0 w 467"/>
                <a:gd name="T83" fmla="*/ 0 h 305"/>
                <a:gd name="T84" fmla="*/ 0 w 467"/>
                <a:gd name="T85" fmla="*/ 0 h 305"/>
                <a:gd name="T86" fmla="*/ 0 w 467"/>
                <a:gd name="T87" fmla="*/ 0 h 305"/>
                <a:gd name="T88" fmla="*/ 0 w 467"/>
                <a:gd name="T89" fmla="*/ 0 h 305"/>
                <a:gd name="T90" fmla="*/ 0 w 467"/>
                <a:gd name="T91" fmla="*/ 0 h 305"/>
                <a:gd name="T92" fmla="*/ 0 w 467"/>
                <a:gd name="T93" fmla="*/ 0 h 305"/>
                <a:gd name="T94" fmla="*/ 0 w 467"/>
                <a:gd name="T95" fmla="*/ 0 h 305"/>
                <a:gd name="T96" fmla="*/ 0 w 467"/>
                <a:gd name="T97" fmla="*/ 0 h 305"/>
                <a:gd name="T98" fmla="*/ 0 w 467"/>
                <a:gd name="T99" fmla="*/ 0 h 305"/>
                <a:gd name="T100" fmla="*/ 0 w 467"/>
                <a:gd name="T101" fmla="*/ 0 h 305"/>
                <a:gd name="T102" fmla="*/ 0 w 467"/>
                <a:gd name="T103" fmla="*/ 0 h 305"/>
                <a:gd name="T104" fmla="*/ 0 w 467"/>
                <a:gd name="T105" fmla="*/ 0 h 305"/>
                <a:gd name="T106" fmla="*/ 0 w 467"/>
                <a:gd name="T107" fmla="*/ 0 h 305"/>
                <a:gd name="T108" fmla="*/ 0 w 467"/>
                <a:gd name="T109" fmla="*/ 0 h 30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67"/>
                <a:gd name="T166" fmla="*/ 0 h 305"/>
                <a:gd name="T167" fmla="*/ 467 w 467"/>
                <a:gd name="T168" fmla="*/ 305 h 30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67" h="305">
                  <a:moveTo>
                    <a:pt x="181" y="0"/>
                  </a:moveTo>
                  <a:lnTo>
                    <a:pt x="229" y="0"/>
                  </a:lnTo>
                  <a:lnTo>
                    <a:pt x="304" y="0"/>
                  </a:lnTo>
                  <a:lnTo>
                    <a:pt x="387" y="0"/>
                  </a:lnTo>
                  <a:lnTo>
                    <a:pt x="459" y="0"/>
                  </a:lnTo>
                  <a:lnTo>
                    <a:pt x="459" y="79"/>
                  </a:lnTo>
                  <a:lnTo>
                    <a:pt x="458" y="153"/>
                  </a:lnTo>
                  <a:lnTo>
                    <a:pt x="459" y="228"/>
                  </a:lnTo>
                  <a:lnTo>
                    <a:pt x="466" y="252"/>
                  </a:lnTo>
                  <a:lnTo>
                    <a:pt x="467" y="267"/>
                  </a:lnTo>
                  <a:lnTo>
                    <a:pt x="406" y="267"/>
                  </a:lnTo>
                  <a:lnTo>
                    <a:pt x="340" y="267"/>
                  </a:lnTo>
                  <a:lnTo>
                    <a:pt x="304" y="273"/>
                  </a:lnTo>
                  <a:lnTo>
                    <a:pt x="265" y="289"/>
                  </a:lnTo>
                  <a:lnTo>
                    <a:pt x="241" y="288"/>
                  </a:lnTo>
                  <a:lnTo>
                    <a:pt x="208" y="301"/>
                  </a:lnTo>
                  <a:lnTo>
                    <a:pt x="200" y="292"/>
                  </a:lnTo>
                  <a:lnTo>
                    <a:pt x="169" y="290"/>
                  </a:lnTo>
                  <a:lnTo>
                    <a:pt x="140" y="305"/>
                  </a:lnTo>
                  <a:lnTo>
                    <a:pt x="112" y="296"/>
                  </a:lnTo>
                  <a:lnTo>
                    <a:pt x="104" y="261"/>
                  </a:lnTo>
                  <a:lnTo>
                    <a:pt x="86" y="249"/>
                  </a:lnTo>
                  <a:lnTo>
                    <a:pt x="73" y="239"/>
                  </a:lnTo>
                  <a:lnTo>
                    <a:pt x="40" y="234"/>
                  </a:lnTo>
                  <a:lnTo>
                    <a:pt x="38" y="210"/>
                  </a:lnTo>
                  <a:lnTo>
                    <a:pt x="45" y="226"/>
                  </a:lnTo>
                  <a:lnTo>
                    <a:pt x="49" y="223"/>
                  </a:lnTo>
                  <a:lnTo>
                    <a:pt x="49" y="202"/>
                  </a:lnTo>
                  <a:lnTo>
                    <a:pt x="37" y="195"/>
                  </a:lnTo>
                  <a:lnTo>
                    <a:pt x="44" y="175"/>
                  </a:lnTo>
                  <a:lnTo>
                    <a:pt x="38" y="170"/>
                  </a:lnTo>
                  <a:lnTo>
                    <a:pt x="32" y="175"/>
                  </a:lnTo>
                  <a:lnTo>
                    <a:pt x="21" y="124"/>
                  </a:lnTo>
                  <a:lnTo>
                    <a:pt x="0" y="87"/>
                  </a:lnTo>
                  <a:lnTo>
                    <a:pt x="1" y="56"/>
                  </a:lnTo>
                  <a:lnTo>
                    <a:pt x="5" y="51"/>
                  </a:lnTo>
                  <a:lnTo>
                    <a:pt x="50" y="70"/>
                  </a:lnTo>
                  <a:lnTo>
                    <a:pt x="118" y="78"/>
                  </a:lnTo>
                  <a:lnTo>
                    <a:pt x="119" y="95"/>
                  </a:lnTo>
                  <a:lnTo>
                    <a:pt x="98" y="129"/>
                  </a:lnTo>
                  <a:lnTo>
                    <a:pt x="101" y="141"/>
                  </a:lnTo>
                  <a:lnTo>
                    <a:pt x="108" y="141"/>
                  </a:lnTo>
                  <a:lnTo>
                    <a:pt x="106" y="133"/>
                  </a:lnTo>
                  <a:lnTo>
                    <a:pt x="127" y="103"/>
                  </a:lnTo>
                  <a:lnTo>
                    <a:pt x="138" y="101"/>
                  </a:lnTo>
                  <a:lnTo>
                    <a:pt x="142" y="108"/>
                  </a:lnTo>
                  <a:lnTo>
                    <a:pt x="144" y="92"/>
                  </a:lnTo>
                  <a:lnTo>
                    <a:pt x="139" y="58"/>
                  </a:lnTo>
                  <a:lnTo>
                    <a:pt x="124" y="44"/>
                  </a:lnTo>
                  <a:lnTo>
                    <a:pt x="135" y="35"/>
                  </a:lnTo>
                  <a:lnTo>
                    <a:pt x="135" y="25"/>
                  </a:lnTo>
                  <a:lnTo>
                    <a:pt x="143" y="25"/>
                  </a:lnTo>
                  <a:lnTo>
                    <a:pt x="122" y="17"/>
                  </a:lnTo>
                  <a:lnTo>
                    <a:pt x="112" y="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4" name="Freeform 22">
              <a:extLst>
                <a:ext uri="{FF2B5EF4-FFF2-40B4-BE49-F238E27FC236}">
                  <a16:creationId xmlns:a16="http://schemas.microsoft.com/office/drawing/2014/main" id="{74492772-3DFE-44AA-8ED7-137DC856EE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4614" y="2546100"/>
              <a:ext cx="1258059" cy="622217"/>
            </a:xfrm>
            <a:custGeom>
              <a:avLst/>
              <a:gdLst>
                <a:gd name="T0" fmla="*/ 0 w 733"/>
                <a:gd name="T1" fmla="*/ 0 h 407"/>
                <a:gd name="T2" fmla="*/ 0 w 733"/>
                <a:gd name="T3" fmla="*/ 0 h 407"/>
                <a:gd name="T4" fmla="*/ 0 w 733"/>
                <a:gd name="T5" fmla="*/ 0 h 407"/>
                <a:gd name="T6" fmla="*/ 0 w 733"/>
                <a:gd name="T7" fmla="*/ 0 h 407"/>
                <a:gd name="T8" fmla="*/ 0 w 733"/>
                <a:gd name="T9" fmla="*/ 0 h 407"/>
                <a:gd name="T10" fmla="*/ 0 w 733"/>
                <a:gd name="T11" fmla="*/ 0 h 407"/>
                <a:gd name="T12" fmla="*/ 0 w 733"/>
                <a:gd name="T13" fmla="*/ 0 h 407"/>
                <a:gd name="T14" fmla="*/ 0 w 733"/>
                <a:gd name="T15" fmla="*/ 0 h 407"/>
                <a:gd name="T16" fmla="*/ 0 w 733"/>
                <a:gd name="T17" fmla="*/ 0 h 407"/>
                <a:gd name="T18" fmla="*/ 0 w 733"/>
                <a:gd name="T19" fmla="*/ 0 h 407"/>
                <a:gd name="T20" fmla="*/ 0 w 733"/>
                <a:gd name="T21" fmla="*/ 0 h 407"/>
                <a:gd name="T22" fmla="*/ 0 w 733"/>
                <a:gd name="T23" fmla="*/ 0 h 407"/>
                <a:gd name="T24" fmla="*/ 0 w 733"/>
                <a:gd name="T25" fmla="*/ 0 h 407"/>
                <a:gd name="T26" fmla="*/ 0 w 733"/>
                <a:gd name="T27" fmla="*/ 0 h 407"/>
                <a:gd name="T28" fmla="*/ 0 w 733"/>
                <a:gd name="T29" fmla="*/ 0 h 407"/>
                <a:gd name="T30" fmla="*/ 0 w 733"/>
                <a:gd name="T31" fmla="*/ 0 h 407"/>
                <a:gd name="T32" fmla="*/ 0 w 733"/>
                <a:gd name="T33" fmla="*/ 0 h 407"/>
                <a:gd name="T34" fmla="*/ 0 w 733"/>
                <a:gd name="T35" fmla="*/ 0 h 407"/>
                <a:gd name="T36" fmla="*/ 0 w 733"/>
                <a:gd name="T37" fmla="*/ 0 h 407"/>
                <a:gd name="T38" fmla="*/ 0 w 733"/>
                <a:gd name="T39" fmla="*/ 0 h 407"/>
                <a:gd name="T40" fmla="*/ 0 w 733"/>
                <a:gd name="T41" fmla="*/ 0 h 407"/>
                <a:gd name="T42" fmla="*/ 0 w 733"/>
                <a:gd name="T43" fmla="*/ 0 h 407"/>
                <a:gd name="T44" fmla="*/ 0 w 733"/>
                <a:gd name="T45" fmla="*/ 0 h 407"/>
                <a:gd name="T46" fmla="*/ 0 w 733"/>
                <a:gd name="T47" fmla="*/ 0 h 407"/>
                <a:gd name="T48" fmla="*/ 0 w 733"/>
                <a:gd name="T49" fmla="*/ 0 h 407"/>
                <a:gd name="T50" fmla="*/ 0 w 733"/>
                <a:gd name="T51" fmla="*/ 0 h 407"/>
                <a:gd name="T52" fmla="*/ 0 w 733"/>
                <a:gd name="T53" fmla="*/ 0 h 407"/>
                <a:gd name="T54" fmla="*/ 0 w 733"/>
                <a:gd name="T55" fmla="*/ 0 h 407"/>
                <a:gd name="T56" fmla="*/ 0 w 733"/>
                <a:gd name="T57" fmla="*/ 0 h 407"/>
                <a:gd name="T58" fmla="*/ 0 w 733"/>
                <a:gd name="T59" fmla="*/ 0 h 407"/>
                <a:gd name="T60" fmla="*/ 0 w 733"/>
                <a:gd name="T61" fmla="*/ 0 h 407"/>
                <a:gd name="T62" fmla="*/ 0 w 733"/>
                <a:gd name="T63" fmla="*/ 0 h 407"/>
                <a:gd name="T64" fmla="*/ 0 w 733"/>
                <a:gd name="T65" fmla="*/ 0 h 407"/>
                <a:gd name="T66" fmla="*/ 0 w 733"/>
                <a:gd name="T67" fmla="*/ 0 h 407"/>
                <a:gd name="T68" fmla="*/ 0 w 733"/>
                <a:gd name="T69" fmla="*/ 0 h 407"/>
                <a:gd name="T70" fmla="*/ 0 w 733"/>
                <a:gd name="T71" fmla="*/ 0 h 407"/>
                <a:gd name="T72" fmla="*/ 0 w 733"/>
                <a:gd name="T73" fmla="*/ 0 h 407"/>
                <a:gd name="T74" fmla="*/ 0 w 733"/>
                <a:gd name="T75" fmla="*/ 0 h 407"/>
                <a:gd name="T76" fmla="*/ 0 w 733"/>
                <a:gd name="T77" fmla="*/ 0 h 407"/>
                <a:gd name="T78" fmla="*/ 0 w 733"/>
                <a:gd name="T79" fmla="*/ 0 h 407"/>
                <a:gd name="T80" fmla="*/ 0 w 733"/>
                <a:gd name="T81" fmla="*/ 0 h 407"/>
                <a:gd name="T82" fmla="*/ 0 w 733"/>
                <a:gd name="T83" fmla="*/ 0 h 407"/>
                <a:gd name="T84" fmla="*/ 0 w 733"/>
                <a:gd name="T85" fmla="*/ 0 h 407"/>
                <a:gd name="T86" fmla="*/ 0 w 733"/>
                <a:gd name="T87" fmla="*/ 0 h 407"/>
                <a:gd name="T88" fmla="*/ 0 w 733"/>
                <a:gd name="T89" fmla="*/ 0 h 407"/>
                <a:gd name="T90" fmla="*/ 0 w 733"/>
                <a:gd name="T91" fmla="*/ 0 h 407"/>
                <a:gd name="T92" fmla="*/ 0 w 733"/>
                <a:gd name="T93" fmla="*/ 0 h 407"/>
                <a:gd name="T94" fmla="*/ 0 w 733"/>
                <a:gd name="T95" fmla="*/ 0 h 407"/>
                <a:gd name="T96" fmla="*/ 0 w 733"/>
                <a:gd name="T97" fmla="*/ 0 h 40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3"/>
                <a:gd name="T148" fmla="*/ 0 h 407"/>
                <a:gd name="T149" fmla="*/ 733 w 733"/>
                <a:gd name="T150" fmla="*/ 407 h 40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3" h="407">
                  <a:moveTo>
                    <a:pt x="677" y="353"/>
                  </a:moveTo>
                  <a:lnTo>
                    <a:pt x="573" y="353"/>
                  </a:lnTo>
                  <a:lnTo>
                    <a:pt x="472" y="353"/>
                  </a:lnTo>
                  <a:lnTo>
                    <a:pt x="385" y="353"/>
                  </a:lnTo>
                  <a:lnTo>
                    <a:pt x="306" y="353"/>
                  </a:lnTo>
                  <a:lnTo>
                    <a:pt x="306" y="396"/>
                  </a:lnTo>
                  <a:lnTo>
                    <a:pt x="286" y="374"/>
                  </a:lnTo>
                  <a:lnTo>
                    <a:pt x="280" y="378"/>
                  </a:lnTo>
                  <a:lnTo>
                    <a:pt x="280" y="392"/>
                  </a:lnTo>
                  <a:lnTo>
                    <a:pt x="233" y="391"/>
                  </a:lnTo>
                  <a:lnTo>
                    <a:pt x="225" y="399"/>
                  </a:lnTo>
                  <a:lnTo>
                    <a:pt x="201" y="398"/>
                  </a:lnTo>
                  <a:lnTo>
                    <a:pt x="197" y="407"/>
                  </a:lnTo>
                  <a:lnTo>
                    <a:pt x="187" y="399"/>
                  </a:lnTo>
                  <a:lnTo>
                    <a:pt x="177" y="372"/>
                  </a:lnTo>
                  <a:lnTo>
                    <a:pt x="160" y="366"/>
                  </a:lnTo>
                  <a:lnTo>
                    <a:pt x="160" y="351"/>
                  </a:lnTo>
                  <a:lnTo>
                    <a:pt x="143" y="327"/>
                  </a:lnTo>
                  <a:lnTo>
                    <a:pt x="138" y="301"/>
                  </a:lnTo>
                  <a:lnTo>
                    <a:pt x="127" y="292"/>
                  </a:lnTo>
                  <a:lnTo>
                    <a:pt x="107" y="312"/>
                  </a:lnTo>
                  <a:lnTo>
                    <a:pt x="93" y="305"/>
                  </a:lnTo>
                  <a:lnTo>
                    <a:pt x="97" y="292"/>
                  </a:lnTo>
                  <a:lnTo>
                    <a:pt x="91" y="286"/>
                  </a:lnTo>
                  <a:lnTo>
                    <a:pt x="103" y="277"/>
                  </a:lnTo>
                  <a:lnTo>
                    <a:pt x="95" y="253"/>
                  </a:lnTo>
                  <a:lnTo>
                    <a:pt x="101" y="251"/>
                  </a:lnTo>
                  <a:lnTo>
                    <a:pt x="106" y="208"/>
                  </a:lnTo>
                  <a:lnTo>
                    <a:pt x="79" y="203"/>
                  </a:lnTo>
                  <a:lnTo>
                    <a:pt x="46" y="157"/>
                  </a:lnTo>
                  <a:lnTo>
                    <a:pt x="21" y="140"/>
                  </a:lnTo>
                  <a:lnTo>
                    <a:pt x="27" y="136"/>
                  </a:lnTo>
                  <a:lnTo>
                    <a:pt x="20" y="129"/>
                  </a:lnTo>
                  <a:lnTo>
                    <a:pt x="24" y="124"/>
                  </a:lnTo>
                  <a:lnTo>
                    <a:pt x="21" y="116"/>
                  </a:lnTo>
                  <a:lnTo>
                    <a:pt x="1" y="89"/>
                  </a:lnTo>
                  <a:lnTo>
                    <a:pt x="0" y="0"/>
                  </a:lnTo>
                  <a:lnTo>
                    <a:pt x="60" y="0"/>
                  </a:lnTo>
                  <a:lnTo>
                    <a:pt x="122" y="0"/>
                  </a:lnTo>
                  <a:lnTo>
                    <a:pt x="198" y="0"/>
                  </a:lnTo>
                  <a:lnTo>
                    <a:pt x="291" y="0"/>
                  </a:lnTo>
                  <a:lnTo>
                    <a:pt x="368" y="0"/>
                  </a:lnTo>
                  <a:lnTo>
                    <a:pt x="458" y="0"/>
                  </a:lnTo>
                  <a:lnTo>
                    <a:pt x="554" y="1"/>
                  </a:lnTo>
                  <a:lnTo>
                    <a:pt x="661" y="1"/>
                  </a:lnTo>
                  <a:lnTo>
                    <a:pt x="733" y="1"/>
                  </a:lnTo>
                  <a:lnTo>
                    <a:pt x="733" y="132"/>
                  </a:lnTo>
                  <a:lnTo>
                    <a:pt x="733" y="353"/>
                  </a:lnTo>
                  <a:lnTo>
                    <a:pt x="677" y="35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25" name="Freeform 23">
              <a:extLst>
                <a:ext uri="{FF2B5EF4-FFF2-40B4-BE49-F238E27FC236}">
                  <a16:creationId xmlns:a16="http://schemas.microsoft.com/office/drawing/2014/main" id="{3DBA691A-F32C-4A2E-A1D3-C26B70CFCC9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57079" y="3088230"/>
              <a:ext cx="735580" cy="511325"/>
            </a:xfrm>
            <a:custGeom>
              <a:avLst/>
              <a:gdLst>
                <a:gd name="T0" fmla="*/ 0 w 427"/>
                <a:gd name="T1" fmla="*/ 0 h 331"/>
                <a:gd name="T2" fmla="*/ 0 w 427"/>
                <a:gd name="T3" fmla="*/ 0 h 331"/>
                <a:gd name="T4" fmla="*/ 0 w 427"/>
                <a:gd name="T5" fmla="*/ 0 h 331"/>
                <a:gd name="T6" fmla="*/ 0 w 427"/>
                <a:gd name="T7" fmla="*/ 0 h 331"/>
                <a:gd name="T8" fmla="*/ 0 w 427"/>
                <a:gd name="T9" fmla="*/ 0 h 331"/>
                <a:gd name="T10" fmla="*/ 0 w 427"/>
                <a:gd name="T11" fmla="*/ 0 h 331"/>
                <a:gd name="T12" fmla="*/ 0 w 427"/>
                <a:gd name="T13" fmla="*/ 0 h 331"/>
                <a:gd name="T14" fmla="*/ 0 w 427"/>
                <a:gd name="T15" fmla="*/ 0 h 331"/>
                <a:gd name="T16" fmla="*/ 0 w 427"/>
                <a:gd name="T17" fmla="*/ 0 h 331"/>
                <a:gd name="T18" fmla="*/ 0 w 427"/>
                <a:gd name="T19" fmla="*/ 0 h 331"/>
                <a:gd name="T20" fmla="*/ 0 w 427"/>
                <a:gd name="T21" fmla="*/ 0 h 331"/>
                <a:gd name="T22" fmla="*/ 0 w 427"/>
                <a:gd name="T23" fmla="*/ 0 h 331"/>
                <a:gd name="T24" fmla="*/ 0 w 427"/>
                <a:gd name="T25" fmla="*/ 0 h 331"/>
                <a:gd name="T26" fmla="*/ 0 w 427"/>
                <a:gd name="T27" fmla="*/ 0 h 331"/>
                <a:gd name="T28" fmla="*/ 0 w 427"/>
                <a:gd name="T29" fmla="*/ 0 h 331"/>
                <a:gd name="T30" fmla="*/ 0 w 427"/>
                <a:gd name="T31" fmla="*/ 0 h 3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27"/>
                <a:gd name="T49" fmla="*/ 0 h 331"/>
                <a:gd name="T50" fmla="*/ 427 w 427"/>
                <a:gd name="T51" fmla="*/ 331 h 3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27" h="331">
                  <a:moveTo>
                    <a:pt x="371" y="0"/>
                  </a:moveTo>
                  <a:lnTo>
                    <a:pt x="267" y="0"/>
                  </a:lnTo>
                  <a:lnTo>
                    <a:pt x="166" y="0"/>
                  </a:lnTo>
                  <a:lnTo>
                    <a:pt x="79" y="0"/>
                  </a:lnTo>
                  <a:lnTo>
                    <a:pt x="0" y="0"/>
                  </a:lnTo>
                  <a:lnTo>
                    <a:pt x="0" y="146"/>
                  </a:lnTo>
                  <a:lnTo>
                    <a:pt x="0" y="331"/>
                  </a:lnTo>
                  <a:lnTo>
                    <a:pt x="59" y="331"/>
                  </a:lnTo>
                  <a:lnTo>
                    <a:pt x="183" y="331"/>
                  </a:lnTo>
                  <a:lnTo>
                    <a:pt x="254" y="331"/>
                  </a:lnTo>
                  <a:lnTo>
                    <a:pt x="349" y="331"/>
                  </a:lnTo>
                  <a:lnTo>
                    <a:pt x="427" y="331"/>
                  </a:lnTo>
                  <a:lnTo>
                    <a:pt x="427" y="247"/>
                  </a:lnTo>
                  <a:lnTo>
                    <a:pt x="427" y="84"/>
                  </a:lnTo>
                  <a:lnTo>
                    <a:pt x="427" y="0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6" name="Freeform 24">
              <a:extLst>
                <a:ext uri="{FF2B5EF4-FFF2-40B4-BE49-F238E27FC236}">
                  <a16:creationId xmlns:a16="http://schemas.microsoft.com/office/drawing/2014/main" id="{4480BDB9-E9C9-4103-A834-232163F88E2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3346975"/>
              <a:ext cx="893704" cy="369635"/>
            </a:xfrm>
            <a:custGeom>
              <a:avLst/>
              <a:gdLst>
                <a:gd name="T0" fmla="*/ 0 w 522"/>
                <a:gd name="T1" fmla="*/ 0 h 242"/>
                <a:gd name="T2" fmla="*/ 0 w 522"/>
                <a:gd name="T3" fmla="*/ 0 h 242"/>
                <a:gd name="T4" fmla="*/ 0 w 522"/>
                <a:gd name="T5" fmla="*/ 0 h 242"/>
                <a:gd name="T6" fmla="*/ 0 w 522"/>
                <a:gd name="T7" fmla="*/ 0 h 242"/>
                <a:gd name="T8" fmla="*/ 0 w 522"/>
                <a:gd name="T9" fmla="*/ 0 h 242"/>
                <a:gd name="T10" fmla="*/ 0 w 522"/>
                <a:gd name="T11" fmla="*/ 0 h 242"/>
                <a:gd name="T12" fmla="*/ 0 w 522"/>
                <a:gd name="T13" fmla="*/ 0 h 242"/>
                <a:gd name="T14" fmla="*/ 0 w 522"/>
                <a:gd name="T15" fmla="*/ 0 h 242"/>
                <a:gd name="T16" fmla="*/ 0 w 522"/>
                <a:gd name="T17" fmla="*/ 0 h 242"/>
                <a:gd name="T18" fmla="*/ 0 w 522"/>
                <a:gd name="T19" fmla="*/ 0 h 242"/>
                <a:gd name="T20" fmla="*/ 0 w 522"/>
                <a:gd name="T21" fmla="*/ 0 h 242"/>
                <a:gd name="T22" fmla="*/ 0 w 522"/>
                <a:gd name="T23" fmla="*/ 0 h 242"/>
                <a:gd name="T24" fmla="*/ 0 w 522"/>
                <a:gd name="T25" fmla="*/ 0 h 242"/>
                <a:gd name="T26" fmla="*/ 0 w 522"/>
                <a:gd name="T27" fmla="*/ 0 h 242"/>
                <a:gd name="T28" fmla="*/ 0 w 522"/>
                <a:gd name="T29" fmla="*/ 0 h 242"/>
                <a:gd name="T30" fmla="*/ 0 w 522"/>
                <a:gd name="T31" fmla="*/ 0 h 242"/>
                <a:gd name="T32" fmla="*/ 0 w 522"/>
                <a:gd name="T33" fmla="*/ 0 h 242"/>
                <a:gd name="T34" fmla="*/ 0 w 522"/>
                <a:gd name="T35" fmla="*/ 0 h 242"/>
                <a:gd name="T36" fmla="*/ 0 w 522"/>
                <a:gd name="T37" fmla="*/ 0 h 242"/>
                <a:gd name="T38" fmla="*/ 0 w 522"/>
                <a:gd name="T39" fmla="*/ 0 h 242"/>
                <a:gd name="T40" fmla="*/ 0 w 522"/>
                <a:gd name="T41" fmla="*/ 0 h 242"/>
                <a:gd name="T42" fmla="*/ 0 w 522"/>
                <a:gd name="T43" fmla="*/ 0 h 242"/>
                <a:gd name="T44" fmla="*/ 0 w 522"/>
                <a:gd name="T45" fmla="*/ 0 h 242"/>
                <a:gd name="T46" fmla="*/ 0 w 522"/>
                <a:gd name="T47" fmla="*/ 0 h 242"/>
                <a:gd name="T48" fmla="*/ 0 w 522"/>
                <a:gd name="T49" fmla="*/ 0 h 242"/>
                <a:gd name="T50" fmla="*/ 0 w 522"/>
                <a:gd name="T51" fmla="*/ 0 h 242"/>
                <a:gd name="T52" fmla="*/ 0 w 522"/>
                <a:gd name="T53" fmla="*/ 0 h 242"/>
                <a:gd name="T54" fmla="*/ 0 w 522"/>
                <a:gd name="T55" fmla="*/ 0 h 242"/>
                <a:gd name="T56" fmla="*/ 0 w 522"/>
                <a:gd name="T57" fmla="*/ 0 h 242"/>
                <a:gd name="T58" fmla="*/ 0 w 522"/>
                <a:gd name="T59" fmla="*/ 0 h 242"/>
                <a:gd name="T60" fmla="*/ 0 w 522"/>
                <a:gd name="T61" fmla="*/ 0 h 242"/>
                <a:gd name="T62" fmla="*/ 0 w 522"/>
                <a:gd name="T63" fmla="*/ 0 h 242"/>
                <a:gd name="T64" fmla="*/ 0 w 522"/>
                <a:gd name="T65" fmla="*/ 0 h 242"/>
                <a:gd name="T66" fmla="*/ 0 w 522"/>
                <a:gd name="T67" fmla="*/ 0 h 242"/>
                <a:gd name="T68" fmla="*/ 0 w 522"/>
                <a:gd name="T69" fmla="*/ 0 h 2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2"/>
                <a:gd name="T106" fmla="*/ 0 h 242"/>
                <a:gd name="T107" fmla="*/ 522 w 522"/>
                <a:gd name="T108" fmla="*/ 242 h 2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2" h="242">
                  <a:moveTo>
                    <a:pt x="313" y="0"/>
                  </a:moveTo>
                  <a:lnTo>
                    <a:pt x="230" y="0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80"/>
                  </a:lnTo>
                  <a:lnTo>
                    <a:pt x="0" y="164"/>
                  </a:lnTo>
                  <a:lnTo>
                    <a:pt x="59" y="164"/>
                  </a:lnTo>
                  <a:lnTo>
                    <a:pt x="121" y="164"/>
                  </a:lnTo>
                  <a:lnTo>
                    <a:pt x="121" y="242"/>
                  </a:lnTo>
                  <a:lnTo>
                    <a:pt x="222" y="242"/>
                  </a:lnTo>
                  <a:lnTo>
                    <a:pt x="324" y="242"/>
                  </a:lnTo>
                  <a:lnTo>
                    <a:pt x="423" y="242"/>
                  </a:lnTo>
                  <a:lnTo>
                    <a:pt x="522" y="242"/>
                  </a:lnTo>
                  <a:lnTo>
                    <a:pt x="520" y="225"/>
                  </a:lnTo>
                  <a:lnTo>
                    <a:pt x="509" y="220"/>
                  </a:lnTo>
                  <a:lnTo>
                    <a:pt x="506" y="204"/>
                  </a:lnTo>
                  <a:lnTo>
                    <a:pt x="502" y="196"/>
                  </a:lnTo>
                  <a:lnTo>
                    <a:pt x="494" y="187"/>
                  </a:lnTo>
                  <a:lnTo>
                    <a:pt x="497" y="174"/>
                  </a:lnTo>
                  <a:lnTo>
                    <a:pt x="494" y="160"/>
                  </a:lnTo>
                  <a:lnTo>
                    <a:pt x="494" y="139"/>
                  </a:lnTo>
                  <a:lnTo>
                    <a:pt x="490" y="138"/>
                  </a:lnTo>
                  <a:lnTo>
                    <a:pt x="492" y="129"/>
                  </a:lnTo>
                  <a:lnTo>
                    <a:pt x="482" y="122"/>
                  </a:lnTo>
                  <a:lnTo>
                    <a:pt x="484" y="101"/>
                  </a:lnTo>
                  <a:lnTo>
                    <a:pt x="465" y="69"/>
                  </a:lnTo>
                  <a:lnTo>
                    <a:pt x="463" y="43"/>
                  </a:lnTo>
                  <a:lnTo>
                    <a:pt x="457" y="43"/>
                  </a:lnTo>
                  <a:lnTo>
                    <a:pt x="449" y="41"/>
                  </a:lnTo>
                  <a:lnTo>
                    <a:pt x="445" y="28"/>
                  </a:lnTo>
                  <a:lnTo>
                    <a:pt x="411" y="12"/>
                  </a:lnTo>
                  <a:lnTo>
                    <a:pt x="374" y="14"/>
                  </a:lnTo>
                  <a:lnTo>
                    <a:pt x="366" y="20"/>
                  </a:lnTo>
                  <a:lnTo>
                    <a:pt x="336" y="0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7" name="Freeform 25">
              <a:extLst>
                <a:ext uri="{FF2B5EF4-FFF2-40B4-BE49-F238E27FC236}">
                  <a16:creationId xmlns:a16="http://schemas.microsoft.com/office/drawing/2014/main" id="{6659979F-49EA-4DAD-8DBA-32575A4381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63316" y="3599557"/>
              <a:ext cx="735580" cy="480517"/>
            </a:xfrm>
            <a:custGeom>
              <a:avLst/>
              <a:gdLst>
                <a:gd name="T0" fmla="*/ 0 w 428"/>
                <a:gd name="T1" fmla="*/ 0 h 311"/>
                <a:gd name="T2" fmla="*/ 0 w 428"/>
                <a:gd name="T3" fmla="*/ 0 h 311"/>
                <a:gd name="T4" fmla="*/ 0 w 428"/>
                <a:gd name="T5" fmla="*/ 0 h 311"/>
                <a:gd name="T6" fmla="*/ 0 w 428"/>
                <a:gd name="T7" fmla="*/ 0 h 311"/>
                <a:gd name="T8" fmla="*/ 0 w 428"/>
                <a:gd name="T9" fmla="*/ 0 h 311"/>
                <a:gd name="T10" fmla="*/ 0 w 428"/>
                <a:gd name="T11" fmla="*/ 0 h 311"/>
                <a:gd name="T12" fmla="*/ 0 w 428"/>
                <a:gd name="T13" fmla="*/ 0 h 311"/>
                <a:gd name="T14" fmla="*/ 0 w 428"/>
                <a:gd name="T15" fmla="*/ 0 h 311"/>
                <a:gd name="T16" fmla="*/ 0 w 428"/>
                <a:gd name="T17" fmla="*/ 0 h 311"/>
                <a:gd name="T18" fmla="*/ 0 w 428"/>
                <a:gd name="T19" fmla="*/ 0 h 311"/>
                <a:gd name="T20" fmla="*/ 0 w 428"/>
                <a:gd name="T21" fmla="*/ 0 h 311"/>
                <a:gd name="T22" fmla="*/ 0 w 428"/>
                <a:gd name="T23" fmla="*/ 0 h 311"/>
                <a:gd name="T24" fmla="*/ 0 w 428"/>
                <a:gd name="T25" fmla="*/ 0 h 311"/>
                <a:gd name="T26" fmla="*/ 0 w 428"/>
                <a:gd name="T27" fmla="*/ 0 h 311"/>
                <a:gd name="T28" fmla="*/ 0 w 428"/>
                <a:gd name="T29" fmla="*/ 0 h 311"/>
                <a:gd name="T30" fmla="*/ 0 w 428"/>
                <a:gd name="T31" fmla="*/ 0 h 311"/>
                <a:gd name="T32" fmla="*/ 0 w 428"/>
                <a:gd name="T33" fmla="*/ 0 h 3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8"/>
                <a:gd name="T52" fmla="*/ 0 h 311"/>
                <a:gd name="T53" fmla="*/ 428 w 428"/>
                <a:gd name="T54" fmla="*/ 311 h 3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8" h="311">
                  <a:moveTo>
                    <a:pt x="368" y="311"/>
                  </a:moveTo>
                  <a:lnTo>
                    <a:pt x="264" y="311"/>
                  </a:lnTo>
                  <a:lnTo>
                    <a:pt x="161" y="311"/>
                  </a:lnTo>
                  <a:lnTo>
                    <a:pt x="74" y="311"/>
                  </a:lnTo>
                  <a:lnTo>
                    <a:pt x="0" y="311"/>
                  </a:lnTo>
                  <a:lnTo>
                    <a:pt x="0" y="225"/>
                  </a:lnTo>
                  <a:lnTo>
                    <a:pt x="0" y="106"/>
                  </a:lnTo>
                  <a:lnTo>
                    <a:pt x="0" y="0"/>
                  </a:lnTo>
                  <a:lnTo>
                    <a:pt x="63" y="0"/>
                  </a:lnTo>
                  <a:lnTo>
                    <a:pt x="134" y="0"/>
                  </a:lnTo>
                  <a:lnTo>
                    <a:pt x="229" y="0"/>
                  </a:lnTo>
                  <a:lnTo>
                    <a:pt x="366" y="0"/>
                  </a:lnTo>
                  <a:lnTo>
                    <a:pt x="428" y="0"/>
                  </a:lnTo>
                  <a:lnTo>
                    <a:pt x="428" y="150"/>
                  </a:lnTo>
                  <a:lnTo>
                    <a:pt x="428" y="237"/>
                  </a:lnTo>
                  <a:lnTo>
                    <a:pt x="428" y="311"/>
                  </a:lnTo>
                  <a:lnTo>
                    <a:pt x="368" y="311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8" name="Freeform 26">
              <a:extLst>
                <a:ext uri="{FF2B5EF4-FFF2-40B4-BE49-F238E27FC236}">
                  <a16:creationId xmlns:a16="http://schemas.microsoft.com/office/drawing/2014/main" id="{8A5ECB35-6FEF-46D1-AFA5-47016703C9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98906" y="3716598"/>
              <a:ext cx="776839" cy="363476"/>
            </a:xfrm>
            <a:custGeom>
              <a:avLst/>
              <a:gdLst>
                <a:gd name="T0" fmla="*/ 0 w 450"/>
                <a:gd name="T1" fmla="*/ 0 h 233"/>
                <a:gd name="T2" fmla="*/ 0 w 450"/>
                <a:gd name="T3" fmla="*/ 0 h 233"/>
                <a:gd name="T4" fmla="*/ 0 w 450"/>
                <a:gd name="T5" fmla="*/ 0 h 233"/>
                <a:gd name="T6" fmla="*/ 0 w 450"/>
                <a:gd name="T7" fmla="*/ 0 h 233"/>
                <a:gd name="T8" fmla="*/ 0 w 450"/>
                <a:gd name="T9" fmla="*/ 0 h 233"/>
                <a:gd name="T10" fmla="*/ 0 w 450"/>
                <a:gd name="T11" fmla="*/ 0 h 233"/>
                <a:gd name="T12" fmla="*/ 0 w 450"/>
                <a:gd name="T13" fmla="*/ 0 h 233"/>
                <a:gd name="T14" fmla="*/ 0 w 450"/>
                <a:gd name="T15" fmla="*/ 0 h 233"/>
                <a:gd name="T16" fmla="*/ 0 w 450"/>
                <a:gd name="T17" fmla="*/ 0 h 233"/>
                <a:gd name="T18" fmla="*/ 0 w 450"/>
                <a:gd name="T19" fmla="*/ 0 h 233"/>
                <a:gd name="T20" fmla="*/ 0 w 450"/>
                <a:gd name="T21" fmla="*/ 0 h 233"/>
                <a:gd name="T22" fmla="*/ 0 w 450"/>
                <a:gd name="T23" fmla="*/ 0 h 233"/>
                <a:gd name="T24" fmla="*/ 0 w 450"/>
                <a:gd name="T25" fmla="*/ 0 h 233"/>
                <a:gd name="T26" fmla="*/ 0 w 450"/>
                <a:gd name="T27" fmla="*/ 0 h 233"/>
                <a:gd name="T28" fmla="*/ 0 w 450"/>
                <a:gd name="T29" fmla="*/ 0 h 233"/>
                <a:gd name="T30" fmla="*/ 0 w 450"/>
                <a:gd name="T31" fmla="*/ 0 h 233"/>
                <a:gd name="T32" fmla="*/ 0 w 450"/>
                <a:gd name="T33" fmla="*/ 0 h 233"/>
                <a:gd name="T34" fmla="*/ 0 w 450"/>
                <a:gd name="T35" fmla="*/ 0 h 233"/>
                <a:gd name="T36" fmla="*/ 0 w 450"/>
                <a:gd name="T37" fmla="*/ 0 h 233"/>
                <a:gd name="T38" fmla="*/ 0 w 450"/>
                <a:gd name="T39" fmla="*/ 0 h 233"/>
                <a:gd name="T40" fmla="*/ 0 w 450"/>
                <a:gd name="T41" fmla="*/ 0 h 233"/>
                <a:gd name="T42" fmla="*/ 0 w 450"/>
                <a:gd name="T43" fmla="*/ 0 h 2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50"/>
                <a:gd name="T67" fmla="*/ 0 h 233"/>
                <a:gd name="T68" fmla="*/ 450 w 450"/>
                <a:gd name="T69" fmla="*/ 233 h 2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50" h="233">
                  <a:moveTo>
                    <a:pt x="389" y="0"/>
                  </a:moveTo>
                  <a:lnTo>
                    <a:pt x="302" y="0"/>
                  </a:lnTo>
                  <a:lnTo>
                    <a:pt x="203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159"/>
                  </a:lnTo>
                  <a:lnTo>
                    <a:pt x="0" y="233"/>
                  </a:lnTo>
                  <a:lnTo>
                    <a:pt x="60" y="233"/>
                  </a:lnTo>
                  <a:lnTo>
                    <a:pt x="147" y="233"/>
                  </a:lnTo>
                  <a:lnTo>
                    <a:pt x="249" y="233"/>
                  </a:lnTo>
                  <a:lnTo>
                    <a:pt x="359" y="233"/>
                  </a:lnTo>
                  <a:lnTo>
                    <a:pt x="450" y="233"/>
                  </a:lnTo>
                  <a:lnTo>
                    <a:pt x="450" y="68"/>
                  </a:lnTo>
                  <a:lnTo>
                    <a:pt x="438" y="64"/>
                  </a:lnTo>
                  <a:lnTo>
                    <a:pt x="421" y="37"/>
                  </a:lnTo>
                  <a:lnTo>
                    <a:pt x="429" y="24"/>
                  </a:lnTo>
                  <a:lnTo>
                    <a:pt x="434" y="23"/>
                  </a:lnTo>
                  <a:lnTo>
                    <a:pt x="430" y="10"/>
                  </a:lnTo>
                  <a:lnTo>
                    <a:pt x="421" y="12"/>
                  </a:lnTo>
                  <a:lnTo>
                    <a:pt x="401" y="0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29" name="Freeform 27">
              <a:extLst>
                <a:ext uri="{FF2B5EF4-FFF2-40B4-BE49-F238E27FC236}">
                  <a16:creationId xmlns:a16="http://schemas.microsoft.com/office/drawing/2014/main" id="{ABE544D6-1372-4FC8-9107-A45DA89853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10804" y="4135519"/>
              <a:ext cx="1374923" cy="1164342"/>
            </a:xfrm>
            <a:custGeom>
              <a:avLst/>
              <a:gdLst>
                <a:gd name="T0" fmla="*/ 0 w 799"/>
                <a:gd name="T1" fmla="*/ 0 h 753"/>
                <a:gd name="T2" fmla="*/ 0 w 799"/>
                <a:gd name="T3" fmla="*/ 0 h 753"/>
                <a:gd name="T4" fmla="*/ 0 w 799"/>
                <a:gd name="T5" fmla="*/ 0 h 753"/>
                <a:gd name="T6" fmla="*/ 0 w 799"/>
                <a:gd name="T7" fmla="*/ 0 h 753"/>
                <a:gd name="T8" fmla="*/ 0 w 799"/>
                <a:gd name="T9" fmla="*/ 0 h 753"/>
                <a:gd name="T10" fmla="*/ 0 w 799"/>
                <a:gd name="T11" fmla="*/ 0 h 753"/>
                <a:gd name="T12" fmla="*/ 0 w 799"/>
                <a:gd name="T13" fmla="*/ 0 h 753"/>
                <a:gd name="T14" fmla="*/ 0 w 799"/>
                <a:gd name="T15" fmla="*/ 0 h 753"/>
                <a:gd name="T16" fmla="*/ 0 w 799"/>
                <a:gd name="T17" fmla="*/ 0 h 753"/>
                <a:gd name="T18" fmla="*/ 0 w 799"/>
                <a:gd name="T19" fmla="*/ 0 h 753"/>
                <a:gd name="T20" fmla="*/ 0 w 799"/>
                <a:gd name="T21" fmla="*/ 0 h 753"/>
                <a:gd name="T22" fmla="*/ 0 w 799"/>
                <a:gd name="T23" fmla="*/ 0 h 753"/>
                <a:gd name="T24" fmla="*/ 0 w 799"/>
                <a:gd name="T25" fmla="*/ 0 h 753"/>
                <a:gd name="T26" fmla="*/ 0 w 799"/>
                <a:gd name="T27" fmla="*/ 0 h 753"/>
                <a:gd name="T28" fmla="*/ 0 w 799"/>
                <a:gd name="T29" fmla="*/ 0 h 753"/>
                <a:gd name="T30" fmla="*/ 0 w 799"/>
                <a:gd name="T31" fmla="*/ 0 h 753"/>
                <a:gd name="T32" fmla="*/ 0 w 799"/>
                <a:gd name="T33" fmla="*/ 0 h 753"/>
                <a:gd name="T34" fmla="*/ 0 w 799"/>
                <a:gd name="T35" fmla="*/ 0 h 753"/>
                <a:gd name="T36" fmla="*/ 0 w 799"/>
                <a:gd name="T37" fmla="*/ 0 h 753"/>
                <a:gd name="T38" fmla="*/ 0 w 799"/>
                <a:gd name="T39" fmla="*/ 0 h 753"/>
                <a:gd name="T40" fmla="*/ 0 w 799"/>
                <a:gd name="T41" fmla="*/ 0 h 753"/>
                <a:gd name="T42" fmla="*/ 0 w 799"/>
                <a:gd name="T43" fmla="*/ 0 h 753"/>
                <a:gd name="T44" fmla="*/ 0 w 799"/>
                <a:gd name="T45" fmla="*/ 0 h 753"/>
                <a:gd name="T46" fmla="*/ 0 w 799"/>
                <a:gd name="T47" fmla="*/ 0 h 753"/>
                <a:gd name="T48" fmla="*/ 0 w 799"/>
                <a:gd name="T49" fmla="*/ 0 h 753"/>
                <a:gd name="T50" fmla="*/ 0 w 799"/>
                <a:gd name="T51" fmla="*/ 0 h 753"/>
                <a:gd name="T52" fmla="*/ 0 w 799"/>
                <a:gd name="T53" fmla="*/ 0 h 753"/>
                <a:gd name="T54" fmla="*/ 0 w 799"/>
                <a:gd name="T55" fmla="*/ 0 h 753"/>
                <a:gd name="T56" fmla="*/ 0 w 799"/>
                <a:gd name="T57" fmla="*/ 0 h 753"/>
                <a:gd name="T58" fmla="*/ 0 w 799"/>
                <a:gd name="T59" fmla="*/ 0 h 753"/>
                <a:gd name="T60" fmla="*/ 0 w 799"/>
                <a:gd name="T61" fmla="*/ 0 h 753"/>
                <a:gd name="T62" fmla="*/ 0 w 799"/>
                <a:gd name="T63" fmla="*/ 0 h 753"/>
                <a:gd name="T64" fmla="*/ 0 w 799"/>
                <a:gd name="T65" fmla="*/ 0 h 753"/>
                <a:gd name="T66" fmla="*/ 0 w 799"/>
                <a:gd name="T67" fmla="*/ 0 h 753"/>
                <a:gd name="T68" fmla="*/ 0 w 799"/>
                <a:gd name="T69" fmla="*/ 0 h 753"/>
                <a:gd name="T70" fmla="*/ 0 w 799"/>
                <a:gd name="T71" fmla="*/ 0 h 753"/>
                <a:gd name="T72" fmla="*/ 0 w 799"/>
                <a:gd name="T73" fmla="*/ 0 h 753"/>
                <a:gd name="T74" fmla="*/ 0 w 799"/>
                <a:gd name="T75" fmla="*/ 0 h 753"/>
                <a:gd name="T76" fmla="*/ 0 w 799"/>
                <a:gd name="T77" fmla="*/ 0 h 753"/>
                <a:gd name="T78" fmla="*/ 0 w 799"/>
                <a:gd name="T79" fmla="*/ 0 h 753"/>
                <a:gd name="T80" fmla="*/ 0 w 799"/>
                <a:gd name="T81" fmla="*/ 0 h 753"/>
                <a:gd name="T82" fmla="*/ 0 w 799"/>
                <a:gd name="T83" fmla="*/ 0 h 753"/>
                <a:gd name="T84" fmla="*/ 0 w 799"/>
                <a:gd name="T85" fmla="*/ 0 h 753"/>
                <a:gd name="T86" fmla="*/ 0 w 799"/>
                <a:gd name="T87" fmla="*/ 0 h 753"/>
                <a:gd name="T88" fmla="*/ 0 w 799"/>
                <a:gd name="T89" fmla="*/ 0 h 753"/>
                <a:gd name="T90" fmla="*/ 0 w 799"/>
                <a:gd name="T91" fmla="*/ 0 h 753"/>
                <a:gd name="T92" fmla="*/ 0 w 799"/>
                <a:gd name="T93" fmla="*/ 0 h 753"/>
                <a:gd name="T94" fmla="*/ 0 w 799"/>
                <a:gd name="T95" fmla="*/ 0 h 753"/>
                <a:gd name="T96" fmla="*/ 0 w 799"/>
                <a:gd name="T97" fmla="*/ 0 h 753"/>
                <a:gd name="T98" fmla="*/ 0 w 799"/>
                <a:gd name="T99" fmla="*/ 0 h 753"/>
                <a:gd name="T100" fmla="*/ 0 w 799"/>
                <a:gd name="T101" fmla="*/ 0 h 753"/>
                <a:gd name="T102" fmla="*/ 0 w 799"/>
                <a:gd name="T103" fmla="*/ 0 h 75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99"/>
                <a:gd name="T157" fmla="*/ 0 h 753"/>
                <a:gd name="T158" fmla="*/ 799 w 799"/>
                <a:gd name="T159" fmla="*/ 753 h 75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99" h="753">
                  <a:moveTo>
                    <a:pt x="163" y="330"/>
                  </a:moveTo>
                  <a:lnTo>
                    <a:pt x="74" y="330"/>
                  </a:lnTo>
                  <a:lnTo>
                    <a:pt x="0" y="330"/>
                  </a:lnTo>
                  <a:lnTo>
                    <a:pt x="4" y="341"/>
                  </a:lnTo>
                  <a:lnTo>
                    <a:pt x="22" y="351"/>
                  </a:lnTo>
                  <a:lnTo>
                    <a:pt x="28" y="364"/>
                  </a:lnTo>
                  <a:lnTo>
                    <a:pt x="43" y="371"/>
                  </a:lnTo>
                  <a:lnTo>
                    <a:pt x="74" y="405"/>
                  </a:lnTo>
                  <a:lnTo>
                    <a:pt x="106" y="425"/>
                  </a:lnTo>
                  <a:lnTo>
                    <a:pt x="123" y="481"/>
                  </a:lnTo>
                  <a:lnTo>
                    <a:pt x="138" y="502"/>
                  </a:lnTo>
                  <a:lnTo>
                    <a:pt x="187" y="538"/>
                  </a:lnTo>
                  <a:lnTo>
                    <a:pt x="212" y="542"/>
                  </a:lnTo>
                  <a:lnTo>
                    <a:pt x="241" y="487"/>
                  </a:lnTo>
                  <a:lnTo>
                    <a:pt x="253" y="482"/>
                  </a:lnTo>
                  <a:lnTo>
                    <a:pt x="315" y="483"/>
                  </a:lnTo>
                  <a:lnTo>
                    <a:pt x="326" y="494"/>
                  </a:lnTo>
                  <a:lnTo>
                    <a:pt x="361" y="531"/>
                  </a:lnTo>
                  <a:lnTo>
                    <a:pt x="384" y="583"/>
                  </a:lnTo>
                  <a:lnTo>
                    <a:pt x="401" y="603"/>
                  </a:lnTo>
                  <a:lnTo>
                    <a:pt x="412" y="622"/>
                  </a:lnTo>
                  <a:lnTo>
                    <a:pt x="429" y="637"/>
                  </a:lnTo>
                  <a:lnTo>
                    <a:pt x="446" y="690"/>
                  </a:lnTo>
                  <a:lnTo>
                    <a:pt x="466" y="718"/>
                  </a:lnTo>
                  <a:lnTo>
                    <a:pt x="483" y="729"/>
                  </a:lnTo>
                  <a:lnTo>
                    <a:pt x="515" y="740"/>
                  </a:lnTo>
                  <a:lnTo>
                    <a:pt x="545" y="744"/>
                  </a:lnTo>
                  <a:lnTo>
                    <a:pt x="566" y="753"/>
                  </a:lnTo>
                  <a:lnTo>
                    <a:pt x="586" y="752"/>
                  </a:lnTo>
                  <a:lnTo>
                    <a:pt x="577" y="736"/>
                  </a:lnTo>
                  <a:lnTo>
                    <a:pt x="566" y="698"/>
                  </a:lnTo>
                  <a:lnTo>
                    <a:pt x="570" y="670"/>
                  </a:lnTo>
                  <a:lnTo>
                    <a:pt x="560" y="665"/>
                  </a:lnTo>
                  <a:lnTo>
                    <a:pt x="577" y="661"/>
                  </a:lnTo>
                  <a:lnTo>
                    <a:pt x="580" y="637"/>
                  </a:lnTo>
                  <a:lnTo>
                    <a:pt x="572" y="625"/>
                  </a:lnTo>
                  <a:lnTo>
                    <a:pt x="589" y="622"/>
                  </a:lnTo>
                  <a:lnTo>
                    <a:pt x="594" y="612"/>
                  </a:lnTo>
                  <a:lnTo>
                    <a:pt x="588" y="612"/>
                  </a:lnTo>
                  <a:lnTo>
                    <a:pt x="588" y="606"/>
                  </a:lnTo>
                  <a:lnTo>
                    <a:pt x="602" y="601"/>
                  </a:lnTo>
                  <a:lnTo>
                    <a:pt x="613" y="585"/>
                  </a:lnTo>
                  <a:lnTo>
                    <a:pt x="627" y="583"/>
                  </a:lnTo>
                  <a:lnTo>
                    <a:pt x="623" y="564"/>
                  </a:lnTo>
                  <a:lnTo>
                    <a:pt x="631" y="569"/>
                  </a:lnTo>
                  <a:lnTo>
                    <a:pt x="635" y="562"/>
                  </a:lnTo>
                  <a:lnTo>
                    <a:pt x="642" y="568"/>
                  </a:lnTo>
                  <a:lnTo>
                    <a:pt x="648" y="560"/>
                  </a:lnTo>
                  <a:lnTo>
                    <a:pt x="651" y="569"/>
                  </a:lnTo>
                  <a:lnTo>
                    <a:pt x="671" y="564"/>
                  </a:lnTo>
                  <a:lnTo>
                    <a:pt x="646" y="581"/>
                  </a:lnTo>
                  <a:lnTo>
                    <a:pt x="658" y="579"/>
                  </a:lnTo>
                  <a:lnTo>
                    <a:pt x="682" y="568"/>
                  </a:lnTo>
                  <a:lnTo>
                    <a:pt x="691" y="560"/>
                  </a:lnTo>
                  <a:lnTo>
                    <a:pt x="703" y="550"/>
                  </a:lnTo>
                  <a:lnTo>
                    <a:pt x="712" y="527"/>
                  </a:lnTo>
                  <a:lnTo>
                    <a:pt x="717" y="487"/>
                  </a:lnTo>
                  <a:lnTo>
                    <a:pt x="724" y="485"/>
                  </a:lnTo>
                  <a:lnTo>
                    <a:pt x="725" y="499"/>
                  </a:lnTo>
                  <a:lnTo>
                    <a:pt x="732" y="499"/>
                  </a:lnTo>
                  <a:lnTo>
                    <a:pt x="726" y="507"/>
                  </a:lnTo>
                  <a:lnTo>
                    <a:pt x="761" y="493"/>
                  </a:lnTo>
                  <a:lnTo>
                    <a:pt x="781" y="491"/>
                  </a:lnTo>
                  <a:lnTo>
                    <a:pt x="773" y="483"/>
                  </a:lnTo>
                  <a:lnTo>
                    <a:pt x="787" y="466"/>
                  </a:lnTo>
                  <a:lnTo>
                    <a:pt x="787" y="433"/>
                  </a:lnTo>
                  <a:lnTo>
                    <a:pt x="799" y="398"/>
                  </a:lnTo>
                  <a:lnTo>
                    <a:pt x="782" y="359"/>
                  </a:lnTo>
                  <a:lnTo>
                    <a:pt x="781" y="346"/>
                  </a:lnTo>
                  <a:lnTo>
                    <a:pt x="767" y="330"/>
                  </a:lnTo>
                  <a:lnTo>
                    <a:pt x="767" y="218"/>
                  </a:lnTo>
                  <a:lnTo>
                    <a:pt x="748" y="218"/>
                  </a:lnTo>
                  <a:lnTo>
                    <a:pt x="742" y="212"/>
                  </a:lnTo>
                  <a:lnTo>
                    <a:pt x="696" y="189"/>
                  </a:lnTo>
                  <a:lnTo>
                    <a:pt x="688" y="195"/>
                  </a:lnTo>
                  <a:lnTo>
                    <a:pt x="674" y="190"/>
                  </a:lnTo>
                  <a:lnTo>
                    <a:pt x="663" y="197"/>
                  </a:lnTo>
                  <a:lnTo>
                    <a:pt x="652" y="193"/>
                  </a:lnTo>
                  <a:lnTo>
                    <a:pt x="630" y="208"/>
                  </a:lnTo>
                  <a:lnTo>
                    <a:pt x="601" y="191"/>
                  </a:lnTo>
                  <a:lnTo>
                    <a:pt x="584" y="195"/>
                  </a:lnTo>
                  <a:lnTo>
                    <a:pt x="581" y="206"/>
                  </a:lnTo>
                  <a:lnTo>
                    <a:pt x="577" y="193"/>
                  </a:lnTo>
                  <a:lnTo>
                    <a:pt x="562" y="198"/>
                  </a:lnTo>
                  <a:lnTo>
                    <a:pt x="551" y="187"/>
                  </a:lnTo>
                  <a:lnTo>
                    <a:pt x="535" y="195"/>
                  </a:lnTo>
                  <a:lnTo>
                    <a:pt x="529" y="194"/>
                  </a:lnTo>
                  <a:lnTo>
                    <a:pt x="521" y="175"/>
                  </a:lnTo>
                  <a:lnTo>
                    <a:pt x="500" y="181"/>
                  </a:lnTo>
                  <a:lnTo>
                    <a:pt x="492" y="174"/>
                  </a:lnTo>
                  <a:lnTo>
                    <a:pt x="457" y="170"/>
                  </a:lnTo>
                  <a:lnTo>
                    <a:pt x="445" y="152"/>
                  </a:lnTo>
                  <a:lnTo>
                    <a:pt x="442" y="158"/>
                  </a:lnTo>
                  <a:lnTo>
                    <a:pt x="428" y="158"/>
                  </a:lnTo>
                  <a:lnTo>
                    <a:pt x="406" y="144"/>
                  </a:lnTo>
                  <a:lnTo>
                    <a:pt x="406" y="0"/>
                  </a:lnTo>
                  <a:lnTo>
                    <a:pt x="339" y="0"/>
                  </a:lnTo>
                  <a:lnTo>
                    <a:pt x="285" y="0"/>
                  </a:lnTo>
                  <a:lnTo>
                    <a:pt x="220" y="0"/>
                  </a:lnTo>
                  <a:lnTo>
                    <a:pt x="220" y="75"/>
                  </a:lnTo>
                  <a:lnTo>
                    <a:pt x="220" y="167"/>
                  </a:lnTo>
                  <a:lnTo>
                    <a:pt x="220" y="248"/>
                  </a:lnTo>
                  <a:lnTo>
                    <a:pt x="220" y="330"/>
                  </a:lnTo>
                  <a:lnTo>
                    <a:pt x="163" y="330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0" name="Freeform 28">
              <a:extLst>
                <a:ext uri="{FF2B5EF4-FFF2-40B4-BE49-F238E27FC236}">
                  <a16:creationId xmlns:a16="http://schemas.microsoft.com/office/drawing/2014/main" id="{CE7CE3A7-2158-4F56-8C94-8E0EC195D4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95778" y="4080075"/>
              <a:ext cx="893704" cy="381953"/>
            </a:xfrm>
            <a:custGeom>
              <a:avLst/>
              <a:gdLst>
                <a:gd name="T0" fmla="*/ 0 w 519"/>
                <a:gd name="T1" fmla="*/ 0 h 251"/>
                <a:gd name="T2" fmla="*/ 0 w 519"/>
                <a:gd name="T3" fmla="*/ 0 h 251"/>
                <a:gd name="T4" fmla="*/ 0 w 519"/>
                <a:gd name="T5" fmla="*/ 0 h 251"/>
                <a:gd name="T6" fmla="*/ 0 w 519"/>
                <a:gd name="T7" fmla="*/ 0 h 251"/>
                <a:gd name="T8" fmla="*/ 0 w 519"/>
                <a:gd name="T9" fmla="*/ 0 h 251"/>
                <a:gd name="T10" fmla="*/ 0 w 519"/>
                <a:gd name="T11" fmla="*/ 0 h 251"/>
                <a:gd name="T12" fmla="*/ 0 w 519"/>
                <a:gd name="T13" fmla="*/ 0 h 251"/>
                <a:gd name="T14" fmla="*/ 0 w 519"/>
                <a:gd name="T15" fmla="*/ 0 h 251"/>
                <a:gd name="T16" fmla="*/ 0 w 519"/>
                <a:gd name="T17" fmla="*/ 0 h 251"/>
                <a:gd name="T18" fmla="*/ 0 w 519"/>
                <a:gd name="T19" fmla="*/ 0 h 251"/>
                <a:gd name="T20" fmla="*/ 0 w 519"/>
                <a:gd name="T21" fmla="*/ 0 h 251"/>
                <a:gd name="T22" fmla="*/ 0 w 519"/>
                <a:gd name="T23" fmla="*/ 0 h 251"/>
                <a:gd name="T24" fmla="*/ 0 w 519"/>
                <a:gd name="T25" fmla="*/ 0 h 251"/>
                <a:gd name="T26" fmla="*/ 0 w 519"/>
                <a:gd name="T27" fmla="*/ 0 h 251"/>
                <a:gd name="T28" fmla="*/ 0 w 519"/>
                <a:gd name="T29" fmla="*/ 0 h 251"/>
                <a:gd name="T30" fmla="*/ 0 w 519"/>
                <a:gd name="T31" fmla="*/ 0 h 251"/>
                <a:gd name="T32" fmla="*/ 0 w 519"/>
                <a:gd name="T33" fmla="*/ 0 h 251"/>
                <a:gd name="T34" fmla="*/ 0 w 519"/>
                <a:gd name="T35" fmla="*/ 0 h 251"/>
                <a:gd name="T36" fmla="*/ 0 w 519"/>
                <a:gd name="T37" fmla="*/ 0 h 251"/>
                <a:gd name="T38" fmla="*/ 0 w 519"/>
                <a:gd name="T39" fmla="*/ 0 h 251"/>
                <a:gd name="T40" fmla="*/ 0 w 519"/>
                <a:gd name="T41" fmla="*/ 0 h 251"/>
                <a:gd name="T42" fmla="*/ 0 w 519"/>
                <a:gd name="T43" fmla="*/ 0 h 251"/>
                <a:gd name="T44" fmla="*/ 0 w 519"/>
                <a:gd name="T45" fmla="*/ 0 h 251"/>
                <a:gd name="T46" fmla="*/ 0 w 519"/>
                <a:gd name="T47" fmla="*/ 0 h 251"/>
                <a:gd name="T48" fmla="*/ 0 w 519"/>
                <a:gd name="T49" fmla="*/ 0 h 251"/>
                <a:gd name="T50" fmla="*/ 0 w 519"/>
                <a:gd name="T51" fmla="*/ 0 h 251"/>
                <a:gd name="T52" fmla="*/ 0 w 519"/>
                <a:gd name="T53" fmla="*/ 0 h 251"/>
                <a:gd name="T54" fmla="*/ 0 w 519"/>
                <a:gd name="T55" fmla="*/ 0 h 251"/>
                <a:gd name="T56" fmla="*/ 0 w 519"/>
                <a:gd name="T57" fmla="*/ 0 h 251"/>
                <a:gd name="T58" fmla="*/ 0 w 519"/>
                <a:gd name="T59" fmla="*/ 0 h 251"/>
                <a:gd name="T60" fmla="*/ 0 w 519"/>
                <a:gd name="T61" fmla="*/ 0 h 251"/>
                <a:gd name="T62" fmla="*/ 0 w 519"/>
                <a:gd name="T63" fmla="*/ 0 h 251"/>
                <a:gd name="T64" fmla="*/ 0 w 519"/>
                <a:gd name="T65" fmla="*/ 0 h 251"/>
                <a:gd name="T66" fmla="*/ 0 w 519"/>
                <a:gd name="T67" fmla="*/ 0 h 251"/>
                <a:gd name="T68" fmla="*/ 0 w 519"/>
                <a:gd name="T69" fmla="*/ 0 h 251"/>
                <a:gd name="T70" fmla="*/ 0 w 519"/>
                <a:gd name="T71" fmla="*/ 0 h 25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9"/>
                <a:gd name="T109" fmla="*/ 0 h 251"/>
                <a:gd name="T110" fmla="*/ 519 w 519"/>
                <a:gd name="T111" fmla="*/ 251 h 25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9" h="251">
                  <a:moveTo>
                    <a:pt x="62" y="39"/>
                  </a:moveTo>
                  <a:lnTo>
                    <a:pt x="116" y="39"/>
                  </a:lnTo>
                  <a:lnTo>
                    <a:pt x="183" y="39"/>
                  </a:lnTo>
                  <a:lnTo>
                    <a:pt x="183" y="183"/>
                  </a:lnTo>
                  <a:lnTo>
                    <a:pt x="205" y="197"/>
                  </a:lnTo>
                  <a:lnTo>
                    <a:pt x="219" y="197"/>
                  </a:lnTo>
                  <a:lnTo>
                    <a:pt x="222" y="191"/>
                  </a:lnTo>
                  <a:lnTo>
                    <a:pt x="234" y="209"/>
                  </a:lnTo>
                  <a:lnTo>
                    <a:pt x="269" y="213"/>
                  </a:lnTo>
                  <a:lnTo>
                    <a:pt x="277" y="220"/>
                  </a:lnTo>
                  <a:lnTo>
                    <a:pt x="298" y="214"/>
                  </a:lnTo>
                  <a:lnTo>
                    <a:pt x="306" y="233"/>
                  </a:lnTo>
                  <a:lnTo>
                    <a:pt x="312" y="234"/>
                  </a:lnTo>
                  <a:lnTo>
                    <a:pt x="328" y="226"/>
                  </a:lnTo>
                  <a:lnTo>
                    <a:pt x="339" y="237"/>
                  </a:lnTo>
                  <a:lnTo>
                    <a:pt x="354" y="232"/>
                  </a:lnTo>
                  <a:lnTo>
                    <a:pt x="358" y="245"/>
                  </a:lnTo>
                  <a:lnTo>
                    <a:pt x="361" y="234"/>
                  </a:lnTo>
                  <a:lnTo>
                    <a:pt x="378" y="230"/>
                  </a:lnTo>
                  <a:lnTo>
                    <a:pt x="407" y="247"/>
                  </a:lnTo>
                  <a:lnTo>
                    <a:pt x="429" y="232"/>
                  </a:lnTo>
                  <a:lnTo>
                    <a:pt x="440" y="236"/>
                  </a:lnTo>
                  <a:lnTo>
                    <a:pt x="451" y="229"/>
                  </a:lnTo>
                  <a:lnTo>
                    <a:pt x="465" y="234"/>
                  </a:lnTo>
                  <a:lnTo>
                    <a:pt x="473" y="228"/>
                  </a:lnTo>
                  <a:lnTo>
                    <a:pt x="519" y="251"/>
                  </a:lnTo>
                  <a:lnTo>
                    <a:pt x="519" y="122"/>
                  </a:lnTo>
                  <a:lnTo>
                    <a:pt x="510" y="37"/>
                  </a:lnTo>
                  <a:lnTo>
                    <a:pt x="510" y="0"/>
                  </a:lnTo>
                  <a:lnTo>
                    <a:pt x="419" y="0"/>
                  </a:lnTo>
                  <a:lnTo>
                    <a:pt x="309" y="0"/>
                  </a:lnTo>
                  <a:lnTo>
                    <a:pt x="207" y="0"/>
                  </a:lnTo>
                  <a:lnTo>
                    <a:pt x="120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2" y="39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1" name="Freeform 29">
              <a:extLst>
                <a:ext uri="{FF2B5EF4-FFF2-40B4-BE49-F238E27FC236}">
                  <a16:creationId xmlns:a16="http://schemas.microsoft.com/office/drawing/2014/main" id="{FAC66A57-3C70-4718-AC24-6A33AE1CF5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2965018"/>
              <a:ext cx="790585" cy="443562"/>
            </a:xfrm>
            <a:custGeom>
              <a:avLst/>
              <a:gdLst>
                <a:gd name="T0" fmla="*/ 0 w 460"/>
                <a:gd name="T1" fmla="*/ 0 h 291"/>
                <a:gd name="T2" fmla="*/ 0 w 460"/>
                <a:gd name="T3" fmla="*/ 0 h 291"/>
                <a:gd name="T4" fmla="*/ 0 w 460"/>
                <a:gd name="T5" fmla="*/ 0 h 291"/>
                <a:gd name="T6" fmla="*/ 0 w 460"/>
                <a:gd name="T7" fmla="*/ 0 h 291"/>
                <a:gd name="T8" fmla="*/ 0 w 460"/>
                <a:gd name="T9" fmla="*/ 0 h 291"/>
                <a:gd name="T10" fmla="*/ 0 w 460"/>
                <a:gd name="T11" fmla="*/ 0 h 291"/>
                <a:gd name="T12" fmla="*/ 0 w 460"/>
                <a:gd name="T13" fmla="*/ 0 h 291"/>
                <a:gd name="T14" fmla="*/ 0 w 460"/>
                <a:gd name="T15" fmla="*/ 0 h 291"/>
                <a:gd name="T16" fmla="*/ 0 w 460"/>
                <a:gd name="T17" fmla="*/ 0 h 291"/>
                <a:gd name="T18" fmla="*/ 0 w 460"/>
                <a:gd name="T19" fmla="*/ 0 h 291"/>
                <a:gd name="T20" fmla="*/ 0 w 460"/>
                <a:gd name="T21" fmla="*/ 0 h 291"/>
                <a:gd name="T22" fmla="*/ 0 w 460"/>
                <a:gd name="T23" fmla="*/ 0 h 291"/>
                <a:gd name="T24" fmla="*/ 0 w 460"/>
                <a:gd name="T25" fmla="*/ 0 h 291"/>
                <a:gd name="T26" fmla="*/ 0 w 460"/>
                <a:gd name="T27" fmla="*/ 0 h 291"/>
                <a:gd name="T28" fmla="*/ 0 w 460"/>
                <a:gd name="T29" fmla="*/ 0 h 291"/>
                <a:gd name="T30" fmla="*/ 0 w 460"/>
                <a:gd name="T31" fmla="*/ 0 h 291"/>
                <a:gd name="T32" fmla="*/ 0 w 460"/>
                <a:gd name="T33" fmla="*/ 0 h 291"/>
                <a:gd name="T34" fmla="*/ 0 w 460"/>
                <a:gd name="T35" fmla="*/ 0 h 291"/>
                <a:gd name="T36" fmla="*/ 0 w 460"/>
                <a:gd name="T37" fmla="*/ 0 h 291"/>
                <a:gd name="T38" fmla="*/ 0 w 460"/>
                <a:gd name="T39" fmla="*/ 0 h 291"/>
                <a:gd name="T40" fmla="*/ 0 w 460"/>
                <a:gd name="T41" fmla="*/ 0 h 291"/>
                <a:gd name="T42" fmla="*/ 0 w 460"/>
                <a:gd name="T43" fmla="*/ 0 h 291"/>
                <a:gd name="T44" fmla="*/ 0 w 460"/>
                <a:gd name="T45" fmla="*/ 0 h 291"/>
                <a:gd name="T46" fmla="*/ 0 w 460"/>
                <a:gd name="T47" fmla="*/ 0 h 291"/>
                <a:gd name="T48" fmla="*/ 0 w 460"/>
                <a:gd name="T49" fmla="*/ 0 h 291"/>
                <a:gd name="T50" fmla="*/ 0 w 460"/>
                <a:gd name="T51" fmla="*/ 0 h 2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60"/>
                <a:gd name="T79" fmla="*/ 0 h 291"/>
                <a:gd name="T80" fmla="*/ 460 w 460"/>
                <a:gd name="T81" fmla="*/ 291 h 29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60" h="291">
                  <a:moveTo>
                    <a:pt x="427" y="0"/>
                  </a:moveTo>
                  <a:lnTo>
                    <a:pt x="374" y="0"/>
                  </a:lnTo>
                  <a:lnTo>
                    <a:pt x="292" y="0"/>
                  </a:lnTo>
                  <a:lnTo>
                    <a:pt x="185" y="0"/>
                  </a:lnTo>
                  <a:lnTo>
                    <a:pt x="87" y="0"/>
                  </a:lnTo>
                  <a:lnTo>
                    <a:pt x="0" y="0"/>
                  </a:lnTo>
                  <a:lnTo>
                    <a:pt x="0" y="165"/>
                  </a:lnTo>
                  <a:lnTo>
                    <a:pt x="0" y="248"/>
                  </a:lnTo>
                  <a:lnTo>
                    <a:pt x="116" y="248"/>
                  </a:lnTo>
                  <a:lnTo>
                    <a:pt x="230" y="248"/>
                  </a:lnTo>
                  <a:lnTo>
                    <a:pt x="336" y="248"/>
                  </a:lnTo>
                  <a:lnTo>
                    <a:pt x="366" y="268"/>
                  </a:lnTo>
                  <a:lnTo>
                    <a:pt x="374" y="262"/>
                  </a:lnTo>
                  <a:lnTo>
                    <a:pt x="411" y="260"/>
                  </a:lnTo>
                  <a:lnTo>
                    <a:pt x="445" y="276"/>
                  </a:lnTo>
                  <a:lnTo>
                    <a:pt x="449" y="289"/>
                  </a:lnTo>
                  <a:lnTo>
                    <a:pt x="457" y="291"/>
                  </a:lnTo>
                  <a:lnTo>
                    <a:pt x="448" y="271"/>
                  </a:lnTo>
                  <a:lnTo>
                    <a:pt x="460" y="239"/>
                  </a:lnTo>
                  <a:lnTo>
                    <a:pt x="452" y="231"/>
                  </a:lnTo>
                  <a:lnTo>
                    <a:pt x="451" y="209"/>
                  </a:lnTo>
                  <a:lnTo>
                    <a:pt x="460" y="209"/>
                  </a:lnTo>
                  <a:lnTo>
                    <a:pt x="460" y="57"/>
                  </a:lnTo>
                  <a:lnTo>
                    <a:pt x="435" y="30"/>
                  </a:lnTo>
                  <a:lnTo>
                    <a:pt x="453" y="0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2" name="Freeform 30">
              <a:extLst>
                <a:ext uri="{FF2B5EF4-FFF2-40B4-BE49-F238E27FC236}">
                  <a16:creationId xmlns:a16="http://schemas.microsoft.com/office/drawing/2014/main" id="{253C624E-8191-46A2-B94F-6246753951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2546100"/>
              <a:ext cx="776839" cy="418914"/>
            </a:xfrm>
            <a:custGeom>
              <a:avLst/>
              <a:gdLst>
                <a:gd name="T0" fmla="*/ 0 w 453"/>
                <a:gd name="T1" fmla="*/ 0 h 271"/>
                <a:gd name="T2" fmla="*/ 0 w 453"/>
                <a:gd name="T3" fmla="*/ 0 h 271"/>
                <a:gd name="T4" fmla="*/ 0 w 453"/>
                <a:gd name="T5" fmla="*/ 0 h 271"/>
                <a:gd name="T6" fmla="*/ 0 w 453"/>
                <a:gd name="T7" fmla="*/ 0 h 271"/>
                <a:gd name="T8" fmla="*/ 0 w 453"/>
                <a:gd name="T9" fmla="*/ 0 h 271"/>
                <a:gd name="T10" fmla="*/ 0 w 453"/>
                <a:gd name="T11" fmla="*/ 0 h 271"/>
                <a:gd name="T12" fmla="*/ 0 w 453"/>
                <a:gd name="T13" fmla="*/ 0 h 271"/>
                <a:gd name="T14" fmla="*/ 0 w 453"/>
                <a:gd name="T15" fmla="*/ 0 h 271"/>
                <a:gd name="T16" fmla="*/ 0 w 453"/>
                <a:gd name="T17" fmla="*/ 0 h 271"/>
                <a:gd name="T18" fmla="*/ 0 w 453"/>
                <a:gd name="T19" fmla="*/ 0 h 271"/>
                <a:gd name="T20" fmla="*/ 0 w 453"/>
                <a:gd name="T21" fmla="*/ 0 h 271"/>
                <a:gd name="T22" fmla="*/ 0 w 453"/>
                <a:gd name="T23" fmla="*/ 0 h 271"/>
                <a:gd name="T24" fmla="*/ 0 w 453"/>
                <a:gd name="T25" fmla="*/ 0 h 271"/>
                <a:gd name="T26" fmla="*/ 0 w 453"/>
                <a:gd name="T27" fmla="*/ 0 h 271"/>
                <a:gd name="T28" fmla="*/ 0 w 453"/>
                <a:gd name="T29" fmla="*/ 0 h 271"/>
                <a:gd name="T30" fmla="*/ 0 w 453"/>
                <a:gd name="T31" fmla="*/ 0 h 271"/>
                <a:gd name="T32" fmla="*/ 0 w 453"/>
                <a:gd name="T33" fmla="*/ 0 h 271"/>
                <a:gd name="T34" fmla="*/ 0 w 453"/>
                <a:gd name="T35" fmla="*/ 0 h 271"/>
                <a:gd name="T36" fmla="*/ 0 w 453"/>
                <a:gd name="T37" fmla="*/ 0 h 271"/>
                <a:gd name="T38" fmla="*/ 0 w 453"/>
                <a:gd name="T39" fmla="*/ 0 h 27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53"/>
                <a:gd name="T61" fmla="*/ 0 h 271"/>
                <a:gd name="T62" fmla="*/ 453 w 453"/>
                <a:gd name="T63" fmla="*/ 271 h 27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53" h="271">
                  <a:moveTo>
                    <a:pt x="334" y="0"/>
                  </a:moveTo>
                  <a:lnTo>
                    <a:pt x="242" y="0"/>
                  </a:lnTo>
                  <a:lnTo>
                    <a:pt x="161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31"/>
                  </a:lnTo>
                  <a:lnTo>
                    <a:pt x="0" y="271"/>
                  </a:lnTo>
                  <a:lnTo>
                    <a:pt x="87" y="271"/>
                  </a:lnTo>
                  <a:lnTo>
                    <a:pt x="185" y="271"/>
                  </a:lnTo>
                  <a:lnTo>
                    <a:pt x="292" y="271"/>
                  </a:lnTo>
                  <a:lnTo>
                    <a:pt x="374" y="271"/>
                  </a:lnTo>
                  <a:lnTo>
                    <a:pt x="453" y="271"/>
                  </a:lnTo>
                  <a:lnTo>
                    <a:pt x="453" y="251"/>
                  </a:lnTo>
                  <a:lnTo>
                    <a:pt x="438" y="209"/>
                  </a:lnTo>
                  <a:lnTo>
                    <a:pt x="436" y="176"/>
                  </a:lnTo>
                  <a:lnTo>
                    <a:pt x="435" y="125"/>
                  </a:lnTo>
                  <a:lnTo>
                    <a:pt x="419" y="74"/>
                  </a:lnTo>
                  <a:lnTo>
                    <a:pt x="422" y="28"/>
                  </a:lnTo>
                  <a:lnTo>
                    <a:pt x="411" y="0"/>
                  </a:lnTo>
                  <a:lnTo>
                    <a:pt x="33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33" name="Freeform 33">
              <a:extLst>
                <a:ext uri="{FF2B5EF4-FFF2-40B4-BE49-F238E27FC236}">
                  <a16:creationId xmlns:a16="http://schemas.microsoft.com/office/drawing/2014/main" id="{1E4E71FA-F8A5-4493-919D-EC8021AF6C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62621" y="3285367"/>
              <a:ext cx="680589" cy="394275"/>
            </a:xfrm>
            <a:custGeom>
              <a:avLst/>
              <a:gdLst>
                <a:gd name="T0" fmla="*/ 0 w 396"/>
                <a:gd name="T1" fmla="*/ 0 h 255"/>
                <a:gd name="T2" fmla="*/ 0 w 396"/>
                <a:gd name="T3" fmla="*/ 0 h 255"/>
                <a:gd name="T4" fmla="*/ 0 w 396"/>
                <a:gd name="T5" fmla="*/ 0 h 255"/>
                <a:gd name="T6" fmla="*/ 0 w 396"/>
                <a:gd name="T7" fmla="*/ 0 h 255"/>
                <a:gd name="T8" fmla="*/ 0 w 396"/>
                <a:gd name="T9" fmla="*/ 0 h 255"/>
                <a:gd name="T10" fmla="*/ 0 w 396"/>
                <a:gd name="T11" fmla="*/ 0 h 255"/>
                <a:gd name="T12" fmla="*/ 0 w 396"/>
                <a:gd name="T13" fmla="*/ 0 h 255"/>
                <a:gd name="T14" fmla="*/ 0 w 396"/>
                <a:gd name="T15" fmla="*/ 0 h 255"/>
                <a:gd name="T16" fmla="*/ 0 w 396"/>
                <a:gd name="T17" fmla="*/ 0 h 255"/>
                <a:gd name="T18" fmla="*/ 0 w 396"/>
                <a:gd name="T19" fmla="*/ 0 h 255"/>
                <a:gd name="T20" fmla="*/ 0 w 396"/>
                <a:gd name="T21" fmla="*/ 0 h 255"/>
                <a:gd name="T22" fmla="*/ 0 w 396"/>
                <a:gd name="T23" fmla="*/ 0 h 255"/>
                <a:gd name="T24" fmla="*/ 0 w 396"/>
                <a:gd name="T25" fmla="*/ 0 h 255"/>
                <a:gd name="T26" fmla="*/ 0 w 396"/>
                <a:gd name="T27" fmla="*/ 0 h 255"/>
                <a:gd name="T28" fmla="*/ 0 w 396"/>
                <a:gd name="T29" fmla="*/ 0 h 255"/>
                <a:gd name="T30" fmla="*/ 0 w 396"/>
                <a:gd name="T31" fmla="*/ 0 h 255"/>
                <a:gd name="T32" fmla="*/ 0 w 396"/>
                <a:gd name="T33" fmla="*/ 0 h 255"/>
                <a:gd name="T34" fmla="*/ 0 w 396"/>
                <a:gd name="T35" fmla="*/ 0 h 255"/>
                <a:gd name="T36" fmla="*/ 0 w 396"/>
                <a:gd name="T37" fmla="*/ 0 h 255"/>
                <a:gd name="T38" fmla="*/ 0 w 396"/>
                <a:gd name="T39" fmla="*/ 0 h 255"/>
                <a:gd name="T40" fmla="*/ 0 w 396"/>
                <a:gd name="T41" fmla="*/ 0 h 255"/>
                <a:gd name="T42" fmla="*/ 0 w 396"/>
                <a:gd name="T43" fmla="*/ 0 h 255"/>
                <a:gd name="T44" fmla="*/ 0 w 396"/>
                <a:gd name="T45" fmla="*/ 0 h 255"/>
                <a:gd name="T46" fmla="*/ 0 w 396"/>
                <a:gd name="T47" fmla="*/ 0 h 255"/>
                <a:gd name="T48" fmla="*/ 0 w 396"/>
                <a:gd name="T49" fmla="*/ 0 h 255"/>
                <a:gd name="T50" fmla="*/ 0 w 396"/>
                <a:gd name="T51" fmla="*/ 0 h 255"/>
                <a:gd name="T52" fmla="*/ 0 w 396"/>
                <a:gd name="T53" fmla="*/ 0 h 255"/>
                <a:gd name="T54" fmla="*/ 0 w 396"/>
                <a:gd name="T55" fmla="*/ 0 h 255"/>
                <a:gd name="T56" fmla="*/ 0 w 396"/>
                <a:gd name="T57" fmla="*/ 0 h 255"/>
                <a:gd name="T58" fmla="*/ 0 w 396"/>
                <a:gd name="T59" fmla="*/ 0 h 255"/>
                <a:gd name="T60" fmla="*/ 0 w 396"/>
                <a:gd name="T61" fmla="*/ 0 h 255"/>
                <a:gd name="T62" fmla="*/ 0 w 396"/>
                <a:gd name="T63" fmla="*/ 0 h 255"/>
                <a:gd name="T64" fmla="*/ 0 w 396"/>
                <a:gd name="T65" fmla="*/ 0 h 255"/>
                <a:gd name="T66" fmla="*/ 0 w 396"/>
                <a:gd name="T67" fmla="*/ 0 h 255"/>
                <a:gd name="T68" fmla="*/ 0 w 396"/>
                <a:gd name="T69" fmla="*/ 0 h 255"/>
                <a:gd name="T70" fmla="*/ 0 w 396"/>
                <a:gd name="T71" fmla="*/ 0 h 255"/>
                <a:gd name="T72" fmla="*/ 0 w 396"/>
                <a:gd name="T73" fmla="*/ 0 h 255"/>
                <a:gd name="T74" fmla="*/ 0 w 396"/>
                <a:gd name="T75" fmla="*/ 0 h 255"/>
                <a:gd name="T76" fmla="*/ 0 w 396"/>
                <a:gd name="T77" fmla="*/ 0 h 255"/>
                <a:gd name="T78" fmla="*/ 0 w 396"/>
                <a:gd name="T79" fmla="*/ 0 h 255"/>
                <a:gd name="T80" fmla="*/ 0 w 396"/>
                <a:gd name="T81" fmla="*/ 0 h 25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96"/>
                <a:gd name="T124" fmla="*/ 0 h 255"/>
                <a:gd name="T125" fmla="*/ 396 w 396"/>
                <a:gd name="T126" fmla="*/ 255 h 25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96" h="255">
                  <a:moveTo>
                    <a:pt x="31" y="0"/>
                  </a:moveTo>
                  <a:lnTo>
                    <a:pt x="93" y="0"/>
                  </a:lnTo>
                  <a:lnTo>
                    <a:pt x="169" y="0"/>
                  </a:lnTo>
                  <a:lnTo>
                    <a:pt x="254" y="0"/>
                  </a:lnTo>
                  <a:lnTo>
                    <a:pt x="329" y="0"/>
                  </a:lnTo>
                  <a:lnTo>
                    <a:pt x="341" y="62"/>
                  </a:lnTo>
                  <a:lnTo>
                    <a:pt x="361" y="70"/>
                  </a:lnTo>
                  <a:lnTo>
                    <a:pt x="365" y="84"/>
                  </a:lnTo>
                  <a:lnTo>
                    <a:pt x="394" y="114"/>
                  </a:lnTo>
                  <a:lnTo>
                    <a:pt x="396" y="123"/>
                  </a:lnTo>
                  <a:lnTo>
                    <a:pt x="392" y="139"/>
                  </a:lnTo>
                  <a:lnTo>
                    <a:pt x="382" y="156"/>
                  </a:lnTo>
                  <a:lnTo>
                    <a:pt x="341" y="172"/>
                  </a:lnTo>
                  <a:lnTo>
                    <a:pt x="337" y="186"/>
                  </a:lnTo>
                  <a:lnTo>
                    <a:pt x="345" y="196"/>
                  </a:lnTo>
                  <a:lnTo>
                    <a:pt x="347" y="206"/>
                  </a:lnTo>
                  <a:lnTo>
                    <a:pt x="333" y="230"/>
                  </a:lnTo>
                  <a:lnTo>
                    <a:pt x="319" y="238"/>
                  </a:lnTo>
                  <a:lnTo>
                    <a:pt x="320" y="252"/>
                  </a:lnTo>
                  <a:lnTo>
                    <a:pt x="315" y="255"/>
                  </a:lnTo>
                  <a:lnTo>
                    <a:pt x="298" y="235"/>
                  </a:lnTo>
                  <a:lnTo>
                    <a:pt x="251" y="235"/>
                  </a:lnTo>
                  <a:lnTo>
                    <a:pt x="180" y="235"/>
                  </a:lnTo>
                  <a:lnTo>
                    <a:pt x="114" y="235"/>
                  </a:lnTo>
                  <a:lnTo>
                    <a:pt x="54" y="235"/>
                  </a:lnTo>
                  <a:lnTo>
                    <a:pt x="46" y="226"/>
                  </a:lnTo>
                  <a:lnTo>
                    <a:pt x="49" y="213"/>
                  </a:lnTo>
                  <a:lnTo>
                    <a:pt x="46" y="199"/>
                  </a:lnTo>
                  <a:lnTo>
                    <a:pt x="46" y="178"/>
                  </a:lnTo>
                  <a:lnTo>
                    <a:pt x="42" y="177"/>
                  </a:lnTo>
                  <a:lnTo>
                    <a:pt x="44" y="168"/>
                  </a:lnTo>
                  <a:lnTo>
                    <a:pt x="34" y="161"/>
                  </a:lnTo>
                  <a:lnTo>
                    <a:pt x="36" y="140"/>
                  </a:lnTo>
                  <a:lnTo>
                    <a:pt x="17" y="108"/>
                  </a:lnTo>
                  <a:lnTo>
                    <a:pt x="15" y="82"/>
                  </a:lnTo>
                  <a:lnTo>
                    <a:pt x="9" y="82"/>
                  </a:lnTo>
                  <a:lnTo>
                    <a:pt x="0" y="62"/>
                  </a:lnTo>
                  <a:lnTo>
                    <a:pt x="12" y="30"/>
                  </a:lnTo>
                  <a:lnTo>
                    <a:pt x="4" y="22"/>
                  </a:lnTo>
                  <a:lnTo>
                    <a:pt x="3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4" name="Freeform 34">
              <a:extLst>
                <a:ext uri="{FF2B5EF4-FFF2-40B4-BE49-F238E27FC236}">
                  <a16:creationId xmlns:a16="http://schemas.microsoft.com/office/drawing/2014/main" id="{24796FFC-CAC5-4D38-A54C-033AEEBF57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11960" y="3827494"/>
              <a:ext cx="783707" cy="314190"/>
            </a:xfrm>
            <a:custGeom>
              <a:avLst/>
              <a:gdLst>
                <a:gd name="T0" fmla="*/ 0 w 458"/>
                <a:gd name="T1" fmla="*/ 0 h 208"/>
                <a:gd name="T2" fmla="*/ 0 w 458"/>
                <a:gd name="T3" fmla="*/ 0 h 208"/>
                <a:gd name="T4" fmla="*/ 0 w 458"/>
                <a:gd name="T5" fmla="*/ 0 h 208"/>
                <a:gd name="T6" fmla="*/ 0 w 458"/>
                <a:gd name="T7" fmla="*/ 0 h 208"/>
                <a:gd name="T8" fmla="*/ 0 w 458"/>
                <a:gd name="T9" fmla="*/ 0 h 208"/>
                <a:gd name="T10" fmla="*/ 0 w 458"/>
                <a:gd name="T11" fmla="*/ 0 h 208"/>
                <a:gd name="T12" fmla="*/ 0 w 458"/>
                <a:gd name="T13" fmla="*/ 0 h 208"/>
                <a:gd name="T14" fmla="*/ 0 w 458"/>
                <a:gd name="T15" fmla="*/ 0 h 208"/>
                <a:gd name="T16" fmla="*/ 0 w 458"/>
                <a:gd name="T17" fmla="*/ 0 h 208"/>
                <a:gd name="T18" fmla="*/ 0 w 458"/>
                <a:gd name="T19" fmla="*/ 0 h 208"/>
                <a:gd name="T20" fmla="*/ 0 w 458"/>
                <a:gd name="T21" fmla="*/ 0 h 208"/>
                <a:gd name="T22" fmla="*/ 0 w 458"/>
                <a:gd name="T23" fmla="*/ 0 h 208"/>
                <a:gd name="T24" fmla="*/ 0 w 458"/>
                <a:gd name="T25" fmla="*/ 0 h 208"/>
                <a:gd name="T26" fmla="*/ 0 w 458"/>
                <a:gd name="T27" fmla="*/ 0 h 208"/>
                <a:gd name="T28" fmla="*/ 0 w 458"/>
                <a:gd name="T29" fmla="*/ 0 h 208"/>
                <a:gd name="T30" fmla="*/ 0 w 458"/>
                <a:gd name="T31" fmla="*/ 0 h 208"/>
                <a:gd name="T32" fmla="*/ 0 w 458"/>
                <a:gd name="T33" fmla="*/ 0 h 208"/>
                <a:gd name="T34" fmla="*/ 0 w 458"/>
                <a:gd name="T35" fmla="*/ 0 h 208"/>
                <a:gd name="T36" fmla="*/ 0 w 458"/>
                <a:gd name="T37" fmla="*/ 0 h 208"/>
                <a:gd name="T38" fmla="*/ 0 w 458"/>
                <a:gd name="T39" fmla="*/ 0 h 208"/>
                <a:gd name="T40" fmla="*/ 0 w 458"/>
                <a:gd name="T41" fmla="*/ 0 h 208"/>
                <a:gd name="T42" fmla="*/ 0 w 458"/>
                <a:gd name="T43" fmla="*/ 0 h 208"/>
                <a:gd name="T44" fmla="*/ 0 w 458"/>
                <a:gd name="T45" fmla="*/ 0 h 208"/>
                <a:gd name="T46" fmla="*/ 0 w 458"/>
                <a:gd name="T47" fmla="*/ 0 h 208"/>
                <a:gd name="T48" fmla="*/ 0 w 458"/>
                <a:gd name="T49" fmla="*/ 0 h 208"/>
                <a:gd name="T50" fmla="*/ 0 w 458"/>
                <a:gd name="T51" fmla="*/ 0 h 208"/>
                <a:gd name="T52" fmla="*/ 0 w 458"/>
                <a:gd name="T53" fmla="*/ 0 h 208"/>
                <a:gd name="T54" fmla="*/ 0 w 458"/>
                <a:gd name="T55" fmla="*/ 0 h 208"/>
                <a:gd name="T56" fmla="*/ 0 w 458"/>
                <a:gd name="T57" fmla="*/ 0 h 208"/>
                <a:gd name="T58" fmla="*/ 0 w 458"/>
                <a:gd name="T59" fmla="*/ 0 h 208"/>
                <a:gd name="T60" fmla="*/ 0 w 458"/>
                <a:gd name="T61" fmla="*/ 0 h 208"/>
                <a:gd name="T62" fmla="*/ 0 w 458"/>
                <a:gd name="T63" fmla="*/ 0 h 208"/>
                <a:gd name="T64" fmla="*/ 0 w 458"/>
                <a:gd name="T65" fmla="*/ 0 h 208"/>
                <a:gd name="T66" fmla="*/ 0 w 458"/>
                <a:gd name="T67" fmla="*/ 0 h 208"/>
                <a:gd name="T68" fmla="*/ 0 w 458"/>
                <a:gd name="T69" fmla="*/ 0 h 208"/>
                <a:gd name="T70" fmla="*/ 0 w 458"/>
                <a:gd name="T71" fmla="*/ 0 h 208"/>
                <a:gd name="T72" fmla="*/ 0 w 458"/>
                <a:gd name="T73" fmla="*/ 0 h 208"/>
                <a:gd name="T74" fmla="*/ 0 w 458"/>
                <a:gd name="T75" fmla="*/ 0 h 208"/>
                <a:gd name="T76" fmla="*/ 0 w 458"/>
                <a:gd name="T77" fmla="*/ 0 h 208"/>
                <a:gd name="T78" fmla="*/ 0 w 458"/>
                <a:gd name="T79" fmla="*/ 0 h 208"/>
                <a:gd name="T80" fmla="*/ 0 w 458"/>
                <a:gd name="T81" fmla="*/ 0 h 208"/>
                <a:gd name="T82" fmla="*/ 0 w 458"/>
                <a:gd name="T83" fmla="*/ 0 h 208"/>
                <a:gd name="T84" fmla="*/ 0 w 458"/>
                <a:gd name="T85" fmla="*/ 0 h 208"/>
                <a:gd name="T86" fmla="*/ 0 w 458"/>
                <a:gd name="T87" fmla="*/ 0 h 208"/>
                <a:gd name="T88" fmla="*/ 0 w 458"/>
                <a:gd name="T89" fmla="*/ 0 h 208"/>
                <a:gd name="T90" fmla="*/ 0 w 458"/>
                <a:gd name="T91" fmla="*/ 0 h 208"/>
                <a:gd name="T92" fmla="*/ 0 w 458"/>
                <a:gd name="T93" fmla="*/ 0 h 208"/>
                <a:gd name="T94" fmla="*/ 0 w 458"/>
                <a:gd name="T95" fmla="*/ 0 h 208"/>
                <a:gd name="T96" fmla="*/ 0 w 458"/>
                <a:gd name="T97" fmla="*/ 0 h 208"/>
                <a:gd name="T98" fmla="*/ 0 w 458"/>
                <a:gd name="T99" fmla="*/ 0 h 208"/>
                <a:gd name="T100" fmla="*/ 0 w 458"/>
                <a:gd name="T101" fmla="*/ 0 h 208"/>
                <a:gd name="T102" fmla="*/ 0 w 458"/>
                <a:gd name="T103" fmla="*/ 0 h 208"/>
                <a:gd name="T104" fmla="*/ 0 w 458"/>
                <a:gd name="T105" fmla="*/ 0 h 208"/>
                <a:gd name="T106" fmla="*/ 0 w 458"/>
                <a:gd name="T107" fmla="*/ 0 h 208"/>
                <a:gd name="T108" fmla="*/ 0 w 458"/>
                <a:gd name="T109" fmla="*/ 0 h 208"/>
                <a:gd name="T110" fmla="*/ 0 w 458"/>
                <a:gd name="T111" fmla="*/ 0 h 208"/>
                <a:gd name="T112" fmla="*/ 0 w 458"/>
                <a:gd name="T113" fmla="*/ 0 h 208"/>
                <a:gd name="T114" fmla="*/ 0 w 458"/>
                <a:gd name="T115" fmla="*/ 0 h 208"/>
                <a:gd name="T116" fmla="*/ 0 w 458"/>
                <a:gd name="T117" fmla="*/ 0 h 2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8"/>
                <a:gd name="T178" fmla="*/ 0 h 208"/>
                <a:gd name="T179" fmla="*/ 458 w 458"/>
                <a:gd name="T180" fmla="*/ 208 h 2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8" h="208">
                  <a:moveTo>
                    <a:pt x="151" y="189"/>
                  </a:moveTo>
                  <a:lnTo>
                    <a:pt x="224" y="189"/>
                  </a:lnTo>
                  <a:lnTo>
                    <a:pt x="263" y="189"/>
                  </a:lnTo>
                  <a:lnTo>
                    <a:pt x="352" y="191"/>
                  </a:lnTo>
                  <a:lnTo>
                    <a:pt x="386" y="185"/>
                  </a:lnTo>
                  <a:lnTo>
                    <a:pt x="402" y="172"/>
                  </a:lnTo>
                  <a:lnTo>
                    <a:pt x="411" y="156"/>
                  </a:lnTo>
                  <a:lnTo>
                    <a:pt x="458" y="125"/>
                  </a:lnTo>
                  <a:lnTo>
                    <a:pt x="437" y="114"/>
                  </a:lnTo>
                  <a:lnTo>
                    <a:pt x="417" y="77"/>
                  </a:lnTo>
                  <a:lnTo>
                    <a:pt x="419" y="57"/>
                  </a:lnTo>
                  <a:lnTo>
                    <a:pt x="405" y="45"/>
                  </a:lnTo>
                  <a:lnTo>
                    <a:pt x="401" y="31"/>
                  </a:lnTo>
                  <a:lnTo>
                    <a:pt x="386" y="43"/>
                  </a:lnTo>
                  <a:lnTo>
                    <a:pt x="376" y="44"/>
                  </a:lnTo>
                  <a:lnTo>
                    <a:pt x="364" y="36"/>
                  </a:lnTo>
                  <a:lnTo>
                    <a:pt x="355" y="41"/>
                  </a:lnTo>
                  <a:lnTo>
                    <a:pt x="349" y="40"/>
                  </a:lnTo>
                  <a:lnTo>
                    <a:pt x="341" y="29"/>
                  </a:lnTo>
                  <a:lnTo>
                    <a:pt x="320" y="25"/>
                  </a:lnTo>
                  <a:lnTo>
                    <a:pt x="307" y="3"/>
                  </a:lnTo>
                  <a:lnTo>
                    <a:pt x="288" y="0"/>
                  </a:lnTo>
                  <a:lnTo>
                    <a:pt x="281" y="8"/>
                  </a:lnTo>
                  <a:lnTo>
                    <a:pt x="285" y="28"/>
                  </a:lnTo>
                  <a:lnTo>
                    <a:pt x="262" y="37"/>
                  </a:lnTo>
                  <a:lnTo>
                    <a:pt x="246" y="32"/>
                  </a:lnTo>
                  <a:lnTo>
                    <a:pt x="248" y="48"/>
                  </a:lnTo>
                  <a:lnTo>
                    <a:pt x="236" y="54"/>
                  </a:lnTo>
                  <a:lnTo>
                    <a:pt x="232" y="66"/>
                  </a:lnTo>
                  <a:lnTo>
                    <a:pt x="222" y="68"/>
                  </a:lnTo>
                  <a:lnTo>
                    <a:pt x="217" y="86"/>
                  </a:lnTo>
                  <a:lnTo>
                    <a:pt x="209" y="93"/>
                  </a:lnTo>
                  <a:lnTo>
                    <a:pt x="191" y="74"/>
                  </a:lnTo>
                  <a:lnTo>
                    <a:pt x="192" y="80"/>
                  </a:lnTo>
                  <a:lnTo>
                    <a:pt x="183" y="80"/>
                  </a:lnTo>
                  <a:lnTo>
                    <a:pt x="173" y="101"/>
                  </a:lnTo>
                  <a:lnTo>
                    <a:pt x="162" y="89"/>
                  </a:lnTo>
                  <a:lnTo>
                    <a:pt x="144" y="106"/>
                  </a:lnTo>
                  <a:lnTo>
                    <a:pt x="115" y="90"/>
                  </a:lnTo>
                  <a:lnTo>
                    <a:pt x="111" y="103"/>
                  </a:lnTo>
                  <a:lnTo>
                    <a:pt x="110" y="97"/>
                  </a:lnTo>
                  <a:lnTo>
                    <a:pt x="97" y="95"/>
                  </a:lnTo>
                  <a:lnTo>
                    <a:pt x="93" y="106"/>
                  </a:lnTo>
                  <a:lnTo>
                    <a:pt x="87" y="102"/>
                  </a:lnTo>
                  <a:lnTo>
                    <a:pt x="81" y="115"/>
                  </a:lnTo>
                  <a:lnTo>
                    <a:pt x="86" y="128"/>
                  </a:lnTo>
                  <a:lnTo>
                    <a:pt x="61" y="135"/>
                  </a:lnTo>
                  <a:lnTo>
                    <a:pt x="65" y="155"/>
                  </a:lnTo>
                  <a:lnTo>
                    <a:pt x="58" y="160"/>
                  </a:lnTo>
                  <a:lnTo>
                    <a:pt x="31" y="150"/>
                  </a:lnTo>
                  <a:lnTo>
                    <a:pt x="20" y="160"/>
                  </a:lnTo>
                  <a:lnTo>
                    <a:pt x="23" y="168"/>
                  </a:lnTo>
                  <a:lnTo>
                    <a:pt x="23" y="183"/>
                  </a:lnTo>
                  <a:lnTo>
                    <a:pt x="16" y="197"/>
                  </a:lnTo>
                  <a:lnTo>
                    <a:pt x="7" y="193"/>
                  </a:lnTo>
                  <a:lnTo>
                    <a:pt x="0" y="208"/>
                  </a:lnTo>
                  <a:lnTo>
                    <a:pt x="87" y="203"/>
                  </a:lnTo>
                  <a:lnTo>
                    <a:pt x="86" y="189"/>
                  </a:lnTo>
                  <a:lnTo>
                    <a:pt x="151" y="189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5" name="Freeform 35">
              <a:extLst>
                <a:ext uri="{FF2B5EF4-FFF2-40B4-BE49-F238E27FC236}">
                  <a16:creationId xmlns:a16="http://schemas.microsoft.com/office/drawing/2014/main" id="{F6DBBBA9-F6C6-4FDC-9D96-1A699BA021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5736" y="4135519"/>
              <a:ext cx="515597" cy="400433"/>
            </a:xfrm>
            <a:custGeom>
              <a:avLst/>
              <a:gdLst>
                <a:gd name="T0" fmla="*/ 0 w 302"/>
                <a:gd name="T1" fmla="*/ 0 h 259"/>
                <a:gd name="T2" fmla="*/ 0 w 302"/>
                <a:gd name="T3" fmla="*/ 0 h 259"/>
                <a:gd name="T4" fmla="*/ 0 w 302"/>
                <a:gd name="T5" fmla="*/ 0 h 259"/>
                <a:gd name="T6" fmla="*/ 0 w 302"/>
                <a:gd name="T7" fmla="*/ 0 h 259"/>
                <a:gd name="T8" fmla="*/ 0 w 302"/>
                <a:gd name="T9" fmla="*/ 0 h 259"/>
                <a:gd name="T10" fmla="*/ 0 w 302"/>
                <a:gd name="T11" fmla="*/ 0 h 259"/>
                <a:gd name="T12" fmla="*/ 0 w 302"/>
                <a:gd name="T13" fmla="*/ 0 h 259"/>
                <a:gd name="T14" fmla="*/ 0 w 302"/>
                <a:gd name="T15" fmla="*/ 0 h 259"/>
                <a:gd name="T16" fmla="*/ 0 w 302"/>
                <a:gd name="T17" fmla="*/ 0 h 259"/>
                <a:gd name="T18" fmla="*/ 0 w 302"/>
                <a:gd name="T19" fmla="*/ 0 h 259"/>
                <a:gd name="T20" fmla="*/ 0 w 302"/>
                <a:gd name="T21" fmla="*/ 0 h 259"/>
                <a:gd name="T22" fmla="*/ 0 w 302"/>
                <a:gd name="T23" fmla="*/ 0 h 259"/>
                <a:gd name="T24" fmla="*/ 0 w 302"/>
                <a:gd name="T25" fmla="*/ 0 h 259"/>
                <a:gd name="T26" fmla="*/ 0 w 302"/>
                <a:gd name="T27" fmla="*/ 0 h 259"/>
                <a:gd name="T28" fmla="*/ 0 w 302"/>
                <a:gd name="T29" fmla="*/ 0 h 259"/>
                <a:gd name="T30" fmla="*/ 0 w 302"/>
                <a:gd name="T31" fmla="*/ 0 h 259"/>
                <a:gd name="T32" fmla="*/ 0 w 302"/>
                <a:gd name="T33" fmla="*/ 0 h 259"/>
                <a:gd name="T34" fmla="*/ 0 w 302"/>
                <a:gd name="T35" fmla="*/ 0 h 259"/>
                <a:gd name="T36" fmla="*/ 0 w 302"/>
                <a:gd name="T37" fmla="*/ 0 h 259"/>
                <a:gd name="T38" fmla="*/ 0 w 302"/>
                <a:gd name="T39" fmla="*/ 0 h 259"/>
                <a:gd name="T40" fmla="*/ 0 w 302"/>
                <a:gd name="T41" fmla="*/ 0 h 259"/>
                <a:gd name="T42" fmla="*/ 0 w 302"/>
                <a:gd name="T43" fmla="*/ 0 h 259"/>
                <a:gd name="T44" fmla="*/ 0 w 302"/>
                <a:gd name="T45" fmla="*/ 0 h 259"/>
                <a:gd name="T46" fmla="*/ 0 w 302"/>
                <a:gd name="T47" fmla="*/ 0 h 259"/>
                <a:gd name="T48" fmla="*/ 0 w 302"/>
                <a:gd name="T49" fmla="*/ 0 h 259"/>
                <a:gd name="T50" fmla="*/ 0 w 302"/>
                <a:gd name="T51" fmla="*/ 0 h 259"/>
                <a:gd name="T52" fmla="*/ 0 w 302"/>
                <a:gd name="T53" fmla="*/ 0 h 259"/>
                <a:gd name="T54" fmla="*/ 0 w 302"/>
                <a:gd name="T55" fmla="*/ 0 h 259"/>
                <a:gd name="T56" fmla="*/ 0 w 302"/>
                <a:gd name="T57" fmla="*/ 0 h 259"/>
                <a:gd name="T58" fmla="*/ 0 w 302"/>
                <a:gd name="T59" fmla="*/ 0 h 259"/>
                <a:gd name="T60" fmla="*/ 0 w 302"/>
                <a:gd name="T61" fmla="*/ 0 h 259"/>
                <a:gd name="T62" fmla="*/ 0 w 302"/>
                <a:gd name="T63" fmla="*/ 0 h 259"/>
                <a:gd name="T64" fmla="*/ 0 w 302"/>
                <a:gd name="T65" fmla="*/ 0 h 259"/>
                <a:gd name="T66" fmla="*/ 0 w 302"/>
                <a:gd name="T67" fmla="*/ 0 h 259"/>
                <a:gd name="T68" fmla="*/ 0 w 302"/>
                <a:gd name="T69" fmla="*/ 0 h 259"/>
                <a:gd name="T70" fmla="*/ 0 w 302"/>
                <a:gd name="T71" fmla="*/ 0 h 259"/>
                <a:gd name="T72" fmla="*/ 0 w 302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2"/>
                <a:gd name="T112" fmla="*/ 0 h 259"/>
                <a:gd name="T113" fmla="*/ 302 w 302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2" h="259">
                  <a:moveTo>
                    <a:pt x="234" y="0"/>
                  </a:moveTo>
                  <a:lnTo>
                    <a:pt x="191" y="0"/>
                  </a:lnTo>
                  <a:lnTo>
                    <a:pt x="87" y="0"/>
                  </a:lnTo>
                  <a:lnTo>
                    <a:pt x="0" y="0"/>
                  </a:lnTo>
                  <a:lnTo>
                    <a:pt x="9" y="85"/>
                  </a:lnTo>
                  <a:lnTo>
                    <a:pt x="9" y="214"/>
                  </a:lnTo>
                  <a:lnTo>
                    <a:pt x="15" y="220"/>
                  </a:lnTo>
                  <a:lnTo>
                    <a:pt x="34" y="220"/>
                  </a:lnTo>
                  <a:lnTo>
                    <a:pt x="34" y="259"/>
                  </a:lnTo>
                  <a:lnTo>
                    <a:pt x="124" y="259"/>
                  </a:lnTo>
                  <a:lnTo>
                    <a:pt x="210" y="258"/>
                  </a:lnTo>
                  <a:lnTo>
                    <a:pt x="214" y="247"/>
                  </a:lnTo>
                  <a:lnTo>
                    <a:pt x="209" y="238"/>
                  </a:lnTo>
                  <a:lnTo>
                    <a:pt x="212" y="225"/>
                  </a:lnTo>
                  <a:lnTo>
                    <a:pt x="205" y="220"/>
                  </a:lnTo>
                  <a:lnTo>
                    <a:pt x="210" y="214"/>
                  </a:lnTo>
                  <a:lnTo>
                    <a:pt x="205" y="210"/>
                  </a:lnTo>
                  <a:lnTo>
                    <a:pt x="217" y="203"/>
                  </a:lnTo>
                  <a:lnTo>
                    <a:pt x="216" y="189"/>
                  </a:lnTo>
                  <a:lnTo>
                    <a:pt x="228" y="184"/>
                  </a:lnTo>
                  <a:lnTo>
                    <a:pt x="222" y="177"/>
                  </a:lnTo>
                  <a:lnTo>
                    <a:pt x="234" y="167"/>
                  </a:lnTo>
                  <a:lnTo>
                    <a:pt x="234" y="160"/>
                  </a:lnTo>
                  <a:lnTo>
                    <a:pt x="246" y="156"/>
                  </a:lnTo>
                  <a:lnTo>
                    <a:pt x="247" y="134"/>
                  </a:lnTo>
                  <a:lnTo>
                    <a:pt x="265" y="121"/>
                  </a:lnTo>
                  <a:lnTo>
                    <a:pt x="262" y="113"/>
                  </a:lnTo>
                  <a:lnTo>
                    <a:pt x="275" y="105"/>
                  </a:lnTo>
                  <a:lnTo>
                    <a:pt x="274" y="87"/>
                  </a:lnTo>
                  <a:lnTo>
                    <a:pt x="286" y="76"/>
                  </a:lnTo>
                  <a:lnTo>
                    <a:pt x="284" y="60"/>
                  </a:lnTo>
                  <a:lnTo>
                    <a:pt x="302" y="46"/>
                  </a:lnTo>
                  <a:lnTo>
                    <a:pt x="296" y="40"/>
                  </a:lnTo>
                  <a:lnTo>
                    <a:pt x="258" y="40"/>
                  </a:lnTo>
                  <a:lnTo>
                    <a:pt x="278" y="19"/>
                  </a:lnTo>
                  <a:lnTo>
                    <a:pt x="271" y="0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r>
                <a:rPr lang="en-US" sz="900" b="1">
                  <a:ea typeface="ＭＳ Ｐゴシック" panose="020B0600070205080204" pitchFamily="34" charset="-128"/>
                </a:rPr>
                <a:t> </a:t>
              </a:r>
            </a:p>
          </p:txBody>
        </p:sp>
        <p:sp>
          <p:nvSpPr>
            <p:cNvPr id="336" name="Freeform 36">
              <a:extLst>
                <a:ext uri="{FF2B5EF4-FFF2-40B4-BE49-F238E27FC236}">
                  <a16:creationId xmlns:a16="http://schemas.microsoft.com/office/drawing/2014/main" id="{509EFA77-6E70-45DA-BCE6-54BFEB96CD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51990" y="3648833"/>
              <a:ext cx="694338" cy="548282"/>
            </a:xfrm>
            <a:custGeom>
              <a:avLst/>
              <a:gdLst>
                <a:gd name="T0" fmla="*/ 0 w 404"/>
                <a:gd name="T1" fmla="*/ 0 h 356"/>
                <a:gd name="T2" fmla="*/ 0 w 404"/>
                <a:gd name="T3" fmla="*/ 0 h 356"/>
                <a:gd name="T4" fmla="*/ 0 w 404"/>
                <a:gd name="T5" fmla="*/ 0 h 356"/>
                <a:gd name="T6" fmla="*/ 0 w 404"/>
                <a:gd name="T7" fmla="*/ 0 h 356"/>
                <a:gd name="T8" fmla="*/ 0 w 404"/>
                <a:gd name="T9" fmla="*/ 0 h 356"/>
                <a:gd name="T10" fmla="*/ 0 w 404"/>
                <a:gd name="T11" fmla="*/ 0 h 356"/>
                <a:gd name="T12" fmla="*/ 0 w 404"/>
                <a:gd name="T13" fmla="*/ 0 h 356"/>
                <a:gd name="T14" fmla="*/ 0 w 404"/>
                <a:gd name="T15" fmla="*/ 0 h 356"/>
                <a:gd name="T16" fmla="*/ 0 w 404"/>
                <a:gd name="T17" fmla="*/ 0 h 356"/>
                <a:gd name="T18" fmla="*/ 0 w 404"/>
                <a:gd name="T19" fmla="*/ 0 h 356"/>
                <a:gd name="T20" fmla="*/ 0 w 404"/>
                <a:gd name="T21" fmla="*/ 0 h 356"/>
                <a:gd name="T22" fmla="*/ 0 w 404"/>
                <a:gd name="T23" fmla="*/ 0 h 356"/>
                <a:gd name="T24" fmla="*/ 0 w 404"/>
                <a:gd name="T25" fmla="*/ 0 h 356"/>
                <a:gd name="T26" fmla="*/ 0 w 404"/>
                <a:gd name="T27" fmla="*/ 0 h 356"/>
                <a:gd name="T28" fmla="*/ 0 w 404"/>
                <a:gd name="T29" fmla="*/ 0 h 356"/>
                <a:gd name="T30" fmla="*/ 0 w 404"/>
                <a:gd name="T31" fmla="*/ 0 h 356"/>
                <a:gd name="T32" fmla="*/ 0 w 404"/>
                <a:gd name="T33" fmla="*/ 0 h 356"/>
                <a:gd name="T34" fmla="*/ 0 w 404"/>
                <a:gd name="T35" fmla="*/ 0 h 356"/>
                <a:gd name="T36" fmla="*/ 0 w 404"/>
                <a:gd name="T37" fmla="*/ 0 h 356"/>
                <a:gd name="T38" fmla="*/ 0 w 404"/>
                <a:gd name="T39" fmla="*/ 0 h 356"/>
                <a:gd name="T40" fmla="*/ 0 w 404"/>
                <a:gd name="T41" fmla="*/ 0 h 356"/>
                <a:gd name="T42" fmla="*/ 0 w 404"/>
                <a:gd name="T43" fmla="*/ 0 h 356"/>
                <a:gd name="T44" fmla="*/ 0 w 404"/>
                <a:gd name="T45" fmla="*/ 0 h 356"/>
                <a:gd name="T46" fmla="*/ 0 w 404"/>
                <a:gd name="T47" fmla="*/ 0 h 356"/>
                <a:gd name="T48" fmla="*/ 0 w 404"/>
                <a:gd name="T49" fmla="*/ 0 h 356"/>
                <a:gd name="T50" fmla="*/ 0 w 404"/>
                <a:gd name="T51" fmla="*/ 0 h 356"/>
                <a:gd name="T52" fmla="*/ 0 w 404"/>
                <a:gd name="T53" fmla="*/ 0 h 356"/>
                <a:gd name="T54" fmla="*/ 0 w 404"/>
                <a:gd name="T55" fmla="*/ 0 h 356"/>
                <a:gd name="T56" fmla="*/ 0 w 404"/>
                <a:gd name="T57" fmla="*/ 0 h 356"/>
                <a:gd name="T58" fmla="*/ 0 w 404"/>
                <a:gd name="T59" fmla="*/ 0 h 356"/>
                <a:gd name="T60" fmla="*/ 0 w 404"/>
                <a:gd name="T61" fmla="*/ 0 h 356"/>
                <a:gd name="T62" fmla="*/ 0 w 404"/>
                <a:gd name="T63" fmla="*/ 0 h 356"/>
                <a:gd name="T64" fmla="*/ 0 w 404"/>
                <a:gd name="T65" fmla="*/ 0 h 356"/>
                <a:gd name="T66" fmla="*/ 0 w 404"/>
                <a:gd name="T67" fmla="*/ 0 h 356"/>
                <a:gd name="T68" fmla="*/ 0 w 404"/>
                <a:gd name="T69" fmla="*/ 0 h 356"/>
                <a:gd name="T70" fmla="*/ 0 w 404"/>
                <a:gd name="T71" fmla="*/ 0 h 356"/>
                <a:gd name="T72" fmla="*/ 0 w 404"/>
                <a:gd name="T73" fmla="*/ 0 h 356"/>
                <a:gd name="T74" fmla="*/ 0 w 404"/>
                <a:gd name="T75" fmla="*/ 0 h 356"/>
                <a:gd name="T76" fmla="*/ 0 w 404"/>
                <a:gd name="T77" fmla="*/ 0 h 356"/>
                <a:gd name="T78" fmla="*/ 0 w 404"/>
                <a:gd name="T79" fmla="*/ 0 h 356"/>
                <a:gd name="T80" fmla="*/ 0 w 404"/>
                <a:gd name="T81" fmla="*/ 0 h 356"/>
                <a:gd name="T82" fmla="*/ 0 w 404"/>
                <a:gd name="T83" fmla="*/ 0 h 356"/>
                <a:gd name="T84" fmla="*/ 0 w 404"/>
                <a:gd name="T85" fmla="*/ 0 h 356"/>
                <a:gd name="T86" fmla="*/ 0 w 404"/>
                <a:gd name="T87" fmla="*/ 0 h 356"/>
                <a:gd name="T88" fmla="*/ 0 w 404"/>
                <a:gd name="T89" fmla="*/ 0 h 356"/>
                <a:gd name="T90" fmla="*/ 0 w 404"/>
                <a:gd name="T91" fmla="*/ 0 h 356"/>
                <a:gd name="T92" fmla="*/ 0 w 404"/>
                <a:gd name="T93" fmla="*/ 0 h 356"/>
                <a:gd name="T94" fmla="*/ 0 w 404"/>
                <a:gd name="T95" fmla="*/ 0 h 356"/>
                <a:gd name="T96" fmla="*/ 0 w 404"/>
                <a:gd name="T97" fmla="*/ 0 h 356"/>
                <a:gd name="T98" fmla="*/ 0 w 404"/>
                <a:gd name="T99" fmla="*/ 0 h 356"/>
                <a:gd name="T100" fmla="*/ 0 w 404"/>
                <a:gd name="T101" fmla="*/ 0 h 3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4"/>
                <a:gd name="T154" fmla="*/ 0 h 356"/>
                <a:gd name="T155" fmla="*/ 404 w 404"/>
                <a:gd name="T156" fmla="*/ 356 h 3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4" h="356">
                  <a:moveTo>
                    <a:pt x="197" y="0"/>
                  </a:moveTo>
                  <a:lnTo>
                    <a:pt x="126" y="0"/>
                  </a:lnTo>
                  <a:lnTo>
                    <a:pt x="60" y="0"/>
                  </a:lnTo>
                  <a:lnTo>
                    <a:pt x="0" y="0"/>
                  </a:lnTo>
                  <a:lnTo>
                    <a:pt x="4" y="8"/>
                  </a:lnTo>
                  <a:lnTo>
                    <a:pt x="7" y="24"/>
                  </a:lnTo>
                  <a:lnTo>
                    <a:pt x="18" y="29"/>
                  </a:lnTo>
                  <a:lnTo>
                    <a:pt x="20" y="46"/>
                  </a:lnTo>
                  <a:lnTo>
                    <a:pt x="40" y="58"/>
                  </a:lnTo>
                  <a:lnTo>
                    <a:pt x="49" y="56"/>
                  </a:lnTo>
                  <a:lnTo>
                    <a:pt x="53" y="69"/>
                  </a:lnTo>
                  <a:lnTo>
                    <a:pt x="48" y="70"/>
                  </a:lnTo>
                  <a:lnTo>
                    <a:pt x="40" y="83"/>
                  </a:lnTo>
                  <a:lnTo>
                    <a:pt x="57" y="110"/>
                  </a:lnTo>
                  <a:lnTo>
                    <a:pt x="69" y="114"/>
                  </a:lnTo>
                  <a:lnTo>
                    <a:pt x="69" y="316"/>
                  </a:lnTo>
                  <a:lnTo>
                    <a:pt x="156" y="316"/>
                  </a:lnTo>
                  <a:lnTo>
                    <a:pt x="260" y="316"/>
                  </a:lnTo>
                  <a:lnTo>
                    <a:pt x="303" y="316"/>
                  </a:lnTo>
                  <a:lnTo>
                    <a:pt x="340" y="316"/>
                  </a:lnTo>
                  <a:lnTo>
                    <a:pt x="347" y="335"/>
                  </a:lnTo>
                  <a:lnTo>
                    <a:pt x="327" y="356"/>
                  </a:lnTo>
                  <a:lnTo>
                    <a:pt x="365" y="356"/>
                  </a:lnTo>
                  <a:lnTo>
                    <a:pt x="375" y="345"/>
                  </a:lnTo>
                  <a:lnTo>
                    <a:pt x="369" y="337"/>
                  </a:lnTo>
                  <a:lnTo>
                    <a:pt x="377" y="336"/>
                  </a:lnTo>
                  <a:lnTo>
                    <a:pt x="373" y="331"/>
                  </a:lnTo>
                  <a:lnTo>
                    <a:pt x="379" y="328"/>
                  </a:lnTo>
                  <a:lnTo>
                    <a:pt x="376" y="315"/>
                  </a:lnTo>
                  <a:lnTo>
                    <a:pt x="381" y="323"/>
                  </a:lnTo>
                  <a:lnTo>
                    <a:pt x="388" y="308"/>
                  </a:lnTo>
                  <a:lnTo>
                    <a:pt x="397" y="312"/>
                  </a:lnTo>
                  <a:lnTo>
                    <a:pt x="404" y="298"/>
                  </a:lnTo>
                  <a:lnTo>
                    <a:pt x="404" y="283"/>
                  </a:lnTo>
                  <a:lnTo>
                    <a:pt x="393" y="274"/>
                  </a:lnTo>
                  <a:lnTo>
                    <a:pt x="393" y="281"/>
                  </a:lnTo>
                  <a:lnTo>
                    <a:pt x="386" y="277"/>
                  </a:lnTo>
                  <a:lnTo>
                    <a:pt x="379" y="259"/>
                  </a:lnTo>
                  <a:lnTo>
                    <a:pt x="384" y="249"/>
                  </a:lnTo>
                  <a:lnTo>
                    <a:pt x="379" y="229"/>
                  </a:lnTo>
                  <a:lnTo>
                    <a:pt x="328" y="188"/>
                  </a:lnTo>
                  <a:lnTo>
                    <a:pt x="327" y="176"/>
                  </a:lnTo>
                  <a:lnTo>
                    <a:pt x="343" y="139"/>
                  </a:lnTo>
                  <a:lnTo>
                    <a:pt x="323" y="130"/>
                  </a:lnTo>
                  <a:lnTo>
                    <a:pt x="312" y="135"/>
                  </a:lnTo>
                  <a:lnTo>
                    <a:pt x="302" y="103"/>
                  </a:lnTo>
                  <a:lnTo>
                    <a:pt x="266" y="70"/>
                  </a:lnTo>
                  <a:lnTo>
                    <a:pt x="258" y="40"/>
                  </a:lnTo>
                  <a:lnTo>
                    <a:pt x="261" y="20"/>
                  </a:lnTo>
                  <a:lnTo>
                    <a:pt x="244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7" name="Freeform 37">
              <a:extLst>
                <a:ext uri="{FF2B5EF4-FFF2-40B4-BE49-F238E27FC236}">
                  <a16:creationId xmlns:a16="http://schemas.microsoft.com/office/drawing/2014/main" id="{DCDC7CAB-B7E4-4B4D-8192-AE854E2FA0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30727" y="4529796"/>
              <a:ext cx="515597" cy="437397"/>
            </a:xfrm>
            <a:custGeom>
              <a:avLst/>
              <a:gdLst>
                <a:gd name="T0" fmla="*/ 0 w 299"/>
                <a:gd name="T1" fmla="*/ 0 h 282"/>
                <a:gd name="T2" fmla="*/ 0 w 299"/>
                <a:gd name="T3" fmla="*/ 0 h 282"/>
                <a:gd name="T4" fmla="*/ 0 w 299"/>
                <a:gd name="T5" fmla="*/ 0 h 282"/>
                <a:gd name="T6" fmla="*/ 0 w 299"/>
                <a:gd name="T7" fmla="*/ 0 h 282"/>
                <a:gd name="T8" fmla="*/ 0 w 299"/>
                <a:gd name="T9" fmla="*/ 0 h 282"/>
                <a:gd name="T10" fmla="*/ 0 w 299"/>
                <a:gd name="T11" fmla="*/ 0 h 282"/>
                <a:gd name="T12" fmla="*/ 0 w 299"/>
                <a:gd name="T13" fmla="*/ 0 h 282"/>
                <a:gd name="T14" fmla="*/ 0 w 299"/>
                <a:gd name="T15" fmla="*/ 0 h 282"/>
                <a:gd name="T16" fmla="*/ 0 w 299"/>
                <a:gd name="T17" fmla="*/ 0 h 282"/>
                <a:gd name="T18" fmla="*/ 0 w 299"/>
                <a:gd name="T19" fmla="*/ 0 h 282"/>
                <a:gd name="T20" fmla="*/ 0 w 299"/>
                <a:gd name="T21" fmla="*/ 0 h 282"/>
                <a:gd name="T22" fmla="*/ 0 w 299"/>
                <a:gd name="T23" fmla="*/ 0 h 282"/>
                <a:gd name="T24" fmla="*/ 0 w 299"/>
                <a:gd name="T25" fmla="*/ 0 h 282"/>
                <a:gd name="T26" fmla="*/ 0 w 299"/>
                <a:gd name="T27" fmla="*/ 0 h 282"/>
                <a:gd name="T28" fmla="*/ 0 w 299"/>
                <a:gd name="T29" fmla="*/ 0 h 282"/>
                <a:gd name="T30" fmla="*/ 0 w 299"/>
                <a:gd name="T31" fmla="*/ 0 h 282"/>
                <a:gd name="T32" fmla="*/ 0 w 299"/>
                <a:gd name="T33" fmla="*/ 0 h 282"/>
                <a:gd name="T34" fmla="*/ 0 w 299"/>
                <a:gd name="T35" fmla="*/ 0 h 282"/>
                <a:gd name="T36" fmla="*/ 0 w 299"/>
                <a:gd name="T37" fmla="*/ 0 h 282"/>
                <a:gd name="T38" fmla="*/ 0 w 299"/>
                <a:gd name="T39" fmla="*/ 0 h 282"/>
                <a:gd name="T40" fmla="*/ 0 w 299"/>
                <a:gd name="T41" fmla="*/ 0 h 282"/>
                <a:gd name="T42" fmla="*/ 0 w 299"/>
                <a:gd name="T43" fmla="*/ 0 h 282"/>
                <a:gd name="T44" fmla="*/ 0 w 299"/>
                <a:gd name="T45" fmla="*/ 0 h 282"/>
                <a:gd name="T46" fmla="*/ 0 w 299"/>
                <a:gd name="T47" fmla="*/ 0 h 282"/>
                <a:gd name="T48" fmla="*/ 0 w 299"/>
                <a:gd name="T49" fmla="*/ 0 h 282"/>
                <a:gd name="T50" fmla="*/ 0 w 299"/>
                <a:gd name="T51" fmla="*/ 0 h 282"/>
                <a:gd name="T52" fmla="*/ 0 w 299"/>
                <a:gd name="T53" fmla="*/ 0 h 282"/>
                <a:gd name="T54" fmla="*/ 0 w 299"/>
                <a:gd name="T55" fmla="*/ 0 h 282"/>
                <a:gd name="T56" fmla="*/ 0 w 299"/>
                <a:gd name="T57" fmla="*/ 0 h 282"/>
                <a:gd name="T58" fmla="*/ 0 w 299"/>
                <a:gd name="T59" fmla="*/ 0 h 282"/>
                <a:gd name="T60" fmla="*/ 0 w 299"/>
                <a:gd name="T61" fmla="*/ 0 h 282"/>
                <a:gd name="T62" fmla="*/ 0 w 299"/>
                <a:gd name="T63" fmla="*/ 0 h 282"/>
                <a:gd name="T64" fmla="*/ 0 w 299"/>
                <a:gd name="T65" fmla="*/ 0 h 282"/>
                <a:gd name="T66" fmla="*/ 0 w 299"/>
                <a:gd name="T67" fmla="*/ 0 h 282"/>
                <a:gd name="T68" fmla="*/ 0 w 299"/>
                <a:gd name="T69" fmla="*/ 0 h 282"/>
                <a:gd name="T70" fmla="*/ 0 w 299"/>
                <a:gd name="T71" fmla="*/ 0 h 282"/>
                <a:gd name="T72" fmla="*/ 0 w 299"/>
                <a:gd name="T73" fmla="*/ 0 h 282"/>
                <a:gd name="T74" fmla="*/ 0 w 299"/>
                <a:gd name="T75" fmla="*/ 0 h 282"/>
                <a:gd name="T76" fmla="*/ 0 w 299"/>
                <a:gd name="T77" fmla="*/ 0 h 282"/>
                <a:gd name="T78" fmla="*/ 0 w 299"/>
                <a:gd name="T79" fmla="*/ 0 h 282"/>
                <a:gd name="T80" fmla="*/ 0 w 299"/>
                <a:gd name="T81" fmla="*/ 0 h 282"/>
                <a:gd name="T82" fmla="*/ 0 w 299"/>
                <a:gd name="T83" fmla="*/ 0 h 282"/>
                <a:gd name="T84" fmla="*/ 0 w 299"/>
                <a:gd name="T85" fmla="*/ 0 h 282"/>
                <a:gd name="T86" fmla="*/ 0 w 299"/>
                <a:gd name="T87" fmla="*/ 0 h 282"/>
                <a:gd name="T88" fmla="*/ 0 w 299"/>
                <a:gd name="T89" fmla="*/ 0 h 282"/>
                <a:gd name="T90" fmla="*/ 0 w 299"/>
                <a:gd name="T91" fmla="*/ 0 h 282"/>
                <a:gd name="T92" fmla="*/ 0 w 299"/>
                <a:gd name="T93" fmla="*/ 0 h 282"/>
                <a:gd name="T94" fmla="*/ 0 w 299"/>
                <a:gd name="T95" fmla="*/ 0 h 282"/>
                <a:gd name="T96" fmla="*/ 0 w 299"/>
                <a:gd name="T97" fmla="*/ 0 h 282"/>
                <a:gd name="T98" fmla="*/ 0 w 299"/>
                <a:gd name="T99" fmla="*/ 0 h 282"/>
                <a:gd name="T100" fmla="*/ 0 w 299"/>
                <a:gd name="T101" fmla="*/ 0 h 282"/>
                <a:gd name="T102" fmla="*/ 0 w 299"/>
                <a:gd name="T103" fmla="*/ 0 h 282"/>
                <a:gd name="T104" fmla="*/ 0 w 299"/>
                <a:gd name="T105" fmla="*/ 0 h 282"/>
                <a:gd name="T106" fmla="*/ 0 w 299"/>
                <a:gd name="T107" fmla="*/ 0 h 282"/>
                <a:gd name="T108" fmla="*/ 0 w 299"/>
                <a:gd name="T109" fmla="*/ 0 h 282"/>
                <a:gd name="T110" fmla="*/ 0 w 299"/>
                <a:gd name="T111" fmla="*/ 0 h 282"/>
                <a:gd name="T112" fmla="*/ 0 w 299"/>
                <a:gd name="T113" fmla="*/ 0 h 282"/>
                <a:gd name="T114" fmla="*/ 0 w 299"/>
                <a:gd name="T115" fmla="*/ 0 h 282"/>
                <a:gd name="T116" fmla="*/ 0 w 299"/>
                <a:gd name="T117" fmla="*/ 0 h 282"/>
                <a:gd name="T118" fmla="*/ 0 w 299"/>
                <a:gd name="T119" fmla="*/ 0 h 2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9"/>
                <a:gd name="T181" fmla="*/ 0 h 282"/>
                <a:gd name="T182" fmla="*/ 299 w 299"/>
                <a:gd name="T183" fmla="*/ 282 h 2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9" h="282">
                  <a:moveTo>
                    <a:pt x="272" y="197"/>
                  </a:moveTo>
                  <a:lnTo>
                    <a:pt x="239" y="187"/>
                  </a:lnTo>
                  <a:lnTo>
                    <a:pt x="224" y="190"/>
                  </a:lnTo>
                  <a:lnTo>
                    <a:pt x="220" y="204"/>
                  </a:lnTo>
                  <a:lnTo>
                    <a:pt x="229" y="210"/>
                  </a:lnTo>
                  <a:lnTo>
                    <a:pt x="256" y="204"/>
                  </a:lnTo>
                  <a:lnTo>
                    <a:pt x="258" y="217"/>
                  </a:lnTo>
                  <a:lnTo>
                    <a:pt x="262" y="217"/>
                  </a:lnTo>
                  <a:lnTo>
                    <a:pt x="283" y="206"/>
                  </a:lnTo>
                  <a:lnTo>
                    <a:pt x="287" y="209"/>
                  </a:lnTo>
                  <a:lnTo>
                    <a:pt x="285" y="224"/>
                  </a:lnTo>
                  <a:lnTo>
                    <a:pt x="268" y="245"/>
                  </a:lnTo>
                  <a:lnTo>
                    <a:pt x="299" y="272"/>
                  </a:lnTo>
                  <a:lnTo>
                    <a:pt x="294" y="278"/>
                  </a:lnTo>
                  <a:lnTo>
                    <a:pt x="290" y="280"/>
                  </a:lnTo>
                  <a:lnTo>
                    <a:pt x="285" y="282"/>
                  </a:lnTo>
                  <a:lnTo>
                    <a:pt x="273" y="267"/>
                  </a:lnTo>
                  <a:lnTo>
                    <a:pt x="252" y="253"/>
                  </a:lnTo>
                  <a:lnTo>
                    <a:pt x="245" y="254"/>
                  </a:lnTo>
                  <a:lnTo>
                    <a:pt x="237" y="272"/>
                  </a:lnTo>
                  <a:lnTo>
                    <a:pt x="208" y="268"/>
                  </a:lnTo>
                  <a:lnTo>
                    <a:pt x="199" y="272"/>
                  </a:lnTo>
                  <a:lnTo>
                    <a:pt x="174" y="266"/>
                  </a:lnTo>
                  <a:lnTo>
                    <a:pt x="162" y="247"/>
                  </a:lnTo>
                  <a:lnTo>
                    <a:pt x="130" y="229"/>
                  </a:lnTo>
                  <a:lnTo>
                    <a:pt x="118" y="229"/>
                  </a:lnTo>
                  <a:lnTo>
                    <a:pt x="118" y="239"/>
                  </a:lnTo>
                  <a:lnTo>
                    <a:pt x="109" y="245"/>
                  </a:lnTo>
                  <a:lnTo>
                    <a:pt x="86" y="243"/>
                  </a:lnTo>
                  <a:lnTo>
                    <a:pt x="47" y="231"/>
                  </a:lnTo>
                  <a:lnTo>
                    <a:pt x="14" y="235"/>
                  </a:lnTo>
                  <a:lnTo>
                    <a:pt x="6" y="227"/>
                  </a:lnTo>
                  <a:lnTo>
                    <a:pt x="20" y="210"/>
                  </a:lnTo>
                  <a:lnTo>
                    <a:pt x="20" y="177"/>
                  </a:lnTo>
                  <a:lnTo>
                    <a:pt x="32" y="142"/>
                  </a:lnTo>
                  <a:lnTo>
                    <a:pt x="15" y="103"/>
                  </a:lnTo>
                  <a:lnTo>
                    <a:pt x="14" y="90"/>
                  </a:lnTo>
                  <a:lnTo>
                    <a:pt x="0" y="74"/>
                  </a:lnTo>
                  <a:lnTo>
                    <a:pt x="0" y="1"/>
                  </a:lnTo>
                  <a:lnTo>
                    <a:pt x="90" y="1"/>
                  </a:lnTo>
                  <a:lnTo>
                    <a:pt x="176" y="0"/>
                  </a:lnTo>
                  <a:lnTo>
                    <a:pt x="175" y="4"/>
                  </a:lnTo>
                  <a:lnTo>
                    <a:pt x="182" y="8"/>
                  </a:lnTo>
                  <a:lnTo>
                    <a:pt x="176" y="19"/>
                  </a:lnTo>
                  <a:lnTo>
                    <a:pt x="182" y="24"/>
                  </a:lnTo>
                  <a:lnTo>
                    <a:pt x="175" y="27"/>
                  </a:lnTo>
                  <a:lnTo>
                    <a:pt x="180" y="41"/>
                  </a:lnTo>
                  <a:lnTo>
                    <a:pt x="192" y="50"/>
                  </a:lnTo>
                  <a:lnTo>
                    <a:pt x="180" y="65"/>
                  </a:lnTo>
                  <a:lnTo>
                    <a:pt x="182" y="73"/>
                  </a:lnTo>
                  <a:lnTo>
                    <a:pt x="164" y="86"/>
                  </a:lnTo>
                  <a:lnTo>
                    <a:pt x="155" y="108"/>
                  </a:lnTo>
                  <a:lnTo>
                    <a:pt x="155" y="124"/>
                  </a:lnTo>
                  <a:lnTo>
                    <a:pt x="146" y="127"/>
                  </a:lnTo>
                  <a:lnTo>
                    <a:pt x="151" y="140"/>
                  </a:lnTo>
                  <a:lnTo>
                    <a:pt x="146" y="146"/>
                  </a:lnTo>
                  <a:lnTo>
                    <a:pt x="205" y="146"/>
                  </a:lnTo>
                  <a:lnTo>
                    <a:pt x="262" y="146"/>
                  </a:lnTo>
                  <a:lnTo>
                    <a:pt x="256" y="168"/>
                  </a:lnTo>
                  <a:lnTo>
                    <a:pt x="272" y="197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8" name="Freeform 38">
              <a:extLst>
                <a:ext uri="{FF2B5EF4-FFF2-40B4-BE49-F238E27FC236}">
                  <a16:creationId xmlns:a16="http://schemas.microsoft.com/office/drawing/2014/main" id="{800084AE-3D3E-4C54-97E2-91BA68728B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15079" y="4308011"/>
              <a:ext cx="371225" cy="529806"/>
            </a:xfrm>
            <a:custGeom>
              <a:avLst/>
              <a:gdLst>
                <a:gd name="T0" fmla="*/ 0 w 218"/>
                <a:gd name="T1" fmla="*/ 0 h 342"/>
                <a:gd name="T2" fmla="*/ 0 w 218"/>
                <a:gd name="T3" fmla="*/ 0 h 342"/>
                <a:gd name="T4" fmla="*/ 0 w 218"/>
                <a:gd name="T5" fmla="*/ 0 h 342"/>
                <a:gd name="T6" fmla="*/ 0 w 218"/>
                <a:gd name="T7" fmla="*/ 0 h 342"/>
                <a:gd name="T8" fmla="*/ 0 w 218"/>
                <a:gd name="T9" fmla="*/ 0 h 342"/>
                <a:gd name="T10" fmla="*/ 0 w 218"/>
                <a:gd name="T11" fmla="*/ 0 h 342"/>
                <a:gd name="T12" fmla="*/ 0 w 218"/>
                <a:gd name="T13" fmla="*/ 0 h 342"/>
                <a:gd name="T14" fmla="*/ 0 w 218"/>
                <a:gd name="T15" fmla="*/ 0 h 342"/>
                <a:gd name="T16" fmla="*/ 0 w 218"/>
                <a:gd name="T17" fmla="*/ 0 h 342"/>
                <a:gd name="T18" fmla="*/ 0 w 218"/>
                <a:gd name="T19" fmla="*/ 0 h 342"/>
                <a:gd name="T20" fmla="*/ 0 w 218"/>
                <a:gd name="T21" fmla="*/ 0 h 342"/>
                <a:gd name="T22" fmla="*/ 0 w 218"/>
                <a:gd name="T23" fmla="*/ 0 h 342"/>
                <a:gd name="T24" fmla="*/ 0 w 218"/>
                <a:gd name="T25" fmla="*/ 0 h 342"/>
                <a:gd name="T26" fmla="*/ 0 w 218"/>
                <a:gd name="T27" fmla="*/ 0 h 342"/>
                <a:gd name="T28" fmla="*/ 0 w 218"/>
                <a:gd name="T29" fmla="*/ 0 h 342"/>
                <a:gd name="T30" fmla="*/ 0 w 218"/>
                <a:gd name="T31" fmla="*/ 0 h 342"/>
                <a:gd name="T32" fmla="*/ 0 w 218"/>
                <a:gd name="T33" fmla="*/ 0 h 342"/>
                <a:gd name="T34" fmla="*/ 0 w 218"/>
                <a:gd name="T35" fmla="*/ 0 h 342"/>
                <a:gd name="T36" fmla="*/ 0 w 218"/>
                <a:gd name="T37" fmla="*/ 0 h 342"/>
                <a:gd name="T38" fmla="*/ 0 w 218"/>
                <a:gd name="T39" fmla="*/ 0 h 342"/>
                <a:gd name="T40" fmla="*/ 0 w 218"/>
                <a:gd name="T41" fmla="*/ 0 h 342"/>
                <a:gd name="T42" fmla="*/ 0 w 218"/>
                <a:gd name="T43" fmla="*/ 0 h 342"/>
                <a:gd name="T44" fmla="*/ 0 w 218"/>
                <a:gd name="T45" fmla="*/ 0 h 342"/>
                <a:gd name="T46" fmla="*/ 0 w 218"/>
                <a:gd name="T47" fmla="*/ 0 h 342"/>
                <a:gd name="T48" fmla="*/ 0 w 218"/>
                <a:gd name="T49" fmla="*/ 0 h 342"/>
                <a:gd name="T50" fmla="*/ 0 w 218"/>
                <a:gd name="T51" fmla="*/ 0 h 342"/>
                <a:gd name="T52" fmla="*/ 0 w 218"/>
                <a:gd name="T53" fmla="*/ 0 h 3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8"/>
                <a:gd name="T82" fmla="*/ 0 h 342"/>
                <a:gd name="T83" fmla="*/ 218 w 218"/>
                <a:gd name="T84" fmla="*/ 342 h 3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8" h="342">
                  <a:moveTo>
                    <a:pt x="4" y="333"/>
                  </a:moveTo>
                  <a:lnTo>
                    <a:pt x="19" y="332"/>
                  </a:lnTo>
                  <a:lnTo>
                    <a:pt x="28" y="296"/>
                  </a:lnTo>
                  <a:lnTo>
                    <a:pt x="32" y="342"/>
                  </a:lnTo>
                  <a:lnTo>
                    <a:pt x="65" y="334"/>
                  </a:lnTo>
                  <a:lnTo>
                    <a:pt x="66" y="314"/>
                  </a:lnTo>
                  <a:lnTo>
                    <a:pt x="53" y="300"/>
                  </a:lnTo>
                  <a:lnTo>
                    <a:pt x="53" y="291"/>
                  </a:lnTo>
                  <a:lnTo>
                    <a:pt x="131" y="291"/>
                  </a:lnTo>
                  <a:lnTo>
                    <a:pt x="212" y="291"/>
                  </a:lnTo>
                  <a:lnTo>
                    <a:pt x="205" y="277"/>
                  </a:lnTo>
                  <a:lnTo>
                    <a:pt x="212" y="236"/>
                  </a:lnTo>
                  <a:lnTo>
                    <a:pt x="205" y="226"/>
                  </a:lnTo>
                  <a:lnTo>
                    <a:pt x="208" y="210"/>
                  </a:lnTo>
                  <a:lnTo>
                    <a:pt x="218" y="199"/>
                  </a:lnTo>
                  <a:lnTo>
                    <a:pt x="213" y="195"/>
                  </a:lnTo>
                  <a:lnTo>
                    <a:pt x="214" y="189"/>
                  </a:lnTo>
                  <a:lnTo>
                    <a:pt x="205" y="173"/>
                  </a:lnTo>
                  <a:lnTo>
                    <a:pt x="200" y="146"/>
                  </a:lnTo>
                  <a:lnTo>
                    <a:pt x="190" y="86"/>
                  </a:lnTo>
                  <a:lnTo>
                    <a:pt x="173" y="0"/>
                  </a:lnTo>
                  <a:lnTo>
                    <a:pt x="93" y="0"/>
                  </a:lnTo>
                  <a:lnTo>
                    <a:pt x="19" y="0"/>
                  </a:lnTo>
                  <a:lnTo>
                    <a:pt x="24" y="9"/>
                  </a:lnTo>
                  <a:lnTo>
                    <a:pt x="13" y="108"/>
                  </a:lnTo>
                  <a:lnTo>
                    <a:pt x="0" y="226"/>
                  </a:lnTo>
                  <a:lnTo>
                    <a:pt x="4" y="333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39" name="Freeform 39">
              <a:extLst>
                <a:ext uri="{FF2B5EF4-FFF2-40B4-BE49-F238E27FC236}">
                  <a16:creationId xmlns:a16="http://schemas.microsoft.com/office/drawing/2014/main" id="{55934E07-3498-436B-88C6-80CFAABB6F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04448" y="4757728"/>
              <a:ext cx="783707" cy="616048"/>
            </a:xfrm>
            <a:custGeom>
              <a:avLst/>
              <a:gdLst>
                <a:gd name="T0" fmla="*/ 0 w 455"/>
                <a:gd name="T1" fmla="*/ 0 h 401"/>
                <a:gd name="T2" fmla="*/ 0 w 455"/>
                <a:gd name="T3" fmla="*/ 0 h 401"/>
                <a:gd name="T4" fmla="*/ 0 w 455"/>
                <a:gd name="T5" fmla="*/ 0 h 401"/>
                <a:gd name="T6" fmla="*/ 0 w 455"/>
                <a:gd name="T7" fmla="*/ 0 h 401"/>
                <a:gd name="T8" fmla="*/ 0 w 455"/>
                <a:gd name="T9" fmla="*/ 0 h 401"/>
                <a:gd name="T10" fmla="*/ 0 w 455"/>
                <a:gd name="T11" fmla="*/ 0 h 401"/>
                <a:gd name="T12" fmla="*/ 0 w 455"/>
                <a:gd name="T13" fmla="*/ 0 h 401"/>
                <a:gd name="T14" fmla="*/ 0 w 455"/>
                <a:gd name="T15" fmla="*/ 0 h 401"/>
                <a:gd name="T16" fmla="*/ 0 w 455"/>
                <a:gd name="T17" fmla="*/ 0 h 401"/>
                <a:gd name="T18" fmla="*/ 0 w 455"/>
                <a:gd name="T19" fmla="*/ 0 h 401"/>
                <a:gd name="T20" fmla="*/ 0 w 455"/>
                <a:gd name="T21" fmla="*/ 0 h 401"/>
                <a:gd name="T22" fmla="*/ 0 w 455"/>
                <a:gd name="T23" fmla="*/ 0 h 401"/>
                <a:gd name="T24" fmla="*/ 0 w 455"/>
                <a:gd name="T25" fmla="*/ 0 h 401"/>
                <a:gd name="T26" fmla="*/ 0 w 455"/>
                <a:gd name="T27" fmla="*/ 0 h 401"/>
                <a:gd name="T28" fmla="*/ 0 w 455"/>
                <a:gd name="T29" fmla="*/ 0 h 401"/>
                <a:gd name="T30" fmla="*/ 0 w 455"/>
                <a:gd name="T31" fmla="*/ 0 h 401"/>
                <a:gd name="T32" fmla="*/ 0 w 455"/>
                <a:gd name="T33" fmla="*/ 0 h 401"/>
                <a:gd name="T34" fmla="*/ 0 w 455"/>
                <a:gd name="T35" fmla="*/ 0 h 401"/>
                <a:gd name="T36" fmla="*/ 0 w 455"/>
                <a:gd name="T37" fmla="*/ 0 h 401"/>
                <a:gd name="T38" fmla="*/ 0 w 455"/>
                <a:gd name="T39" fmla="*/ 0 h 401"/>
                <a:gd name="T40" fmla="*/ 0 w 455"/>
                <a:gd name="T41" fmla="*/ 0 h 401"/>
                <a:gd name="T42" fmla="*/ 0 w 455"/>
                <a:gd name="T43" fmla="*/ 0 h 401"/>
                <a:gd name="T44" fmla="*/ 0 w 455"/>
                <a:gd name="T45" fmla="*/ 0 h 401"/>
                <a:gd name="T46" fmla="*/ 0 w 455"/>
                <a:gd name="T47" fmla="*/ 0 h 401"/>
                <a:gd name="T48" fmla="*/ 0 w 455"/>
                <a:gd name="T49" fmla="*/ 0 h 401"/>
                <a:gd name="T50" fmla="*/ 0 w 455"/>
                <a:gd name="T51" fmla="*/ 0 h 401"/>
                <a:gd name="T52" fmla="*/ 0 w 455"/>
                <a:gd name="T53" fmla="*/ 0 h 401"/>
                <a:gd name="T54" fmla="*/ 0 w 455"/>
                <a:gd name="T55" fmla="*/ 0 h 401"/>
                <a:gd name="T56" fmla="*/ 0 w 455"/>
                <a:gd name="T57" fmla="*/ 0 h 401"/>
                <a:gd name="T58" fmla="*/ 0 w 455"/>
                <a:gd name="T59" fmla="*/ 0 h 401"/>
                <a:gd name="T60" fmla="*/ 0 w 455"/>
                <a:gd name="T61" fmla="*/ 0 h 401"/>
                <a:gd name="T62" fmla="*/ 0 w 455"/>
                <a:gd name="T63" fmla="*/ 0 h 401"/>
                <a:gd name="T64" fmla="*/ 0 w 455"/>
                <a:gd name="T65" fmla="*/ 0 h 401"/>
                <a:gd name="T66" fmla="*/ 0 w 455"/>
                <a:gd name="T67" fmla="*/ 0 h 401"/>
                <a:gd name="T68" fmla="*/ 0 w 455"/>
                <a:gd name="T69" fmla="*/ 0 h 401"/>
                <a:gd name="T70" fmla="*/ 0 w 455"/>
                <a:gd name="T71" fmla="*/ 0 h 401"/>
                <a:gd name="T72" fmla="*/ 0 w 455"/>
                <a:gd name="T73" fmla="*/ 0 h 401"/>
                <a:gd name="T74" fmla="*/ 0 w 455"/>
                <a:gd name="T75" fmla="*/ 0 h 401"/>
                <a:gd name="T76" fmla="*/ 0 w 455"/>
                <a:gd name="T77" fmla="*/ 0 h 401"/>
                <a:gd name="T78" fmla="*/ 0 w 455"/>
                <a:gd name="T79" fmla="*/ 0 h 401"/>
                <a:gd name="T80" fmla="*/ 0 w 455"/>
                <a:gd name="T81" fmla="*/ 0 h 401"/>
                <a:gd name="T82" fmla="*/ 0 w 455"/>
                <a:gd name="T83" fmla="*/ 0 h 401"/>
                <a:gd name="T84" fmla="*/ 0 w 455"/>
                <a:gd name="T85" fmla="*/ 0 h 401"/>
                <a:gd name="T86" fmla="*/ 0 w 455"/>
                <a:gd name="T87" fmla="*/ 0 h 401"/>
                <a:gd name="T88" fmla="*/ 0 w 455"/>
                <a:gd name="T89" fmla="*/ 0 h 401"/>
                <a:gd name="T90" fmla="*/ 0 w 455"/>
                <a:gd name="T91" fmla="*/ 0 h 401"/>
                <a:gd name="T92" fmla="*/ 0 w 455"/>
                <a:gd name="T93" fmla="*/ 0 h 401"/>
                <a:gd name="T94" fmla="*/ 0 w 455"/>
                <a:gd name="T95" fmla="*/ 0 h 401"/>
                <a:gd name="T96" fmla="*/ 0 w 455"/>
                <a:gd name="T97" fmla="*/ 0 h 401"/>
                <a:gd name="T98" fmla="*/ 0 w 455"/>
                <a:gd name="T99" fmla="*/ 0 h 401"/>
                <a:gd name="T100" fmla="*/ 0 w 455"/>
                <a:gd name="T101" fmla="*/ 0 h 401"/>
                <a:gd name="T102" fmla="*/ 0 w 455"/>
                <a:gd name="T103" fmla="*/ 0 h 401"/>
                <a:gd name="T104" fmla="*/ 0 w 455"/>
                <a:gd name="T105" fmla="*/ 0 h 401"/>
                <a:gd name="T106" fmla="*/ 0 w 455"/>
                <a:gd name="T107" fmla="*/ 0 h 401"/>
                <a:gd name="T108" fmla="*/ 0 w 455"/>
                <a:gd name="T109" fmla="*/ 0 h 40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5"/>
                <a:gd name="T166" fmla="*/ 0 h 401"/>
                <a:gd name="T167" fmla="*/ 455 w 455"/>
                <a:gd name="T168" fmla="*/ 401 h 40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5" h="401">
                  <a:moveTo>
                    <a:pt x="12" y="43"/>
                  </a:moveTo>
                  <a:lnTo>
                    <a:pt x="33" y="29"/>
                  </a:lnTo>
                  <a:lnTo>
                    <a:pt x="32" y="39"/>
                  </a:lnTo>
                  <a:lnTo>
                    <a:pt x="77" y="34"/>
                  </a:lnTo>
                  <a:lnTo>
                    <a:pt x="81" y="37"/>
                  </a:lnTo>
                  <a:lnTo>
                    <a:pt x="78" y="43"/>
                  </a:lnTo>
                  <a:lnTo>
                    <a:pt x="124" y="68"/>
                  </a:lnTo>
                  <a:lnTo>
                    <a:pt x="141" y="88"/>
                  </a:lnTo>
                  <a:lnTo>
                    <a:pt x="157" y="85"/>
                  </a:lnTo>
                  <a:lnTo>
                    <a:pt x="194" y="74"/>
                  </a:lnTo>
                  <a:lnTo>
                    <a:pt x="202" y="63"/>
                  </a:lnTo>
                  <a:lnTo>
                    <a:pt x="229" y="67"/>
                  </a:lnTo>
                  <a:lnTo>
                    <a:pt x="253" y="91"/>
                  </a:lnTo>
                  <a:lnTo>
                    <a:pt x="254" y="100"/>
                  </a:lnTo>
                  <a:lnTo>
                    <a:pt x="294" y="132"/>
                  </a:lnTo>
                  <a:lnTo>
                    <a:pt x="296" y="161"/>
                  </a:lnTo>
                  <a:lnTo>
                    <a:pt x="291" y="206"/>
                  </a:lnTo>
                  <a:lnTo>
                    <a:pt x="294" y="218"/>
                  </a:lnTo>
                  <a:lnTo>
                    <a:pt x="297" y="219"/>
                  </a:lnTo>
                  <a:lnTo>
                    <a:pt x="300" y="208"/>
                  </a:lnTo>
                  <a:lnTo>
                    <a:pt x="309" y="214"/>
                  </a:lnTo>
                  <a:lnTo>
                    <a:pt x="304" y="249"/>
                  </a:lnTo>
                  <a:lnTo>
                    <a:pt x="324" y="284"/>
                  </a:lnTo>
                  <a:lnTo>
                    <a:pt x="336" y="281"/>
                  </a:lnTo>
                  <a:lnTo>
                    <a:pt x="338" y="301"/>
                  </a:lnTo>
                  <a:lnTo>
                    <a:pt x="344" y="300"/>
                  </a:lnTo>
                  <a:lnTo>
                    <a:pt x="340" y="309"/>
                  </a:lnTo>
                  <a:lnTo>
                    <a:pt x="357" y="345"/>
                  </a:lnTo>
                  <a:lnTo>
                    <a:pt x="378" y="357"/>
                  </a:lnTo>
                  <a:lnTo>
                    <a:pt x="390" y="382"/>
                  </a:lnTo>
                  <a:lnTo>
                    <a:pt x="390" y="399"/>
                  </a:lnTo>
                  <a:lnTo>
                    <a:pt x="409" y="401"/>
                  </a:lnTo>
                  <a:lnTo>
                    <a:pt x="432" y="392"/>
                  </a:lnTo>
                  <a:lnTo>
                    <a:pt x="442" y="396"/>
                  </a:lnTo>
                  <a:lnTo>
                    <a:pt x="455" y="338"/>
                  </a:lnTo>
                  <a:lnTo>
                    <a:pt x="455" y="279"/>
                  </a:lnTo>
                  <a:lnTo>
                    <a:pt x="426" y="211"/>
                  </a:lnTo>
                  <a:lnTo>
                    <a:pt x="423" y="167"/>
                  </a:lnTo>
                  <a:lnTo>
                    <a:pt x="395" y="122"/>
                  </a:lnTo>
                  <a:lnTo>
                    <a:pt x="379" y="78"/>
                  </a:lnTo>
                  <a:lnTo>
                    <a:pt x="368" y="25"/>
                  </a:lnTo>
                  <a:lnTo>
                    <a:pt x="370" y="18"/>
                  </a:lnTo>
                  <a:lnTo>
                    <a:pt x="344" y="11"/>
                  </a:lnTo>
                  <a:lnTo>
                    <a:pt x="338" y="17"/>
                  </a:lnTo>
                  <a:lnTo>
                    <a:pt x="338" y="43"/>
                  </a:lnTo>
                  <a:lnTo>
                    <a:pt x="332" y="43"/>
                  </a:lnTo>
                  <a:lnTo>
                    <a:pt x="328" y="30"/>
                  </a:lnTo>
                  <a:lnTo>
                    <a:pt x="249" y="23"/>
                  </a:lnTo>
                  <a:lnTo>
                    <a:pt x="167" y="19"/>
                  </a:lnTo>
                  <a:lnTo>
                    <a:pt x="159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13" y="23"/>
                  </a:lnTo>
                  <a:lnTo>
                    <a:pt x="12" y="43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0" name="Freeform 40">
              <a:extLst>
                <a:ext uri="{FF2B5EF4-FFF2-40B4-BE49-F238E27FC236}">
                  <a16:creationId xmlns:a16="http://schemas.microsoft.com/office/drawing/2014/main" id="{B8454015-2F0E-4470-9A99-BC09F2DC5C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2592" y="4117032"/>
              <a:ext cx="907453" cy="190976"/>
            </a:xfrm>
            <a:custGeom>
              <a:avLst/>
              <a:gdLst>
                <a:gd name="T0" fmla="*/ 0 w 526"/>
                <a:gd name="T1" fmla="*/ 0 h 125"/>
                <a:gd name="T2" fmla="*/ 0 w 526"/>
                <a:gd name="T3" fmla="*/ 0 h 125"/>
                <a:gd name="T4" fmla="*/ 0 w 526"/>
                <a:gd name="T5" fmla="*/ 0 h 125"/>
                <a:gd name="T6" fmla="*/ 0 w 526"/>
                <a:gd name="T7" fmla="*/ 0 h 125"/>
                <a:gd name="T8" fmla="*/ 0 w 526"/>
                <a:gd name="T9" fmla="*/ 0 h 125"/>
                <a:gd name="T10" fmla="*/ 0 w 526"/>
                <a:gd name="T11" fmla="*/ 0 h 125"/>
                <a:gd name="T12" fmla="*/ 0 w 526"/>
                <a:gd name="T13" fmla="*/ 0 h 125"/>
                <a:gd name="T14" fmla="*/ 0 w 526"/>
                <a:gd name="T15" fmla="*/ 0 h 125"/>
                <a:gd name="T16" fmla="*/ 0 w 526"/>
                <a:gd name="T17" fmla="*/ 0 h 125"/>
                <a:gd name="T18" fmla="*/ 0 w 526"/>
                <a:gd name="T19" fmla="*/ 0 h 125"/>
                <a:gd name="T20" fmla="*/ 0 w 526"/>
                <a:gd name="T21" fmla="*/ 0 h 125"/>
                <a:gd name="T22" fmla="*/ 0 w 526"/>
                <a:gd name="T23" fmla="*/ 0 h 125"/>
                <a:gd name="T24" fmla="*/ 0 w 526"/>
                <a:gd name="T25" fmla="*/ 0 h 125"/>
                <a:gd name="T26" fmla="*/ 0 w 526"/>
                <a:gd name="T27" fmla="*/ 0 h 125"/>
                <a:gd name="T28" fmla="*/ 0 w 526"/>
                <a:gd name="T29" fmla="*/ 0 h 125"/>
                <a:gd name="T30" fmla="*/ 0 w 526"/>
                <a:gd name="T31" fmla="*/ 0 h 125"/>
                <a:gd name="T32" fmla="*/ 0 w 526"/>
                <a:gd name="T33" fmla="*/ 0 h 125"/>
                <a:gd name="T34" fmla="*/ 0 w 526"/>
                <a:gd name="T35" fmla="*/ 0 h 125"/>
                <a:gd name="T36" fmla="*/ 0 w 526"/>
                <a:gd name="T37" fmla="*/ 0 h 125"/>
                <a:gd name="T38" fmla="*/ 0 w 526"/>
                <a:gd name="T39" fmla="*/ 0 h 125"/>
                <a:gd name="T40" fmla="*/ 0 w 526"/>
                <a:gd name="T41" fmla="*/ 0 h 125"/>
                <a:gd name="T42" fmla="*/ 0 w 526"/>
                <a:gd name="T43" fmla="*/ 0 h 125"/>
                <a:gd name="T44" fmla="*/ 0 w 526"/>
                <a:gd name="T45" fmla="*/ 0 h 125"/>
                <a:gd name="T46" fmla="*/ 0 w 526"/>
                <a:gd name="T47" fmla="*/ 0 h 125"/>
                <a:gd name="T48" fmla="*/ 0 w 526"/>
                <a:gd name="T49" fmla="*/ 0 h 125"/>
                <a:gd name="T50" fmla="*/ 0 w 526"/>
                <a:gd name="T51" fmla="*/ 0 h 125"/>
                <a:gd name="T52" fmla="*/ 0 w 526"/>
                <a:gd name="T53" fmla="*/ 0 h 125"/>
                <a:gd name="T54" fmla="*/ 0 w 526"/>
                <a:gd name="T55" fmla="*/ 0 h 125"/>
                <a:gd name="T56" fmla="*/ 0 w 526"/>
                <a:gd name="T57" fmla="*/ 0 h 125"/>
                <a:gd name="T58" fmla="*/ 0 w 526"/>
                <a:gd name="T59" fmla="*/ 0 h 125"/>
                <a:gd name="T60" fmla="*/ 0 w 526"/>
                <a:gd name="T61" fmla="*/ 0 h 125"/>
                <a:gd name="T62" fmla="*/ 0 w 526"/>
                <a:gd name="T63" fmla="*/ 0 h 125"/>
                <a:gd name="T64" fmla="*/ 0 w 526"/>
                <a:gd name="T65" fmla="*/ 0 h 125"/>
                <a:gd name="T66" fmla="*/ 0 w 526"/>
                <a:gd name="T67" fmla="*/ 0 h 125"/>
                <a:gd name="T68" fmla="*/ 0 w 526"/>
                <a:gd name="T69" fmla="*/ 0 h 125"/>
                <a:gd name="T70" fmla="*/ 0 w 526"/>
                <a:gd name="T71" fmla="*/ 0 h 125"/>
                <a:gd name="T72" fmla="*/ 0 w 526"/>
                <a:gd name="T73" fmla="*/ 0 h 125"/>
                <a:gd name="T74" fmla="*/ 0 w 526"/>
                <a:gd name="T75" fmla="*/ 0 h 12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6"/>
                <a:gd name="T115" fmla="*/ 0 h 125"/>
                <a:gd name="T116" fmla="*/ 526 w 526"/>
                <a:gd name="T117" fmla="*/ 125 h 12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6" h="125">
                  <a:moveTo>
                    <a:pt x="526" y="2"/>
                  </a:moveTo>
                  <a:lnTo>
                    <a:pt x="402" y="2"/>
                  </a:lnTo>
                  <a:lnTo>
                    <a:pt x="313" y="0"/>
                  </a:lnTo>
                  <a:lnTo>
                    <a:pt x="274" y="0"/>
                  </a:lnTo>
                  <a:lnTo>
                    <a:pt x="201" y="0"/>
                  </a:lnTo>
                  <a:lnTo>
                    <a:pt x="136" y="0"/>
                  </a:lnTo>
                  <a:lnTo>
                    <a:pt x="137" y="14"/>
                  </a:lnTo>
                  <a:lnTo>
                    <a:pt x="50" y="19"/>
                  </a:lnTo>
                  <a:lnTo>
                    <a:pt x="45" y="11"/>
                  </a:lnTo>
                  <a:lnTo>
                    <a:pt x="48" y="24"/>
                  </a:lnTo>
                  <a:lnTo>
                    <a:pt x="42" y="27"/>
                  </a:lnTo>
                  <a:lnTo>
                    <a:pt x="46" y="32"/>
                  </a:lnTo>
                  <a:lnTo>
                    <a:pt x="38" y="33"/>
                  </a:lnTo>
                  <a:lnTo>
                    <a:pt x="44" y="41"/>
                  </a:lnTo>
                  <a:lnTo>
                    <a:pt x="34" y="52"/>
                  </a:lnTo>
                  <a:lnTo>
                    <a:pt x="40" y="58"/>
                  </a:lnTo>
                  <a:lnTo>
                    <a:pt x="22" y="72"/>
                  </a:lnTo>
                  <a:lnTo>
                    <a:pt x="24" y="88"/>
                  </a:lnTo>
                  <a:lnTo>
                    <a:pt x="12" y="99"/>
                  </a:lnTo>
                  <a:lnTo>
                    <a:pt x="13" y="117"/>
                  </a:lnTo>
                  <a:lnTo>
                    <a:pt x="0" y="125"/>
                  </a:lnTo>
                  <a:lnTo>
                    <a:pt x="63" y="125"/>
                  </a:lnTo>
                  <a:lnTo>
                    <a:pt x="130" y="125"/>
                  </a:lnTo>
                  <a:lnTo>
                    <a:pt x="204" y="125"/>
                  </a:lnTo>
                  <a:lnTo>
                    <a:pt x="364" y="125"/>
                  </a:lnTo>
                  <a:lnTo>
                    <a:pt x="366" y="109"/>
                  </a:lnTo>
                  <a:lnTo>
                    <a:pt x="379" y="107"/>
                  </a:lnTo>
                  <a:lnTo>
                    <a:pt x="390" y="88"/>
                  </a:lnTo>
                  <a:lnTo>
                    <a:pt x="415" y="84"/>
                  </a:lnTo>
                  <a:lnTo>
                    <a:pt x="446" y="68"/>
                  </a:lnTo>
                  <a:lnTo>
                    <a:pt x="450" y="56"/>
                  </a:lnTo>
                  <a:lnTo>
                    <a:pt x="467" y="48"/>
                  </a:lnTo>
                  <a:lnTo>
                    <a:pt x="472" y="55"/>
                  </a:lnTo>
                  <a:lnTo>
                    <a:pt x="487" y="41"/>
                  </a:lnTo>
                  <a:lnTo>
                    <a:pt x="501" y="44"/>
                  </a:lnTo>
                  <a:lnTo>
                    <a:pt x="510" y="29"/>
                  </a:lnTo>
                  <a:lnTo>
                    <a:pt x="524" y="27"/>
                  </a:lnTo>
                  <a:lnTo>
                    <a:pt x="526" y="2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41" name="Freeform 41">
              <a:extLst>
                <a:ext uri="{FF2B5EF4-FFF2-40B4-BE49-F238E27FC236}">
                  <a16:creationId xmlns:a16="http://schemas.microsoft.com/office/drawing/2014/main" id="{396E4759-AC14-4242-A142-3BD5DEE81D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78220" y="4308011"/>
              <a:ext cx="378105" cy="529806"/>
            </a:xfrm>
            <a:custGeom>
              <a:avLst/>
              <a:gdLst>
                <a:gd name="T0" fmla="*/ 0 w 217"/>
                <a:gd name="T1" fmla="*/ 0 h 342"/>
                <a:gd name="T2" fmla="*/ 0 w 217"/>
                <a:gd name="T3" fmla="*/ 0 h 342"/>
                <a:gd name="T4" fmla="*/ 0 w 217"/>
                <a:gd name="T5" fmla="*/ 0 h 342"/>
                <a:gd name="T6" fmla="*/ 0 w 217"/>
                <a:gd name="T7" fmla="*/ 0 h 342"/>
                <a:gd name="T8" fmla="*/ 0 w 217"/>
                <a:gd name="T9" fmla="*/ 0 h 342"/>
                <a:gd name="T10" fmla="*/ 0 w 217"/>
                <a:gd name="T11" fmla="*/ 0 h 342"/>
                <a:gd name="T12" fmla="*/ 0 w 217"/>
                <a:gd name="T13" fmla="*/ 0 h 342"/>
                <a:gd name="T14" fmla="*/ 0 w 217"/>
                <a:gd name="T15" fmla="*/ 0 h 342"/>
                <a:gd name="T16" fmla="*/ 0 w 217"/>
                <a:gd name="T17" fmla="*/ 0 h 342"/>
                <a:gd name="T18" fmla="*/ 0 w 217"/>
                <a:gd name="T19" fmla="*/ 0 h 342"/>
                <a:gd name="T20" fmla="*/ 0 w 217"/>
                <a:gd name="T21" fmla="*/ 0 h 342"/>
                <a:gd name="T22" fmla="*/ 0 w 217"/>
                <a:gd name="T23" fmla="*/ 0 h 342"/>
                <a:gd name="T24" fmla="*/ 0 w 217"/>
                <a:gd name="T25" fmla="*/ 0 h 342"/>
                <a:gd name="T26" fmla="*/ 0 w 217"/>
                <a:gd name="T27" fmla="*/ 0 h 342"/>
                <a:gd name="T28" fmla="*/ 0 w 217"/>
                <a:gd name="T29" fmla="*/ 0 h 342"/>
                <a:gd name="T30" fmla="*/ 0 w 217"/>
                <a:gd name="T31" fmla="*/ 0 h 342"/>
                <a:gd name="T32" fmla="*/ 0 w 217"/>
                <a:gd name="T33" fmla="*/ 0 h 342"/>
                <a:gd name="T34" fmla="*/ 0 w 217"/>
                <a:gd name="T35" fmla="*/ 0 h 342"/>
                <a:gd name="T36" fmla="*/ 0 w 217"/>
                <a:gd name="T37" fmla="*/ 0 h 342"/>
                <a:gd name="T38" fmla="*/ 0 w 217"/>
                <a:gd name="T39" fmla="*/ 0 h 342"/>
                <a:gd name="T40" fmla="*/ 0 w 217"/>
                <a:gd name="T41" fmla="*/ 0 h 342"/>
                <a:gd name="T42" fmla="*/ 0 w 217"/>
                <a:gd name="T43" fmla="*/ 0 h 342"/>
                <a:gd name="T44" fmla="*/ 0 w 217"/>
                <a:gd name="T45" fmla="*/ 0 h 342"/>
                <a:gd name="T46" fmla="*/ 0 w 217"/>
                <a:gd name="T47" fmla="*/ 0 h 342"/>
                <a:gd name="T48" fmla="*/ 0 w 217"/>
                <a:gd name="T49" fmla="*/ 0 h 342"/>
                <a:gd name="T50" fmla="*/ 0 w 217"/>
                <a:gd name="T51" fmla="*/ 0 h 342"/>
                <a:gd name="T52" fmla="*/ 0 w 217"/>
                <a:gd name="T53" fmla="*/ 0 h 342"/>
                <a:gd name="T54" fmla="*/ 0 w 217"/>
                <a:gd name="T55" fmla="*/ 0 h 342"/>
                <a:gd name="T56" fmla="*/ 0 w 217"/>
                <a:gd name="T57" fmla="*/ 0 h 342"/>
                <a:gd name="T58" fmla="*/ 0 w 217"/>
                <a:gd name="T59" fmla="*/ 0 h 342"/>
                <a:gd name="T60" fmla="*/ 0 w 217"/>
                <a:gd name="T61" fmla="*/ 0 h 342"/>
                <a:gd name="T62" fmla="*/ 0 w 217"/>
                <a:gd name="T63" fmla="*/ 0 h 342"/>
                <a:gd name="T64" fmla="*/ 0 w 217"/>
                <a:gd name="T65" fmla="*/ 0 h 342"/>
                <a:gd name="T66" fmla="*/ 0 w 217"/>
                <a:gd name="T67" fmla="*/ 0 h 342"/>
                <a:gd name="T68" fmla="*/ 0 w 217"/>
                <a:gd name="T69" fmla="*/ 0 h 342"/>
                <a:gd name="T70" fmla="*/ 0 w 217"/>
                <a:gd name="T71" fmla="*/ 0 h 342"/>
                <a:gd name="T72" fmla="*/ 0 w 217"/>
                <a:gd name="T73" fmla="*/ 0 h 342"/>
                <a:gd name="T74" fmla="*/ 0 w 217"/>
                <a:gd name="T75" fmla="*/ 0 h 342"/>
                <a:gd name="T76" fmla="*/ 0 w 217"/>
                <a:gd name="T77" fmla="*/ 0 h 342"/>
                <a:gd name="T78" fmla="*/ 0 w 217"/>
                <a:gd name="T79" fmla="*/ 0 h 342"/>
                <a:gd name="T80" fmla="*/ 0 w 217"/>
                <a:gd name="T81" fmla="*/ 0 h 342"/>
                <a:gd name="T82" fmla="*/ 0 w 217"/>
                <a:gd name="T83" fmla="*/ 0 h 342"/>
                <a:gd name="T84" fmla="*/ 0 w 217"/>
                <a:gd name="T85" fmla="*/ 0 h 342"/>
                <a:gd name="T86" fmla="*/ 0 w 217"/>
                <a:gd name="T87" fmla="*/ 0 h 34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7"/>
                <a:gd name="T133" fmla="*/ 0 h 342"/>
                <a:gd name="T134" fmla="*/ 217 w 217"/>
                <a:gd name="T135" fmla="*/ 342 h 34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7" h="342">
                  <a:moveTo>
                    <a:pt x="197" y="333"/>
                  </a:moveTo>
                  <a:lnTo>
                    <a:pt x="161" y="330"/>
                  </a:lnTo>
                  <a:lnTo>
                    <a:pt x="126" y="342"/>
                  </a:lnTo>
                  <a:lnTo>
                    <a:pt x="110" y="313"/>
                  </a:lnTo>
                  <a:lnTo>
                    <a:pt x="116" y="291"/>
                  </a:lnTo>
                  <a:lnTo>
                    <a:pt x="59" y="291"/>
                  </a:lnTo>
                  <a:lnTo>
                    <a:pt x="0" y="291"/>
                  </a:lnTo>
                  <a:lnTo>
                    <a:pt x="5" y="285"/>
                  </a:lnTo>
                  <a:lnTo>
                    <a:pt x="0" y="272"/>
                  </a:lnTo>
                  <a:lnTo>
                    <a:pt x="9" y="269"/>
                  </a:lnTo>
                  <a:lnTo>
                    <a:pt x="9" y="253"/>
                  </a:lnTo>
                  <a:lnTo>
                    <a:pt x="18" y="231"/>
                  </a:lnTo>
                  <a:lnTo>
                    <a:pt x="36" y="218"/>
                  </a:lnTo>
                  <a:lnTo>
                    <a:pt x="34" y="210"/>
                  </a:lnTo>
                  <a:lnTo>
                    <a:pt x="46" y="195"/>
                  </a:lnTo>
                  <a:lnTo>
                    <a:pt x="34" y="186"/>
                  </a:lnTo>
                  <a:lnTo>
                    <a:pt x="29" y="172"/>
                  </a:lnTo>
                  <a:lnTo>
                    <a:pt x="36" y="169"/>
                  </a:lnTo>
                  <a:lnTo>
                    <a:pt x="30" y="164"/>
                  </a:lnTo>
                  <a:lnTo>
                    <a:pt x="36" y="153"/>
                  </a:lnTo>
                  <a:lnTo>
                    <a:pt x="29" y="149"/>
                  </a:lnTo>
                  <a:lnTo>
                    <a:pt x="30" y="145"/>
                  </a:lnTo>
                  <a:lnTo>
                    <a:pt x="34" y="134"/>
                  </a:lnTo>
                  <a:lnTo>
                    <a:pt x="29" y="125"/>
                  </a:lnTo>
                  <a:lnTo>
                    <a:pt x="32" y="112"/>
                  </a:lnTo>
                  <a:lnTo>
                    <a:pt x="25" y="107"/>
                  </a:lnTo>
                  <a:lnTo>
                    <a:pt x="30" y="101"/>
                  </a:lnTo>
                  <a:lnTo>
                    <a:pt x="25" y="97"/>
                  </a:lnTo>
                  <a:lnTo>
                    <a:pt x="37" y="90"/>
                  </a:lnTo>
                  <a:lnTo>
                    <a:pt x="36" y="76"/>
                  </a:lnTo>
                  <a:lnTo>
                    <a:pt x="48" y="71"/>
                  </a:lnTo>
                  <a:lnTo>
                    <a:pt x="42" y="64"/>
                  </a:lnTo>
                  <a:lnTo>
                    <a:pt x="54" y="54"/>
                  </a:lnTo>
                  <a:lnTo>
                    <a:pt x="54" y="47"/>
                  </a:lnTo>
                  <a:lnTo>
                    <a:pt x="66" y="43"/>
                  </a:lnTo>
                  <a:lnTo>
                    <a:pt x="67" y="21"/>
                  </a:lnTo>
                  <a:lnTo>
                    <a:pt x="85" y="8"/>
                  </a:lnTo>
                  <a:lnTo>
                    <a:pt x="82" y="0"/>
                  </a:lnTo>
                  <a:lnTo>
                    <a:pt x="145" y="0"/>
                  </a:lnTo>
                  <a:lnTo>
                    <a:pt x="212" y="0"/>
                  </a:lnTo>
                  <a:lnTo>
                    <a:pt x="217" y="9"/>
                  </a:lnTo>
                  <a:lnTo>
                    <a:pt x="206" y="108"/>
                  </a:lnTo>
                  <a:lnTo>
                    <a:pt x="193" y="226"/>
                  </a:lnTo>
                  <a:lnTo>
                    <a:pt x="197" y="333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2" name="Freeform 42">
              <a:extLst>
                <a:ext uri="{FF2B5EF4-FFF2-40B4-BE49-F238E27FC236}">
                  <a16:creationId xmlns:a16="http://schemas.microsoft.com/office/drawing/2014/main" id="{59028106-919B-47C4-8C90-F5CFBA27B73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54472" y="2829487"/>
              <a:ext cx="604966" cy="585251"/>
            </a:xfrm>
            <a:custGeom>
              <a:avLst/>
              <a:gdLst>
                <a:gd name="T0" fmla="*/ 0 w 353"/>
                <a:gd name="T1" fmla="*/ 0 h 379"/>
                <a:gd name="T2" fmla="*/ 0 w 353"/>
                <a:gd name="T3" fmla="*/ 0 h 379"/>
                <a:gd name="T4" fmla="*/ 0 w 353"/>
                <a:gd name="T5" fmla="*/ 0 h 379"/>
                <a:gd name="T6" fmla="*/ 0 w 353"/>
                <a:gd name="T7" fmla="*/ 0 h 379"/>
                <a:gd name="T8" fmla="*/ 0 w 353"/>
                <a:gd name="T9" fmla="*/ 0 h 379"/>
                <a:gd name="T10" fmla="*/ 0 w 353"/>
                <a:gd name="T11" fmla="*/ 0 h 379"/>
                <a:gd name="T12" fmla="*/ 0 w 353"/>
                <a:gd name="T13" fmla="*/ 0 h 379"/>
                <a:gd name="T14" fmla="*/ 0 w 353"/>
                <a:gd name="T15" fmla="*/ 0 h 379"/>
                <a:gd name="T16" fmla="*/ 0 w 353"/>
                <a:gd name="T17" fmla="*/ 0 h 379"/>
                <a:gd name="T18" fmla="*/ 0 w 353"/>
                <a:gd name="T19" fmla="*/ 0 h 379"/>
                <a:gd name="T20" fmla="*/ 0 w 353"/>
                <a:gd name="T21" fmla="*/ 0 h 379"/>
                <a:gd name="T22" fmla="*/ 0 w 353"/>
                <a:gd name="T23" fmla="*/ 0 h 379"/>
                <a:gd name="T24" fmla="*/ 0 w 353"/>
                <a:gd name="T25" fmla="*/ 0 h 379"/>
                <a:gd name="T26" fmla="*/ 0 w 353"/>
                <a:gd name="T27" fmla="*/ 0 h 379"/>
                <a:gd name="T28" fmla="*/ 0 w 353"/>
                <a:gd name="T29" fmla="*/ 0 h 379"/>
                <a:gd name="T30" fmla="*/ 0 w 353"/>
                <a:gd name="T31" fmla="*/ 0 h 379"/>
                <a:gd name="T32" fmla="*/ 0 w 353"/>
                <a:gd name="T33" fmla="*/ 0 h 379"/>
                <a:gd name="T34" fmla="*/ 0 w 353"/>
                <a:gd name="T35" fmla="*/ 0 h 379"/>
                <a:gd name="T36" fmla="*/ 0 w 353"/>
                <a:gd name="T37" fmla="*/ 0 h 379"/>
                <a:gd name="T38" fmla="*/ 0 w 353"/>
                <a:gd name="T39" fmla="*/ 0 h 379"/>
                <a:gd name="T40" fmla="*/ 0 w 353"/>
                <a:gd name="T41" fmla="*/ 0 h 379"/>
                <a:gd name="T42" fmla="*/ 0 w 353"/>
                <a:gd name="T43" fmla="*/ 0 h 379"/>
                <a:gd name="T44" fmla="*/ 0 w 353"/>
                <a:gd name="T45" fmla="*/ 0 h 379"/>
                <a:gd name="T46" fmla="*/ 0 w 353"/>
                <a:gd name="T47" fmla="*/ 0 h 379"/>
                <a:gd name="T48" fmla="*/ 0 w 353"/>
                <a:gd name="T49" fmla="*/ 0 h 379"/>
                <a:gd name="T50" fmla="*/ 0 w 353"/>
                <a:gd name="T51" fmla="*/ 0 h 379"/>
                <a:gd name="T52" fmla="*/ 0 w 353"/>
                <a:gd name="T53" fmla="*/ 0 h 379"/>
                <a:gd name="T54" fmla="*/ 0 w 353"/>
                <a:gd name="T55" fmla="*/ 0 h 379"/>
                <a:gd name="T56" fmla="*/ 0 w 353"/>
                <a:gd name="T57" fmla="*/ 0 h 379"/>
                <a:gd name="T58" fmla="*/ 0 w 353"/>
                <a:gd name="T59" fmla="*/ 0 h 379"/>
                <a:gd name="T60" fmla="*/ 0 w 353"/>
                <a:gd name="T61" fmla="*/ 0 h 379"/>
                <a:gd name="T62" fmla="*/ 0 w 353"/>
                <a:gd name="T63" fmla="*/ 0 h 379"/>
                <a:gd name="T64" fmla="*/ 0 w 353"/>
                <a:gd name="T65" fmla="*/ 0 h 379"/>
                <a:gd name="T66" fmla="*/ 0 w 353"/>
                <a:gd name="T67" fmla="*/ 0 h 379"/>
                <a:gd name="T68" fmla="*/ 0 w 353"/>
                <a:gd name="T69" fmla="*/ 0 h 379"/>
                <a:gd name="T70" fmla="*/ 0 w 353"/>
                <a:gd name="T71" fmla="*/ 0 h 379"/>
                <a:gd name="T72" fmla="*/ 0 w 353"/>
                <a:gd name="T73" fmla="*/ 0 h 379"/>
                <a:gd name="T74" fmla="*/ 0 w 353"/>
                <a:gd name="T75" fmla="*/ 0 h 379"/>
                <a:gd name="T76" fmla="*/ 0 w 353"/>
                <a:gd name="T77" fmla="*/ 0 h 379"/>
                <a:gd name="T78" fmla="*/ 0 w 353"/>
                <a:gd name="T79" fmla="*/ 0 h 379"/>
                <a:gd name="T80" fmla="*/ 0 w 353"/>
                <a:gd name="T81" fmla="*/ 0 h 379"/>
                <a:gd name="T82" fmla="*/ 0 w 353"/>
                <a:gd name="T83" fmla="*/ 0 h 379"/>
                <a:gd name="T84" fmla="*/ 0 w 353"/>
                <a:gd name="T85" fmla="*/ 0 h 379"/>
                <a:gd name="T86" fmla="*/ 0 w 353"/>
                <a:gd name="T87" fmla="*/ 0 h 379"/>
                <a:gd name="T88" fmla="*/ 0 w 353"/>
                <a:gd name="T89" fmla="*/ 0 h 37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3"/>
                <a:gd name="T136" fmla="*/ 0 h 379"/>
                <a:gd name="T137" fmla="*/ 353 w 353"/>
                <a:gd name="T138" fmla="*/ 379 h 37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3" h="379">
                  <a:moveTo>
                    <a:pt x="149" y="30"/>
                  </a:moveTo>
                  <a:lnTo>
                    <a:pt x="123" y="32"/>
                  </a:lnTo>
                  <a:lnTo>
                    <a:pt x="124" y="7"/>
                  </a:lnTo>
                  <a:lnTo>
                    <a:pt x="118" y="0"/>
                  </a:lnTo>
                  <a:lnTo>
                    <a:pt x="77" y="26"/>
                  </a:lnTo>
                  <a:lnTo>
                    <a:pt x="54" y="28"/>
                  </a:lnTo>
                  <a:lnTo>
                    <a:pt x="49" y="20"/>
                  </a:lnTo>
                  <a:lnTo>
                    <a:pt x="42" y="15"/>
                  </a:lnTo>
                  <a:lnTo>
                    <a:pt x="36" y="22"/>
                  </a:lnTo>
                  <a:lnTo>
                    <a:pt x="36" y="73"/>
                  </a:lnTo>
                  <a:lnTo>
                    <a:pt x="10" y="89"/>
                  </a:lnTo>
                  <a:lnTo>
                    <a:pt x="0" y="106"/>
                  </a:lnTo>
                  <a:lnTo>
                    <a:pt x="0" y="118"/>
                  </a:lnTo>
                  <a:lnTo>
                    <a:pt x="13" y="131"/>
                  </a:lnTo>
                  <a:lnTo>
                    <a:pt x="8" y="143"/>
                  </a:lnTo>
                  <a:lnTo>
                    <a:pt x="4" y="188"/>
                  </a:lnTo>
                  <a:lnTo>
                    <a:pt x="29" y="210"/>
                  </a:lnTo>
                  <a:lnTo>
                    <a:pt x="49" y="214"/>
                  </a:lnTo>
                  <a:lnTo>
                    <a:pt x="65" y="239"/>
                  </a:lnTo>
                  <a:lnTo>
                    <a:pt x="92" y="259"/>
                  </a:lnTo>
                  <a:lnTo>
                    <a:pt x="100" y="295"/>
                  </a:lnTo>
                  <a:lnTo>
                    <a:pt x="112" y="357"/>
                  </a:lnTo>
                  <a:lnTo>
                    <a:pt x="132" y="365"/>
                  </a:lnTo>
                  <a:lnTo>
                    <a:pt x="136" y="379"/>
                  </a:lnTo>
                  <a:lnTo>
                    <a:pt x="231" y="379"/>
                  </a:lnTo>
                  <a:lnTo>
                    <a:pt x="308" y="379"/>
                  </a:lnTo>
                  <a:lnTo>
                    <a:pt x="303" y="319"/>
                  </a:lnTo>
                  <a:lnTo>
                    <a:pt x="316" y="280"/>
                  </a:lnTo>
                  <a:lnTo>
                    <a:pt x="328" y="208"/>
                  </a:lnTo>
                  <a:lnTo>
                    <a:pt x="353" y="156"/>
                  </a:lnTo>
                  <a:lnTo>
                    <a:pt x="350" y="147"/>
                  </a:lnTo>
                  <a:lnTo>
                    <a:pt x="336" y="163"/>
                  </a:lnTo>
                  <a:lnTo>
                    <a:pt x="332" y="182"/>
                  </a:lnTo>
                  <a:lnTo>
                    <a:pt x="299" y="206"/>
                  </a:lnTo>
                  <a:lnTo>
                    <a:pt x="309" y="178"/>
                  </a:lnTo>
                  <a:lnTo>
                    <a:pt x="321" y="159"/>
                  </a:lnTo>
                  <a:lnTo>
                    <a:pt x="313" y="152"/>
                  </a:lnTo>
                  <a:lnTo>
                    <a:pt x="316" y="134"/>
                  </a:lnTo>
                  <a:lnTo>
                    <a:pt x="303" y="135"/>
                  </a:lnTo>
                  <a:lnTo>
                    <a:pt x="309" y="107"/>
                  </a:lnTo>
                  <a:lnTo>
                    <a:pt x="290" y="98"/>
                  </a:lnTo>
                  <a:lnTo>
                    <a:pt x="290" y="87"/>
                  </a:lnTo>
                  <a:lnTo>
                    <a:pt x="168" y="50"/>
                  </a:lnTo>
                  <a:lnTo>
                    <a:pt x="161" y="37"/>
                  </a:lnTo>
                  <a:lnTo>
                    <a:pt x="149" y="30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43" name="Freeform 43">
              <a:extLst>
                <a:ext uri="{FF2B5EF4-FFF2-40B4-BE49-F238E27FC236}">
                  <a16:creationId xmlns:a16="http://schemas.microsoft.com/office/drawing/2014/main" id="{6C2E7D95-E93F-43E9-9D2B-EE48FDC296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98846" y="3414738"/>
              <a:ext cx="419352" cy="671495"/>
            </a:xfrm>
            <a:custGeom>
              <a:avLst/>
              <a:gdLst>
                <a:gd name="T0" fmla="*/ 0 w 244"/>
                <a:gd name="T1" fmla="*/ 0 h 434"/>
                <a:gd name="T2" fmla="*/ 0 w 244"/>
                <a:gd name="T3" fmla="*/ 0 h 434"/>
                <a:gd name="T4" fmla="*/ 0 w 244"/>
                <a:gd name="T5" fmla="*/ 0 h 434"/>
                <a:gd name="T6" fmla="*/ 0 w 244"/>
                <a:gd name="T7" fmla="*/ 0 h 434"/>
                <a:gd name="T8" fmla="*/ 0 w 244"/>
                <a:gd name="T9" fmla="*/ 0 h 434"/>
                <a:gd name="T10" fmla="*/ 0 w 244"/>
                <a:gd name="T11" fmla="*/ 0 h 434"/>
                <a:gd name="T12" fmla="*/ 0 w 244"/>
                <a:gd name="T13" fmla="*/ 0 h 434"/>
                <a:gd name="T14" fmla="*/ 0 w 244"/>
                <a:gd name="T15" fmla="*/ 0 h 434"/>
                <a:gd name="T16" fmla="*/ 0 w 244"/>
                <a:gd name="T17" fmla="*/ 0 h 434"/>
                <a:gd name="T18" fmla="*/ 0 w 244"/>
                <a:gd name="T19" fmla="*/ 0 h 434"/>
                <a:gd name="T20" fmla="*/ 0 w 244"/>
                <a:gd name="T21" fmla="*/ 0 h 434"/>
                <a:gd name="T22" fmla="*/ 0 w 244"/>
                <a:gd name="T23" fmla="*/ 0 h 434"/>
                <a:gd name="T24" fmla="*/ 0 w 244"/>
                <a:gd name="T25" fmla="*/ 0 h 434"/>
                <a:gd name="T26" fmla="*/ 0 w 244"/>
                <a:gd name="T27" fmla="*/ 0 h 434"/>
                <a:gd name="T28" fmla="*/ 0 w 244"/>
                <a:gd name="T29" fmla="*/ 0 h 434"/>
                <a:gd name="T30" fmla="*/ 0 w 244"/>
                <a:gd name="T31" fmla="*/ 0 h 434"/>
                <a:gd name="T32" fmla="*/ 0 w 244"/>
                <a:gd name="T33" fmla="*/ 0 h 434"/>
                <a:gd name="T34" fmla="*/ 0 w 244"/>
                <a:gd name="T35" fmla="*/ 0 h 434"/>
                <a:gd name="T36" fmla="*/ 0 w 244"/>
                <a:gd name="T37" fmla="*/ 0 h 434"/>
                <a:gd name="T38" fmla="*/ 0 w 244"/>
                <a:gd name="T39" fmla="*/ 0 h 434"/>
                <a:gd name="T40" fmla="*/ 0 w 244"/>
                <a:gd name="T41" fmla="*/ 0 h 434"/>
                <a:gd name="T42" fmla="*/ 0 w 244"/>
                <a:gd name="T43" fmla="*/ 0 h 434"/>
                <a:gd name="T44" fmla="*/ 0 w 244"/>
                <a:gd name="T45" fmla="*/ 0 h 434"/>
                <a:gd name="T46" fmla="*/ 0 w 244"/>
                <a:gd name="T47" fmla="*/ 0 h 434"/>
                <a:gd name="T48" fmla="*/ 0 w 244"/>
                <a:gd name="T49" fmla="*/ 0 h 434"/>
                <a:gd name="T50" fmla="*/ 0 w 244"/>
                <a:gd name="T51" fmla="*/ 0 h 434"/>
                <a:gd name="T52" fmla="*/ 0 w 244"/>
                <a:gd name="T53" fmla="*/ 0 h 434"/>
                <a:gd name="T54" fmla="*/ 0 w 244"/>
                <a:gd name="T55" fmla="*/ 0 h 434"/>
                <a:gd name="T56" fmla="*/ 0 w 244"/>
                <a:gd name="T57" fmla="*/ 0 h 434"/>
                <a:gd name="T58" fmla="*/ 0 w 244"/>
                <a:gd name="T59" fmla="*/ 0 h 434"/>
                <a:gd name="T60" fmla="*/ 0 w 244"/>
                <a:gd name="T61" fmla="*/ 0 h 434"/>
                <a:gd name="T62" fmla="*/ 0 w 244"/>
                <a:gd name="T63" fmla="*/ 0 h 434"/>
                <a:gd name="T64" fmla="*/ 0 w 244"/>
                <a:gd name="T65" fmla="*/ 0 h 434"/>
                <a:gd name="T66" fmla="*/ 0 w 244"/>
                <a:gd name="T67" fmla="*/ 0 h 434"/>
                <a:gd name="T68" fmla="*/ 0 w 244"/>
                <a:gd name="T69" fmla="*/ 0 h 434"/>
                <a:gd name="T70" fmla="*/ 0 w 244"/>
                <a:gd name="T71" fmla="*/ 0 h 434"/>
                <a:gd name="T72" fmla="*/ 0 w 244"/>
                <a:gd name="T73" fmla="*/ 0 h 434"/>
                <a:gd name="T74" fmla="*/ 0 w 244"/>
                <a:gd name="T75" fmla="*/ 0 h 434"/>
                <a:gd name="T76" fmla="*/ 0 w 244"/>
                <a:gd name="T77" fmla="*/ 0 h 434"/>
                <a:gd name="T78" fmla="*/ 0 w 244"/>
                <a:gd name="T79" fmla="*/ 0 h 434"/>
                <a:gd name="T80" fmla="*/ 0 w 244"/>
                <a:gd name="T81" fmla="*/ 0 h 434"/>
                <a:gd name="T82" fmla="*/ 0 w 244"/>
                <a:gd name="T83" fmla="*/ 0 h 434"/>
                <a:gd name="T84" fmla="*/ 0 w 244"/>
                <a:gd name="T85" fmla="*/ 0 h 434"/>
                <a:gd name="T86" fmla="*/ 0 w 244"/>
                <a:gd name="T87" fmla="*/ 0 h 434"/>
                <a:gd name="T88" fmla="*/ 0 w 244"/>
                <a:gd name="T89" fmla="*/ 0 h 434"/>
                <a:gd name="T90" fmla="*/ 0 w 244"/>
                <a:gd name="T91" fmla="*/ 0 h 434"/>
                <a:gd name="T92" fmla="*/ 0 w 244"/>
                <a:gd name="T93" fmla="*/ 0 h 434"/>
                <a:gd name="T94" fmla="*/ 0 w 244"/>
                <a:gd name="T95" fmla="*/ 0 h 434"/>
                <a:gd name="T96" fmla="*/ 0 w 244"/>
                <a:gd name="T97" fmla="*/ 0 h 434"/>
                <a:gd name="T98" fmla="*/ 0 w 244"/>
                <a:gd name="T99" fmla="*/ 0 h 434"/>
                <a:gd name="T100" fmla="*/ 0 w 244"/>
                <a:gd name="T101" fmla="*/ 0 h 434"/>
                <a:gd name="T102" fmla="*/ 0 w 244"/>
                <a:gd name="T103" fmla="*/ 0 h 434"/>
                <a:gd name="T104" fmla="*/ 0 w 244"/>
                <a:gd name="T105" fmla="*/ 0 h 4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4"/>
                <a:gd name="T160" fmla="*/ 0 h 434"/>
                <a:gd name="T161" fmla="*/ 244 w 244"/>
                <a:gd name="T162" fmla="*/ 434 h 43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4" h="434">
                  <a:moveTo>
                    <a:pt x="3" y="171"/>
                  </a:moveTo>
                  <a:lnTo>
                    <a:pt x="0" y="191"/>
                  </a:lnTo>
                  <a:lnTo>
                    <a:pt x="8" y="221"/>
                  </a:lnTo>
                  <a:lnTo>
                    <a:pt x="44" y="254"/>
                  </a:lnTo>
                  <a:lnTo>
                    <a:pt x="54" y="286"/>
                  </a:lnTo>
                  <a:lnTo>
                    <a:pt x="65" y="281"/>
                  </a:lnTo>
                  <a:lnTo>
                    <a:pt x="85" y="290"/>
                  </a:lnTo>
                  <a:lnTo>
                    <a:pt x="69" y="327"/>
                  </a:lnTo>
                  <a:lnTo>
                    <a:pt x="70" y="339"/>
                  </a:lnTo>
                  <a:lnTo>
                    <a:pt x="121" y="380"/>
                  </a:lnTo>
                  <a:lnTo>
                    <a:pt x="126" y="400"/>
                  </a:lnTo>
                  <a:lnTo>
                    <a:pt x="121" y="410"/>
                  </a:lnTo>
                  <a:lnTo>
                    <a:pt x="128" y="428"/>
                  </a:lnTo>
                  <a:lnTo>
                    <a:pt x="135" y="432"/>
                  </a:lnTo>
                  <a:lnTo>
                    <a:pt x="135" y="425"/>
                  </a:lnTo>
                  <a:lnTo>
                    <a:pt x="146" y="434"/>
                  </a:lnTo>
                  <a:lnTo>
                    <a:pt x="143" y="426"/>
                  </a:lnTo>
                  <a:lnTo>
                    <a:pt x="154" y="416"/>
                  </a:lnTo>
                  <a:lnTo>
                    <a:pt x="181" y="426"/>
                  </a:lnTo>
                  <a:lnTo>
                    <a:pt x="188" y="421"/>
                  </a:lnTo>
                  <a:lnTo>
                    <a:pt x="184" y="401"/>
                  </a:lnTo>
                  <a:lnTo>
                    <a:pt x="209" y="394"/>
                  </a:lnTo>
                  <a:lnTo>
                    <a:pt x="204" y="381"/>
                  </a:lnTo>
                  <a:lnTo>
                    <a:pt x="210" y="368"/>
                  </a:lnTo>
                  <a:lnTo>
                    <a:pt x="207" y="364"/>
                  </a:lnTo>
                  <a:lnTo>
                    <a:pt x="210" y="364"/>
                  </a:lnTo>
                  <a:lnTo>
                    <a:pt x="212" y="348"/>
                  </a:lnTo>
                  <a:lnTo>
                    <a:pt x="217" y="344"/>
                  </a:lnTo>
                  <a:lnTo>
                    <a:pt x="214" y="338"/>
                  </a:lnTo>
                  <a:lnTo>
                    <a:pt x="236" y="316"/>
                  </a:lnTo>
                  <a:lnTo>
                    <a:pt x="244" y="297"/>
                  </a:lnTo>
                  <a:lnTo>
                    <a:pt x="242" y="282"/>
                  </a:lnTo>
                  <a:lnTo>
                    <a:pt x="234" y="269"/>
                  </a:lnTo>
                  <a:lnTo>
                    <a:pt x="242" y="249"/>
                  </a:lnTo>
                  <a:lnTo>
                    <a:pt x="242" y="164"/>
                  </a:lnTo>
                  <a:lnTo>
                    <a:pt x="242" y="61"/>
                  </a:lnTo>
                  <a:lnTo>
                    <a:pt x="238" y="55"/>
                  </a:lnTo>
                  <a:lnTo>
                    <a:pt x="225" y="15"/>
                  </a:lnTo>
                  <a:lnTo>
                    <a:pt x="225" y="0"/>
                  </a:lnTo>
                  <a:lnTo>
                    <a:pt x="148" y="0"/>
                  </a:lnTo>
                  <a:lnTo>
                    <a:pt x="53" y="0"/>
                  </a:lnTo>
                  <a:lnTo>
                    <a:pt x="82" y="30"/>
                  </a:lnTo>
                  <a:lnTo>
                    <a:pt x="84" y="39"/>
                  </a:lnTo>
                  <a:lnTo>
                    <a:pt x="80" y="55"/>
                  </a:lnTo>
                  <a:lnTo>
                    <a:pt x="70" y="72"/>
                  </a:lnTo>
                  <a:lnTo>
                    <a:pt x="29" y="88"/>
                  </a:lnTo>
                  <a:lnTo>
                    <a:pt x="25" y="102"/>
                  </a:lnTo>
                  <a:lnTo>
                    <a:pt x="33" y="112"/>
                  </a:lnTo>
                  <a:lnTo>
                    <a:pt x="35" y="122"/>
                  </a:lnTo>
                  <a:lnTo>
                    <a:pt x="21" y="146"/>
                  </a:lnTo>
                  <a:lnTo>
                    <a:pt x="7" y="154"/>
                  </a:lnTo>
                  <a:lnTo>
                    <a:pt x="8" y="168"/>
                  </a:lnTo>
                  <a:lnTo>
                    <a:pt x="3" y="171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4" name="Freeform 44">
              <a:extLst>
                <a:ext uri="{FF2B5EF4-FFF2-40B4-BE49-F238E27FC236}">
                  <a16:creationId xmlns:a16="http://schemas.microsoft.com/office/drawing/2014/main" id="{C7D774E7-3A27-46AE-BC88-1413C638EE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48175" y="4117032"/>
              <a:ext cx="907453" cy="320349"/>
            </a:xfrm>
            <a:custGeom>
              <a:avLst/>
              <a:gdLst>
                <a:gd name="T0" fmla="*/ 0 w 527"/>
                <a:gd name="T1" fmla="*/ 0 h 207"/>
                <a:gd name="T2" fmla="*/ 0 w 527"/>
                <a:gd name="T3" fmla="*/ 0 h 207"/>
                <a:gd name="T4" fmla="*/ 0 w 527"/>
                <a:gd name="T5" fmla="*/ 0 h 207"/>
                <a:gd name="T6" fmla="*/ 0 w 527"/>
                <a:gd name="T7" fmla="*/ 0 h 207"/>
                <a:gd name="T8" fmla="*/ 0 w 527"/>
                <a:gd name="T9" fmla="*/ 0 h 207"/>
                <a:gd name="T10" fmla="*/ 0 w 527"/>
                <a:gd name="T11" fmla="*/ 0 h 207"/>
                <a:gd name="T12" fmla="*/ 0 w 527"/>
                <a:gd name="T13" fmla="*/ 0 h 207"/>
                <a:gd name="T14" fmla="*/ 0 w 527"/>
                <a:gd name="T15" fmla="*/ 0 h 207"/>
                <a:gd name="T16" fmla="*/ 0 w 527"/>
                <a:gd name="T17" fmla="*/ 0 h 207"/>
                <a:gd name="T18" fmla="*/ 0 w 527"/>
                <a:gd name="T19" fmla="*/ 0 h 207"/>
                <a:gd name="T20" fmla="*/ 0 w 527"/>
                <a:gd name="T21" fmla="*/ 0 h 207"/>
                <a:gd name="T22" fmla="*/ 0 w 527"/>
                <a:gd name="T23" fmla="*/ 0 h 207"/>
                <a:gd name="T24" fmla="*/ 0 w 527"/>
                <a:gd name="T25" fmla="*/ 0 h 207"/>
                <a:gd name="T26" fmla="*/ 0 w 527"/>
                <a:gd name="T27" fmla="*/ 0 h 207"/>
                <a:gd name="T28" fmla="*/ 0 w 527"/>
                <a:gd name="T29" fmla="*/ 0 h 207"/>
                <a:gd name="T30" fmla="*/ 0 w 527"/>
                <a:gd name="T31" fmla="*/ 0 h 207"/>
                <a:gd name="T32" fmla="*/ 0 w 527"/>
                <a:gd name="T33" fmla="*/ 0 h 207"/>
                <a:gd name="T34" fmla="*/ 0 w 527"/>
                <a:gd name="T35" fmla="*/ 0 h 207"/>
                <a:gd name="T36" fmla="*/ 0 w 527"/>
                <a:gd name="T37" fmla="*/ 0 h 207"/>
                <a:gd name="T38" fmla="*/ 0 w 527"/>
                <a:gd name="T39" fmla="*/ 0 h 207"/>
                <a:gd name="T40" fmla="*/ 0 w 527"/>
                <a:gd name="T41" fmla="*/ 0 h 207"/>
                <a:gd name="T42" fmla="*/ 0 w 527"/>
                <a:gd name="T43" fmla="*/ 0 h 207"/>
                <a:gd name="T44" fmla="*/ 0 w 527"/>
                <a:gd name="T45" fmla="*/ 0 h 207"/>
                <a:gd name="T46" fmla="*/ 0 w 527"/>
                <a:gd name="T47" fmla="*/ 0 h 207"/>
                <a:gd name="T48" fmla="*/ 0 w 527"/>
                <a:gd name="T49" fmla="*/ 0 h 207"/>
                <a:gd name="T50" fmla="*/ 0 w 527"/>
                <a:gd name="T51" fmla="*/ 0 h 207"/>
                <a:gd name="T52" fmla="*/ 0 w 527"/>
                <a:gd name="T53" fmla="*/ 0 h 207"/>
                <a:gd name="T54" fmla="*/ 0 w 527"/>
                <a:gd name="T55" fmla="*/ 0 h 207"/>
                <a:gd name="T56" fmla="*/ 0 w 527"/>
                <a:gd name="T57" fmla="*/ 0 h 207"/>
                <a:gd name="T58" fmla="*/ 0 w 527"/>
                <a:gd name="T59" fmla="*/ 0 h 207"/>
                <a:gd name="T60" fmla="*/ 0 w 527"/>
                <a:gd name="T61" fmla="*/ 0 h 207"/>
                <a:gd name="T62" fmla="*/ 0 w 527"/>
                <a:gd name="T63" fmla="*/ 0 h 207"/>
                <a:gd name="T64" fmla="*/ 0 w 527"/>
                <a:gd name="T65" fmla="*/ 0 h 207"/>
                <a:gd name="T66" fmla="*/ 0 w 527"/>
                <a:gd name="T67" fmla="*/ 0 h 207"/>
                <a:gd name="T68" fmla="*/ 0 w 527"/>
                <a:gd name="T69" fmla="*/ 0 h 207"/>
                <a:gd name="T70" fmla="*/ 0 w 527"/>
                <a:gd name="T71" fmla="*/ 0 h 207"/>
                <a:gd name="T72" fmla="*/ 0 w 527"/>
                <a:gd name="T73" fmla="*/ 0 h 207"/>
                <a:gd name="T74" fmla="*/ 0 w 527"/>
                <a:gd name="T75" fmla="*/ 0 h 207"/>
                <a:gd name="T76" fmla="*/ 0 w 527"/>
                <a:gd name="T77" fmla="*/ 0 h 207"/>
                <a:gd name="T78" fmla="*/ 0 w 527"/>
                <a:gd name="T79" fmla="*/ 0 h 207"/>
                <a:gd name="T80" fmla="*/ 0 w 527"/>
                <a:gd name="T81" fmla="*/ 0 h 207"/>
                <a:gd name="T82" fmla="*/ 0 w 527"/>
                <a:gd name="T83" fmla="*/ 0 h 207"/>
                <a:gd name="T84" fmla="*/ 0 w 527"/>
                <a:gd name="T85" fmla="*/ 0 h 207"/>
                <a:gd name="T86" fmla="*/ 0 w 527"/>
                <a:gd name="T87" fmla="*/ 0 h 207"/>
                <a:gd name="T88" fmla="*/ 0 w 527"/>
                <a:gd name="T89" fmla="*/ 0 h 207"/>
                <a:gd name="T90" fmla="*/ 0 w 527"/>
                <a:gd name="T91" fmla="*/ 0 h 207"/>
                <a:gd name="T92" fmla="*/ 0 w 527"/>
                <a:gd name="T93" fmla="*/ 0 h 207"/>
                <a:gd name="T94" fmla="*/ 0 w 527"/>
                <a:gd name="T95" fmla="*/ 0 h 207"/>
                <a:gd name="T96" fmla="*/ 0 w 527"/>
                <a:gd name="T97" fmla="*/ 0 h 207"/>
                <a:gd name="T98" fmla="*/ 0 w 527"/>
                <a:gd name="T99" fmla="*/ 0 h 207"/>
                <a:gd name="T100" fmla="*/ 0 w 527"/>
                <a:gd name="T101" fmla="*/ 0 h 207"/>
                <a:gd name="T102" fmla="*/ 0 w 527"/>
                <a:gd name="T103" fmla="*/ 0 h 207"/>
                <a:gd name="T104" fmla="*/ 0 w 527"/>
                <a:gd name="T105" fmla="*/ 0 h 207"/>
                <a:gd name="T106" fmla="*/ 0 w 527"/>
                <a:gd name="T107" fmla="*/ 0 h 2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7"/>
                <a:gd name="T163" fmla="*/ 0 h 207"/>
                <a:gd name="T164" fmla="*/ 527 w 527"/>
                <a:gd name="T165" fmla="*/ 207 h 2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7" h="207">
                  <a:moveTo>
                    <a:pt x="469" y="0"/>
                  </a:moveTo>
                  <a:lnTo>
                    <a:pt x="396" y="0"/>
                  </a:lnTo>
                  <a:lnTo>
                    <a:pt x="264" y="0"/>
                  </a:lnTo>
                  <a:lnTo>
                    <a:pt x="162" y="0"/>
                  </a:lnTo>
                  <a:lnTo>
                    <a:pt x="160" y="25"/>
                  </a:lnTo>
                  <a:lnTo>
                    <a:pt x="146" y="27"/>
                  </a:lnTo>
                  <a:lnTo>
                    <a:pt x="137" y="42"/>
                  </a:lnTo>
                  <a:lnTo>
                    <a:pt x="123" y="39"/>
                  </a:lnTo>
                  <a:lnTo>
                    <a:pt x="108" y="53"/>
                  </a:lnTo>
                  <a:lnTo>
                    <a:pt x="103" y="46"/>
                  </a:lnTo>
                  <a:lnTo>
                    <a:pt x="86" y="54"/>
                  </a:lnTo>
                  <a:lnTo>
                    <a:pt x="82" y="66"/>
                  </a:lnTo>
                  <a:lnTo>
                    <a:pt x="51" y="82"/>
                  </a:lnTo>
                  <a:lnTo>
                    <a:pt x="26" y="86"/>
                  </a:lnTo>
                  <a:lnTo>
                    <a:pt x="15" y="105"/>
                  </a:lnTo>
                  <a:lnTo>
                    <a:pt x="2" y="107"/>
                  </a:lnTo>
                  <a:lnTo>
                    <a:pt x="0" y="123"/>
                  </a:lnTo>
                  <a:lnTo>
                    <a:pt x="75" y="123"/>
                  </a:lnTo>
                  <a:lnTo>
                    <a:pt x="117" y="108"/>
                  </a:lnTo>
                  <a:lnTo>
                    <a:pt x="198" y="113"/>
                  </a:lnTo>
                  <a:lnTo>
                    <a:pt x="199" y="120"/>
                  </a:lnTo>
                  <a:lnTo>
                    <a:pt x="206" y="116"/>
                  </a:lnTo>
                  <a:lnTo>
                    <a:pt x="215" y="127"/>
                  </a:lnTo>
                  <a:lnTo>
                    <a:pt x="215" y="138"/>
                  </a:lnTo>
                  <a:lnTo>
                    <a:pt x="283" y="138"/>
                  </a:lnTo>
                  <a:lnTo>
                    <a:pt x="350" y="207"/>
                  </a:lnTo>
                  <a:lnTo>
                    <a:pt x="377" y="203"/>
                  </a:lnTo>
                  <a:lnTo>
                    <a:pt x="398" y="194"/>
                  </a:lnTo>
                  <a:lnTo>
                    <a:pt x="423" y="162"/>
                  </a:lnTo>
                  <a:lnTo>
                    <a:pt x="444" y="152"/>
                  </a:lnTo>
                  <a:lnTo>
                    <a:pt x="466" y="150"/>
                  </a:lnTo>
                  <a:lnTo>
                    <a:pt x="484" y="141"/>
                  </a:lnTo>
                  <a:lnTo>
                    <a:pt x="485" y="125"/>
                  </a:lnTo>
                  <a:lnTo>
                    <a:pt x="469" y="125"/>
                  </a:lnTo>
                  <a:lnTo>
                    <a:pt x="482" y="105"/>
                  </a:lnTo>
                  <a:lnTo>
                    <a:pt x="460" y="94"/>
                  </a:lnTo>
                  <a:lnTo>
                    <a:pt x="481" y="87"/>
                  </a:lnTo>
                  <a:lnTo>
                    <a:pt x="492" y="101"/>
                  </a:lnTo>
                  <a:lnTo>
                    <a:pt x="503" y="99"/>
                  </a:lnTo>
                  <a:lnTo>
                    <a:pt x="527" y="79"/>
                  </a:lnTo>
                  <a:lnTo>
                    <a:pt x="519" y="55"/>
                  </a:lnTo>
                  <a:lnTo>
                    <a:pt x="509" y="74"/>
                  </a:lnTo>
                  <a:lnTo>
                    <a:pt x="505" y="54"/>
                  </a:lnTo>
                  <a:lnTo>
                    <a:pt x="477" y="59"/>
                  </a:lnTo>
                  <a:lnTo>
                    <a:pt x="470" y="58"/>
                  </a:lnTo>
                  <a:lnTo>
                    <a:pt x="469" y="49"/>
                  </a:lnTo>
                  <a:lnTo>
                    <a:pt x="472" y="29"/>
                  </a:lnTo>
                  <a:lnTo>
                    <a:pt x="478" y="49"/>
                  </a:lnTo>
                  <a:lnTo>
                    <a:pt x="505" y="34"/>
                  </a:lnTo>
                  <a:lnTo>
                    <a:pt x="518" y="37"/>
                  </a:lnTo>
                  <a:lnTo>
                    <a:pt x="521" y="46"/>
                  </a:lnTo>
                  <a:lnTo>
                    <a:pt x="513" y="18"/>
                  </a:lnTo>
                  <a:lnTo>
                    <a:pt x="515" y="0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5" name="Freeform 45">
              <a:extLst>
                <a:ext uri="{FF2B5EF4-FFF2-40B4-BE49-F238E27FC236}">
                  <a16:creationId xmlns:a16="http://schemas.microsoft.com/office/drawing/2014/main" id="{18F24117-7745-4C5F-B020-6E023FD8FC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10049" y="3784364"/>
              <a:ext cx="824953" cy="332666"/>
            </a:xfrm>
            <a:custGeom>
              <a:avLst/>
              <a:gdLst>
                <a:gd name="T0" fmla="*/ 0 w 477"/>
                <a:gd name="T1" fmla="*/ 0 h 216"/>
                <a:gd name="T2" fmla="*/ 0 w 477"/>
                <a:gd name="T3" fmla="*/ 0 h 216"/>
                <a:gd name="T4" fmla="*/ 0 w 477"/>
                <a:gd name="T5" fmla="*/ 0 h 216"/>
                <a:gd name="T6" fmla="*/ 0 w 477"/>
                <a:gd name="T7" fmla="*/ 0 h 216"/>
                <a:gd name="T8" fmla="*/ 0 w 477"/>
                <a:gd name="T9" fmla="*/ 0 h 216"/>
                <a:gd name="T10" fmla="*/ 0 w 477"/>
                <a:gd name="T11" fmla="*/ 0 h 216"/>
                <a:gd name="T12" fmla="*/ 0 w 477"/>
                <a:gd name="T13" fmla="*/ 0 h 216"/>
                <a:gd name="T14" fmla="*/ 0 w 477"/>
                <a:gd name="T15" fmla="*/ 0 h 216"/>
                <a:gd name="T16" fmla="*/ 0 w 477"/>
                <a:gd name="T17" fmla="*/ 0 h 216"/>
                <a:gd name="T18" fmla="*/ 0 w 477"/>
                <a:gd name="T19" fmla="*/ 0 h 216"/>
                <a:gd name="T20" fmla="*/ 0 w 477"/>
                <a:gd name="T21" fmla="*/ 0 h 216"/>
                <a:gd name="T22" fmla="*/ 0 w 477"/>
                <a:gd name="T23" fmla="*/ 0 h 216"/>
                <a:gd name="T24" fmla="*/ 0 w 477"/>
                <a:gd name="T25" fmla="*/ 0 h 216"/>
                <a:gd name="T26" fmla="*/ 0 w 477"/>
                <a:gd name="T27" fmla="*/ 0 h 216"/>
                <a:gd name="T28" fmla="*/ 0 w 477"/>
                <a:gd name="T29" fmla="*/ 0 h 216"/>
                <a:gd name="T30" fmla="*/ 0 w 477"/>
                <a:gd name="T31" fmla="*/ 0 h 216"/>
                <a:gd name="T32" fmla="*/ 0 w 477"/>
                <a:gd name="T33" fmla="*/ 0 h 216"/>
                <a:gd name="T34" fmla="*/ 0 w 477"/>
                <a:gd name="T35" fmla="*/ 0 h 216"/>
                <a:gd name="T36" fmla="*/ 0 w 477"/>
                <a:gd name="T37" fmla="*/ 0 h 216"/>
                <a:gd name="T38" fmla="*/ 0 w 477"/>
                <a:gd name="T39" fmla="*/ 0 h 216"/>
                <a:gd name="T40" fmla="*/ 0 w 477"/>
                <a:gd name="T41" fmla="*/ 0 h 216"/>
                <a:gd name="T42" fmla="*/ 0 w 477"/>
                <a:gd name="T43" fmla="*/ 0 h 216"/>
                <a:gd name="T44" fmla="*/ 0 w 477"/>
                <a:gd name="T45" fmla="*/ 0 h 216"/>
                <a:gd name="T46" fmla="*/ 0 w 477"/>
                <a:gd name="T47" fmla="*/ 0 h 216"/>
                <a:gd name="T48" fmla="*/ 0 w 477"/>
                <a:gd name="T49" fmla="*/ 0 h 216"/>
                <a:gd name="T50" fmla="*/ 0 w 477"/>
                <a:gd name="T51" fmla="*/ 0 h 216"/>
                <a:gd name="T52" fmla="*/ 0 w 477"/>
                <a:gd name="T53" fmla="*/ 0 h 216"/>
                <a:gd name="T54" fmla="*/ 0 w 477"/>
                <a:gd name="T55" fmla="*/ 0 h 216"/>
                <a:gd name="T56" fmla="*/ 0 w 477"/>
                <a:gd name="T57" fmla="*/ 0 h 216"/>
                <a:gd name="T58" fmla="*/ 0 w 477"/>
                <a:gd name="T59" fmla="*/ 0 h 216"/>
                <a:gd name="T60" fmla="*/ 0 w 477"/>
                <a:gd name="T61" fmla="*/ 0 h 216"/>
                <a:gd name="T62" fmla="*/ 0 w 477"/>
                <a:gd name="T63" fmla="*/ 0 h 216"/>
                <a:gd name="T64" fmla="*/ 0 w 477"/>
                <a:gd name="T65" fmla="*/ 0 h 216"/>
                <a:gd name="T66" fmla="*/ 0 w 477"/>
                <a:gd name="T67" fmla="*/ 0 h 216"/>
                <a:gd name="T68" fmla="*/ 0 w 477"/>
                <a:gd name="T69" fmla="*/ 0 h 216"/>
                <a:gd name="T70" fmla="*/ 0 w 477"/>
                <a:gd name="T71" fmla="*/ 0 h 216"/>
                <a:gd name="T72" fmla="*/ 0 w 477"/>
                <a:gd name="T73" fmla="*/ 0 h 216"/>
                <a:gd name="T74" fmla="*/ 0 w 477"/>
                <a:gd name="T75" fmla="*/ 0 h 216"/>
                <a:gd name="T76" fmla="*/ 0 w 477"/>
                <a:gd name="T77" fmla="*/ 0 h 216"/>
                <a:gd name="T78" fmla="*/ 0 w 477"/>
                <a:gd name="T79" fmla="*/ 0 h 216"/>
                <a:gd name="T80" fmla="*/ 0 w 477"/>
                <a:gd name="T81" fmla="*/ 0 h 216"/>
                <a:gd name="T82" fmla="*/ 0 w 477"/>
                <a:gd name="T83" fmla="*/ 0 h 216"/>
                <a:gd name="T84" fmla="*/ 0 w 477"/>
                <a:gd name="T85" fmla="*/ 0 h 216"/>
                <a:gd name="T86" fmla="*/ 0 w 477"/>
                <a:gd name="T87" fmla="*/ 0 h 216"/>
                <a:gd name="T88" fmla="*/ 0 w 477"/>
                <a:gd name="T89" fmla="*/ 0 h 216"/>
                <a:gd name="T90" fmla="*/ 0 w 477"/>
                <a:gd name="T91" fmla="*/ 0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77"/>
                <a:gd name="T139" fmla="*/ 0 h 216"/>
                <a:gd name="T140" fmla="*/ 477 w 477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77" h="216">
                  <a:moveTo>
                    <a:pt x="431" y="216"/>
                  </a:moveTo>
                  <a:lnTo>
                    <a:pt x="358" y="216"/>
                  </a:lnTo>
                  <a:lnTo>
                    <a:pt x="226" y="216"/>
                  </a:lnTo>
                  <a:lnTo>
                    <a:pt x="0" y="216"/>
                  </a:lnTo>
                  <a:lnTo>
                    <a:pt x="34" y="210"/>
                  </a:lnTo>
                  <a:lnTo>
                    <a:pt x="50" y="197"/>
                  </a:lnTo>
                  <a:lnTo>
                    <a:pt x="59" y="181"/>
                  </a:lnTo>
                  <a:lnTo>
                    <a:pt x="106" y="150"/>
                  </a:lnTo>
                  <a:lnTo>
                    <a:pt x="107" y="163"/>
                  </a:lnTo>
                  <a:lnTo>
                    <a:pt x="112" y="168"/>
                  </a:lnTo>
                  <a:lnTo>
                    <a:pt x="127" y="175"/>
                  </a:lnTo>
                  <a:lnTo>
                    <a:pt x="141" y="164"/>
                  </a:lnTo>
                  <a:lnTo>
                    <a:pt x="151" y="172"/>
                  </a:lnTo>
                  <a:lnTo>
                    <a:pt x="169" y="167"/>
                  </a:lnTo>
                  <a:lnTo>
                    <a:pt x="172" y="159"/>
                  </a:lnTo>
                  <a:lnTo>
                    <a:pt x="197" y="157"/>
                  </a:lnTo>
                  <a:lnTo>
                    <a:pt x="209" y="151"/>
                  </a:lnTo>
                  <a:lnTo>
                    <a:pt x="212" y="143"/>
                  </a:lnTo>
                  <a:lnTo>
                    <a:pt x="208" y="138"/>
                  </a:lnTo>
                  <a:lnTo>
                    <a:pt x="238" y="94"/>
                  </a:lnTo>
                  <a:lnTo>
                    <a:pt x="246" y="69"/>
                  </a:lnTo>
                  <a:lnTo>
                    <a:pt x="268" y="81"/>
                  </a:lnTo>
                  <a:lnTo>
                    <a:pt x="286" y="49"/>
                  </a:lnTo>
                  <a:lnTo>
                    <a:pt x="294" y="53"/>
                  </a:lnTo>
                  <a:lnTo>
                    <a:pt x="321" y="24"/>
                  </a:lnTo>
                  <a:lnTo>
                    <a:pt x="327" y="0"/>
                  </a:lnTo>
                  <a:lnTo>
                    <a:pt x="357" y="25"/>
                  </a:lnTo>
                  <a:lnTo>
                    <a:pt x="362" y="12"/>
                  </a:lnTo>
                  <a:lnTo>
                    <a:pt x="380" y="19"/>
                  </a:lnTo>
                  <a:lnTo>
                    <a:pt x="377" y="25"/>
                  </a:lnTo>
                  <a:lnTo>
                    <a:pt x="381" y="32"/>
                  </a:lnTo>
                  <a:lnTo>
                    <a:pt x="399" y="41"/>
                  </a:lnTo>
                  <a:lnTo>
                    <a:pt x="406" y="52"/>
                  </a:lnTo>
                  <a:lnTo>
                    <a:pt x="406" y="57"/>
                  </a:lnTo>
                  <a:lnTo>
                    <a:pt x="390" y="77"/>
                  </a:lnTo>
                  <a:lnTo>
                    <a:pt x="393" y="83"/>
                  </a:lnTo>
                  <a:lnTo>
                    <a:pt x="452" y="120"/>
                  </a:lnTo>
                  <a:lnTo>
                    <a:pt x="446" y="143"/>
                  </a:lnTo>
                  <a:lnTo>
                    <a:pt x="456" y="164"/>
                  </a:lnTo>
                  <a:lnTo>
                    <a:pt x="448" y="171"/>
                  </a:lnTo>
                  <a:lnTo>
                    <a:pt x="456" y="185"/>
                  </a:lnTo>
                  <a:lnTo>
                    <a:pt x="442" y="187"/>
                  </a:lnTo>
                  <a:lnTo>
                    <a:pt x="440" y="192"/>
                  </a:lnTo>
                  <a:lnTo>
                    <a:pt x="476" y="200"/>
                  </a:lnTo>
                  <a:lnTo>
                    <a:pt x="477" y="216"/>
                  </a:lnTo>
                  <a:lnTo>
                    <a:pt x="431" y="216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6" name="Freeform 46">
              <a:extLst>
                <a:ext uri="{FF2B5EF4-FFF2-40B4-BE49-F238E27FC236}">
                  <a16:creationId xmlns:a16="http://schemas.microsoft.com/office/drawing/2014/main" id="{4C986506-8101-4273-8373-9A6C5251B9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50028" y="3753566"/>
              <a:ext cx="467474" cy="215616"/>
            </a:xfrm>
            <a:custGeom>
              <a:avLst/>
              <a:gdLst>
                <a:gd name="T0" fmla="*/ 0 w 271"/>
                <a:gd name="T1" fmla="*/ 0 h 138"/>
                <a:gd name="T2" fmla="*/ 0 w 271"/>
                <a:gd name="T3" fmla="*/ 0 h 138"/>
                <a:gd name="T4" fmla="*/ 0 w 271"/>
                <a:gd name="T5" fmla="*/ 0 h 138"/>
                <a:gd name="T6" fmla="*/ 0 w 271"/>
                <a:gd name="T7" fmla="*/ 0 h 138"/>
                <a:gd name="T8" fmla="*/ 0 w 271"/>
                <a:gd name="T9" fmla="*/ 0 h 138"/>
                <a:gd name="T10" fmla="*/ 0 w 271"/>
                <a:gd name="T11" fmla="*/ 0 h 138"/>
                <a:gd name="T12" fmla="*/ 0 w 271"/>
                <a:gd name="T13" fmla="*/ 0 h 138"/>
                <a:gd name="T14" fmla="*/ 0 w 271"/>
                <a:gd name="T15" fmla="*/ 0 h 138"/>
                <a:gd name="T16" fmla="*/ 0 w 271"/>
                <a:gd name="T17" fmla="*/ 0 h 138"/>
                <a:gd name="T18" fmla="*/ 0 w 271"/>
                <a:gd name="T19" fmla="*/ 0 h 138"/>
                <a:gd name="T20" fmla="*/ 0 w 271"/>
                <a:gd name="T21" fmla="*/ 0 h 138"/>
                <a:gd name="T22" fmla="*/ 0 w 271"/>
                <a:gd name="T23" fmla="*/ 0 h 138"/>
                <a:gd name="T24" fmla="*/ 0 w 271"/>
                <a:gd name="T25" fmla="*/ 0 h 138"/>
                <a:gd name="T26" fmla="*/ 0 w 271"/>
                <a:gd name="T27" fmla="*/ 0 h 138"/>
                <a:gd name="T28" fmla="*/ 0 w 271"/>
                <a:gd name="T29" fmla="*/ 0 h 138"/>
                <a:gd name="T30" fmla="*/ 0 w 271"/>
                <a:gd name="T31" fmla="*/ 0 h 138"/>
                <a:gd name="T32" fmla="*/ 0 w 271"/>
                <a:gd name="T33" fmla="*/ 0 h 138"/>
                <a:gd name="T34" fmla="*/ 0 w 271"/>
                <a:gd name="T35" fmla="*/ 0 h 138"/>
                <a:gd name="T36" fmla="*/ 0 w 271"/>
                <a:gd name="T37" fmla="*/ 0 h 138"/>
                <a:gd name="T38" fmla="*/ 0 w 271"/>
                <a:gd name="T39" fmla="*/ 0 h 138"/>
                <a:gd name="T40" fmla="*/ 0 w 271"/>
                <a:gd name="T41" fmla="*/ 0 h 138"/>
                <a:gd name="T42" fmla="*/ 0 w 271"/>
                <a:gd name="T43" fmla="*/ 0 h 138"/>
                <a:gd name="T44" fmla="*/ 0 w 271"/>
                <a:gd name="T45" fmla="*/ 0 h 138"/>
                <a:gd name="T46" fmla="*/ 0 w 271"/>
                <a:gd name="T47" fmla="*/ 0 h 138"/>
                <a:gd name="T48" fmla="*/ 0 w 271"/>
                <a:gd name="T49" fmla="*/ 0 h 138"/>
                <a:gd name="T50" fmla="*/ 0 w 271"/>
                <a:gd name="T51" fmla="*/ 0 h 138"/>
                <a:gd name="T52" fmla="*/ 0 w 271"/>
                <a:gd name="T53" fmla="*/ 0 h 138"/>
                <a:gd name="T54" fmla="*/ 0 w 271"/>
                <a:gd name="T55" fmla="*/ 0 h 138"/>
                <a:gd name="T56" fmla="*/ 0 w 271"/>
                <a:gd name="T57" fmla="*/ 0 h 138"/>
                <a:gd name="T58" fmla="*/ 0 w 271"/>
                <a:gd name="T59" fmla="*/ 0 h 138"/>
                <a:gd name="T60" fmla="*/ 0 w 271"/>
                <a:gd name="T61" fmla="*/ 0 h 138"/>
                <a:gd name="T62" fmla="*/ 0 w 271"/>
                <a:gd name="T63" fmla="*/ 0 h 138"/>
                <a:gd name="T64" fmla="*/ 0 w 271"/>
                <a:gd name="T65" fmla="*/ 0 h 138"/>
                <a:gd name="T66" fmla="*/ 0 w 271"/>
                <a:gd name="T67" fmla="*/ 0 h 138"/>
                <a:gd name="T68" fmla="*/ 0 w 271"/>
                <a:gd name="T69" fmla="*/ 0 h 138"/>
                <a:gd name="T70" fmla="*/ 0 w 271"/>
                <a:gd name="T71" fmla="*/ 0 h 138"/>
                <a:gd name="T72" fmla="*/ 0 w 271"/>
                <a:gd name="T73" fmla="*/ 0 h 138"/>
                <a:gd name="T74" fmla="*/ 0 w 271"/>
                <a:gd name="T75" fmla="*/ 0 h 138"/>
                <a:gd name="T76" fmla="*/ 0 w 271"/>
                <a:gd name="T77" fmla="*/ 0 h 138"/>
                <a:gd name="T78" fmla="*/ 0 w 271"/>
                <a:gd name="T79" fmla="*/ 0 h 138"/>
                <a:gd name="T80" fmla="*/ 0 w 271"/>
                <a:gd name="T81" fmla="*/ 0 h 138"/>
                <a:gd name="T82" fmla="*/ 0 w 271"/>
                <a:gd name="T83" fmla="*/ 0 h 138"/>
                <a:gd name="T84" fmla="*/ 0 w 271"/>
                <a:gd name="T85" fmla="*/ 0 h 138"/>
                <a:gd name="T86" fmla="*/ 0 w 271"/>
                <a:gd name="T87" fmla="*/ 0 h 1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71"/>
                <a:gd name="T133" fmla="*/ 0 h 138"/>
                <a:gd name="T134" fmla="*/ 271 w 271"/>
                <a:gd name="T135" fmla="*/ 138 h 13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71" h="138">
                  <a:moveTo>
                    <a:pt x="225" y="0"/>
                  </a:moveTo>
                  <a:lnTo>
                    <a:pt x="123" y="0"/>
                  </a:lnTo>
                  <a:lnTo>
                    <a:pt x="2" y="0"/>
                  </a:lnTo>
                  <a:lnTo>
                    <a:pt x="0" y="41"/>
                  </a:lnTo>
                  <a:lnTo>
                    <a:pt x="24" y="20"/>
                  </a:lnTo>
                  <a:lnTo>
                    <a:pt x="32" y="21"/>
                  </a:lnTo>
                  <a:lnTo>
                    <a:pt x="45" y="7"/>
                  </a:lnTo>
                  <a:lnTo>
                    <a:pt x="56" y="15"/>
                  </a:lnTo>
                  <a:lnTo>
                    <a:pt x="64" y="15"/>
                  </a:lnTo>
                  <a:lnTo>
                    <a:pt x="66" y="8"/>
                  </a:lnTo>
                  <a:lnTo>
                    <a:pt x="80" y="3"/>
                  </a:lnTo>
                  <a:lnTo>
                    <a:pt x="101" y="10"/>
                  </a:lnTo>
                  <a:lnTo>
                    <a:pt x="107" y="32"/>
                  </a:lnTo>
                  <a:lnTo>
                    <a:pt x="125" y="39"/>
                  </a:lnTo>
                  <a:lnTo>
                    <a:pt x="122" y="45"/>
                  </a:lnTo>
                  <a:lnTo>
                    <a:pt x="126" y="52"/>
                  </a:lnTo>
                  <a:lnTo>
                    <a:pt x="144" y="61"/>
                  </a:lnTo>
                  <a:lnTo>
                    <a:pt x="151" y="57"/>
                  </a:lnTo>
                  <a:lnTo>
                    <a:pt x="159" y="65"/>
                  </a:lnTo>
                  <a:lnTo>
                    <a:pt x="151" y="72"/>
                  </a:lnTo>
                  <a:lnTo>
                    <a:pt x="151" y="77"/>
                  </a:lnTo>
                  <a:lnTo>
                    <a:pt x="139" y="98"/>
                  </a:lnTo>
                  <a:lnTo>
                    <a:pt x="195" y="125"/>
                  </a:lnTo>
                  <a:lnTo>
                    <a:pt x="191" y="107"/>
                  </a:lnTo>
                  <a:lnTo>
                    <a:pt x="183" y="101"/>
                  </a:lnTo>
                  <a:lnTo>
                    <a:pt x="188" y="98"/>
                  </a:lnTo>
                  <a:lnTo>
                    <a:pt x="184" y="41"/>
                  </a:lnTo>
                  <a:lnTo>
                    <a:pt x="214" y="17"/>
                  </a:lnTo>
                  <a:lnTo>
                    <a:pt x="217" y="12"/>
                  </a:lnTo>
                  <a:lnTo>
                    <a:pt x="218" y="25"/>
                  </a:lnTo>
                  <a:lnTo>
                    <a:pt x="207" y="37"/>
                  </a:lnTo>
                  <a:lnTo>
                    <a:pt x="208" y="53"/>
                  </a:lnTo>
                  <a:lnTo>
                    <a:pt x="199" y="62"/>
                  </a:lnTo>
                  <a:lnTo>
                    <a:pt x="209" y="68"/>
                  </a:lnTo>
                  <a:lnTo>
                    <a:pt x="210" y="85"/>
                  </a:lnTo>
                  <a:lnTo>
                    <a:pt x="200" y="97"/>
                  </a:lnTo>
                  <a:lnTo>
                    <a:pt x="210" y="113"/>
                  </a:lnTo>
                  <a:lnTo>
                    <a:pt x="222" y="115"/>
                  </a:lnTo>
                  <a:lnTo>
                    <a:pt x="230" y="138"/>
                  </a:lnTo>
                  <a:lnTo>
                    <a:pt x="259" y="131"/>
                  </a:lnTo>
                  <a:lnTo>
                    <a:pt x="259" y="122"/>
                  </a:lnTo>
                  <a:lnTo>
                    <a:pt x="271" y="99"/>
                  </a:lnTo>
                  <a:lnTo>
                    <a:pt x="230" y="99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7" name="Freeform 47">
              <a:extLst>
                <a:ext uri="{FF2B5EF4-FFF2-40B4-BE49-F238E27FC236}">
                  <a16:creationId xmlns:a16="http://schemas.microsoft.com/office/drawing/2014/main" id="{05B8C2F9-BD90-470B-9CFA-7EF5394C1B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46910" y="3439377"/>
              <a:ext cx="604966" cy="314190"/>
            </a:xfrm>
            <a:custGeom>
              <a:avLst/>
              <a:gdLst>
                <a:gd name="T0" fmla="*/ 0 w 354"/>
                <a:gd name="T1" fmla="*/ 0 h 203"/>
                <a:gd name="T2" fmla="*/ 0 w 354"/>
                <a:gd name="T3" fmla="*/ 0 h 203"/>
                <a:gd name="T4" fmla="*/ 0 w 354"/>
                <a:gd name="T5" fmla="*/ 0 h 203"/>
                <a:gd name="T6" fmla="*/ 0 w 354"/>
                <a:gd name="T7" fmla="*/ 0 h 203"/>
                <a:gd name="T8" fmla="*/ 0 w 354"/>
                <a:gd name="T9" fmla="*/ 0 h 203"/>
                <a:gd name="T10" fmla="*/ 0 w 354"/>
                <a:gd name="T11" fmla="*/ 0 h 203"/>
                <a:gd name="T12" fmla="*/ 0 w 354"/>
                <a:gd name="T13" fmla="*/ 0 h 203"/>
                <a:gd name="T14" fmla="*/ 0 w 354"/>
                <a:gd name="T15" fmla="*/ 0 h 203"/>
                <a:gd name="T16" fmla="*/ 0 w 354"/>
                <a:gd name="T17" fmla="*/ 0 h 203"/>
                <a:gd name="T18" fmla="*/ 0 w 354"/>
                <a:gd name="T19" fmla="*/ 0 h 203"/>
                <a:gd name="T20" fmla="*/ 0 w 354"/>
                <a:gd name="T21" fmla="*/ 0 h 203"/>
                <a:gd name="T22" fmla="*/ 0 w 354"/>
                <a:gd name="T23" fmla="*/ 0 h 203"/>
                <a:gd name="T24" fmla="*/ 0 w 354"/>
                <a:gd name="T25" fmla="*/ 0 h 203"/>
                <a:gd name="T26" fmla="*/ 0 w 354"/>
                <a:gd name="T27" fmla="*/ 0 h 203"/>
                <a:gd name="T28" fmla="*/ 0 w 354"/>
                <a:gd name="T29" fmla="*/ 0 h 203"/>
                <a:gd name="T30" fmla="*/ 0 w 354"/>
                <a:gd name="T31" fmla="*/ 0 h 203"/>
                <a:gd name="T32" fmla="*/ 0 w 354"/>
                <a:gd name="T33" fmla="*/ 0 h 203"/>
                <a:gd name="T34" fmla="*/ 0 w 354"/>
                <a:gd name="T35" fmla="*/ 0 h 203"/>
                <a:gd name="T36" fmla="*/ 0 w 354"/>
                <a:gd name="T37" fmla="*/ 0 h 203"/>
                <a:gd name="T38" fmla="*/ 0 w 354"/>
                <a:gd name="T39" fmla="*/ 0 h 203"/>
                <a:gd name="T40" fmla="*/ 0 w 354"/>
                <a:gd name="T41" fmla="*/ 0 h 203"/>
                <a:gd name="T42" fmla="*/ 0 w 354"/>
                <a:gd name="T43" fmla="*/ 0 h 203"/>
                <a:gd name="T44" fmla="*/ 0 w 354"/>
                <a:gd name="T45" fmla="*/ 0 h 203"/>
                <a:gd name="T46" fmla="*/ 0 w 354"/>
                <a:gd name="T47" fmla="*/ 0 h 203"/>
                <a:gd name="T48" fmla="*/ 0 w 354"/>
                <a:gd name="T49" fmla="*/ 0 h 20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54"/>
                <a:gd name="T76" fmla="*/ 0 h 203"/>
                <a:gd name="T77" fmla="*/ 354 w 354"/>
                <a:gd name="T78" fmla="*/ 203 h 20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54" h="203">
                  <a:moveTo>
                    <a:pt x="265" y="21"/>
                  </a:moveTo>
                  <a:lnTo>
                    <a:pt x="235" y="21"/>
                  </a:lnTo>
                  <a:lnTo>
                    <a:pt x="142" y="21"/>
                  </a:lnTo>
                  <a:lnTo>
                    <a:pt x="46" y="21"/>
                  </a:lnTo>
                  <a:lnTo>
                    <a:pt x="46" y="0"/>
                  </a:lnTo>
                  <a:lnTo>
                    <a:pt x="0" y="22"/>
                  </a:lnTo>
                  <a:lnTo>
                    <a:pt x="0" y="203"/>
                  </a:lnTo>
                  <a:lnTo>
                    <a:pt x="185" y="203"/>
                  </a:lnTo>
                  <a:lnTo>
                    <a:pt x="287" y="203"/>
                  </a:lnTo>
                  <a:lnTo>
                    <a:pt x="298" y="193"/>
                  </a:lnTo>
                  <a:lnTo>
                    <a:pt x="311" y="197"/>
                  </a:lnTo>
                  <a:lnTo>
                    <a:pt x="328" y="191"/>
                  </a:lnTo>
                  <a:lnTo>
                    <a:pt x="353" y="168"/>
                  </a:lnTo>
                  <a:lnTo>
                    <a:pt x="333" y="148"/>
                  </a:lnTo>
                  <a:lnTo>
                    <a:pt x="332" y="137"/>
                  </a:lnTo>
                  <a:lnTo>
                    <a:pt x="325" y="136"/>
                  </a:lnTo>
                  <a:lnTo>
                    <a:pt x="325" y="121"/>
                  </a:lnTo>
                  <a:lnTo>
                    <a:pt x="332" y="111"/>
                  </a:lnTo>
                  <a:lnTo>
                    <a:pt x="328" y="103"/>
                  </a:lnTo>
                  <a:lnTo>
                    <a:pt x="345" y="79"/>
                  </a:lnTo>
                  <a:lnTo>
                    <a:pt x="354" y="72"/>
                  </a:lnTo>
                  <a:lnTo>
                    <a:pt x="337" y="63"/>
                  </a:lnTo>
                  <a:lnTo>
                    <a:pt x="331" y="35"/>
                  </a:lnTo>
                  <a:lnTo>
                    <a:pt x="311" y="21"/>
                  </a:lnTo>
                  <a:lnTo>
                    <a:pt x="265" y="21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48" name="Freeform 48">
              <a:extLst>
                <a:ext uri="{FF2B5EF4-FFF2-40B4-BE49-F238E27FC236}">
                  <a16:creationId xmlns:a16="http://schemas.microsoft.com/office/drawing/2014/main" id="{47DC146E-24A6-46F1-A924-27DEFE667D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22528" y="3094390"/>
              <a:ext cx="687458" cy="542124"/>
            </a:xfrm>
            <a:custGeom>
              <a:avLst/>
              <a:gdLst>
                <a:gd name="T0" fmla="*/ 0 w 397"/>
                <a:gd name="T1" fmla="*/ 0 h 353"/>
                <a:gd name="T2" fmla="*/ 0 w 397"/>
                <a:gd name="T3" fmla="*/ 0 h 353"/>
                <a:gd name="T4" fmla="*/ 0 w 397"/>
                <a:gd name="T5" fmla="*/ 0 h 353"/>
                <a:gd name="T6" fmla="*/ 0 w 397"/>
                <a:gd name="T7" fmla="*/ 0 h 353"/>
                <a:gd name="T8" fmla="*/ 0 w 397"/>
                <a:gd name="T9" fmla="*/ 0 h 353"/>
                <a:gd name="T10" fmla="*/ 0 w 397"/>
                <a:gd name="T11" fmla="*/ 0 h 353"/>
                <a:gd name="T12" fmla="*/ 0 w 397"/>
                <a:gd name="T13" fmla="*/ 0 h 353"/>
                <a:gd name="T14" fmla="*/ 0 w 397"/>
                <a:gd name="T15" fmla="*/ 0 h 353"/>
                <a:gd name="T16" fmla="*/ 0 w 397"/>
                <a:gd name="T17" fmla="*/ 0 h 353"/>
                <a:gd name="T18" fmla="*/ 0 w 397"/>
                <a:gd name="T19" fmla="*/ 0 h 353"/>
                <a:gd name="T20" fmla="*/ 0 w 397"/>
                <a:gd name="T21" fmla="*/ 0 h 353"/>
                <a:gd name="T22" fmla="*/ 0 w 397"/>
                <a:gd name="T23" fmla="*/ 0 h 353"/>
                <a:gd name="T24" fmla="*/ 0 w 397"/>
                <a:gd name="T25" fmla="*/ 0 h 353"/>
                <a:gd name="T26" fmla="*/ 0 w 397"/>
                <a:gd name="T27" fmla="*/ 0 h 353"/>
                <a:gd name="T28" fmla="*/ 0 w 397"/>
                <a:gd name="T29" fmla="*/ 0 h 353"/>
                <a:gd name="T30" fmla="*/ 0 w 397"/>
                <a:gd name="T31" fmla="*/ 0 h 353"/>
                <a:gd name="T32" fmla="*/ 0 w 397"/>
                <a:gd name="T33" fmla="*/ 0 h 353"/>
                <a:gd name="T34" fmla="*/ 0 w 397"/>
                <a:gd name="T35" fmla="*/ 0 h 353"/>
                <a:gd name="T36" fmla="*/ 0 w 397"/>
                <a:gd name="T37" fmla="*/ 0 h 353"/>
                <a:gd name="T38" fmla="*/ 0 w 397"/>
                <a:gd name="T39" fmla="*/ 0 h 353"/>
                <a:gd name="T40" fmla="*/ 0 w 397"/>
                <a:gd name="T41" fmla="*/ 0 h 353"/>
                <a:gd name="T42" fmla="*/ 0 w 397"/>
                <a:gd name="T43" fmla="*/ 0 h 353"/>
                <a:gd name="T44" fmla="*/ 0 w 397"/>
                <a:gd name="T45" fmla="*/ 0 h 353"/>
                <a:gd name="T46" fmla="*/ 0 w 397"/>
                <a:gd name="T47" fmla="*/ 0 h 353"/>
                <a:gd name="T48" fmla="*/ 0 w 397"/>
                <a:gd name="T49" fmla="*/ 0 h 353"/>
                <a:gd name="T50" fmla="*/ 0 w 397"/>
                <a:gd name="T51" fmla="*/ 0 h 353"/>
                <a:gd name="T52" fmla="*/ 0 w 397"/>
                <a:gd name="T53" fmla="*/ 0 h 353"/>
                <a:gd name="T54" fmla="*/ 0 w 397"/>
                <a:gd name="T55" fmla="*/ 0 h 353"/>
                <a:gd name="T56" fmla="*/ 0 w 397"/>
                <a:gd name="T57" fmla="*/ 0 h 353"/>
                <a:gd name="T58" fmla="*/ 0 w 397"/>
                <a:gd name="T59" fmla="*/ 0 h 353"/>
                <a:gd name="T60" fmla="*/ 0 w 397"/>
                <a:gd name="T61" fmla="*/ 0 h 353"/>
                <a:gd name="T62" fmla="*/ 0 w 397"/>
                <a:gd name="T63" fmla="*/ 0 h 353"/>
                <a:gd name="T64" fmla="*/ 0 w 397"/>
                <a:gd name="T65" fmla="*/ 0 h 353"/>
                <a:gd name="T66" fmla="*/ 0 w 397"/>
                <a:gd name="T67" fmla="*/ 0 h 353"/>
                <a:gd name="T68" fmla="*/ 0 w 397"/>
                <a:gd name="T69" fmla="*/ 0 h 353"/>
                <a:gd name="T70" fmla="*/ 0 w 397"/>
                <a:gd name="T71" fmla="*/ 0 h 353"/>
                <a:gd name="T72" fmla="*/ 0 w 397"/>
                <a:gd name="T73" fmla="*/ 0 h 3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7"/>
                <a:gd name="T112" fmla="*/ 0 h 353"/>
                <a:gd name="T113" fmla="*/ 397 w 397"/>
                <a:gd name="T114" fmla="*/ 353 h 35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7" h="353">
                  <a:moveTo>
                    <a:pt x="265" y="247"/>
                  </a:moveTo>
                  <a:lnTo>
                    <a:pt x="189" y="247"/>
                  </a:lnTo>
                  <a:lnTo>
                    <a:pt x="96" y="247"/>
                  </a:lnTo>
                  <a:lnTo>
                    <a:pt x="0" y="247"/>
                  </a:lnTo>
                  <a:lnTo>
                    <a:pt x="0" y="226"/>
                  </a:lnTo>
                  <a:lnTo>
                    <a:pt x="57" y="181"/>
                  </a:lnTo>
                  <a:lnTo>
                    <a:pt x="45" y="146"/>
                  </a:lnTo>
                  <a:lnTo>
                    <a:pt x="102" y="132"/>
                  </a:lnTo>
                  <a:lnTo>
                    <a:pt x="137" y="144"/>
                  </a:lnTo>
                  <a:lnTo>
                    <a:pt x="174" y="141"/>
                  </a:lnTo>
                  <a:lnTo>
                    <a:pt x="221" y="120"/>
                  </a:lnTo>
                  <a:lnTo>
                    <a:pt x="221" y="101"/>
                  </a:lnTo>
                  <a:lnTo>
                    <a:pt x="215" y="91"/>
                  </a:lnTo>
                  <a:lnTo>
                    <a:pt x="225" y="83"/>
                  </a:lnTo>
                  <a:lnTo>
                    <a:pt x="212" y="72"/>
                  </a:lnTo>
                  <a:lnTo>
                    <a:pt x="238" y="51"/>
                  </a:lnTo>
                  <a:lnTo>
                    <a:pt x="252" y="27"/>
                  </a:lnTo>
                  <a:lnTo>
                    <a:pt x="290" y="0"/>
                  </a:lnTo>
                  <a:lnTo>
                    <a:pt x="389" y="0"/>
                  </a:lnTo>
                  <a:lnTo>
                    <a:pt x="388" y="30"/>
                  </a:lnTo>
                  <a:lnTo>
                    <a:pt x="394" y="43"/>
                  </a:lnTo>
                  <a:lnTo>
                    <a:pt x="384" y="76"/>
                  </a:lnTo>
                  <a:lnTo>
                    <a:pt x="388" y="103"/>
                  </a:lnTo>
                  <a:lnTo>
                    <a:pt x="385" y="112"/>
                  </a:lnTo>
                  <a:lnTo>
                    <a:pt x="397" y="120"/>
                  </a:lnTo>
                  <a:lnTo>
                    <a:pt x="396" y="186"/>
                  </a:lnTo>
                  <a:lnTo>
                    <a:pt x="383" y="244"/>
                  </a:lnTo>
                  <a:lnTo>
                    <a:pt x="377" y="302"/>
                  </a:lnTo>
                  <a:lnTo>
                    <a:pt x="381" y="312"/>
                  </a:lnTo>
                  <a:lnTo>
                    <a:pt x="368" y="320"/>
                  </a:lnTo>
                  <a:lnTo>
                    <a:pt x="372" y="326"/>
                  </a:lnTo>
                  <a:lnTo>
                    <a:pt x="349" y="353"/>
                  </a:lnTo>
                  <a:lnTo>
                    <a:pt x="356" y="329"/>
                  </a:lnTo>
                  <a:lnTo>
                    <a:pt x="308" y="298"/>
                  </a:lnTo>
                  <a:lnTo>
                    <a:pt x="291" y="289"/>
                  </a:lnTo>
                  <a:lnTo>
                    <a:pt x="285" y="261"/>
                  </a:lnTo>
                  <a:lnTo>
                    <a:pt x="265" y="247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49" name="Freeform 50">
              <a:extLst>
                <a:ext uri="{FF2B5EF4-FFF2-40B4-BE49-F238E27FC236}">
                  <a16:creationId xmlns:a16="http://schemas.microsoft.com/office/drawing/2014/main" id="{6D9584DB-E211-4A61-BECC-888314F9F90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78740" y="3057424"/>
              <a:ext cx="192488" cy="320349"/>
            </a:xfrm>
            <a:custGeom>
              <a:avLst/>
              <a:gdLst>
                <a:gd name="T0" fmla="*/ 0 w 111"/>
                <a:gd name="T1" fmla="*/ 0 h 212"/>
                <a:gd name="T2" fmla="*/ 0 w 111"/>
                <a:gd name="T3" fmla="*/ 0 h 212"/>
                <a:gd name="T4" fmla="*/ 0 w 111"/>
                <a:gd name="T5" fmla="*/ 0 h 212"/>
                <a:gd name="T6" fmla="*/ 0 w 111"/>
                <a:gd name="T7" fmla="*/ 0 h 212"/>
                <a:gd name="T8" fmla="*/ 0 w 111"/>
                <a:gd name="T9" fmla="*/ 0 h 212"/>
                <a:gd name="T10" fmla="*/ 0 w 111"/>
                <a:gd name="T11" fmla="*/ 0 h 212"/>
                <a:gd name="T12" fmla="*/ 0 w 111"/>
                <a:gd name="T13" fmla="*/ 0 h 212"/>
                <a:gd name="T14" fmla="*/ 0 w 111"/>
                <a:gd name="T15" fmla="*/ 0 h 212"/>
                <a:gd name="T16" fmla="*/ 0 w 111"/>
                <a:gd name="T17" fmla="*/ 0 h 212"/>
                <a:gd name="T18" fmla="*/ 0 w 111"/>
                <a:gd name="T19" fmla="*/ 0 h 212"/>
                <a:gd name="T20" fmla="*/ 0 w 111"/>
                <a:gd name="T21" fmla="*/ 0 h 212"/>
                <a:gd name="T22" fmla="*/ 0 w 111"/>
                <a:gd name="T23" fmla="*/ 0 h 212"/>
                <a:gd name="T24" fmla="*/ 0 w 111"/>
                <a:gd name="T25" fmla="*/ 0 h 212"/>
                <a:gd name="T26" fmla="*/ 0 w 111"/>
                <a:gd name="T27" fmla="*/ 0 h 212"/>
                <a:gd name="T28" fmla="*/ 0 w 111"/>
                <a:gd name="T29" fmla="*/ 0 h 212"/>
                <a:gd name="T30" fmla="*/ 0 w 111"/>
                <a:gd name="T31" fmla="*/ 0 h 212"/>
                <a:gd name="T32" fmla="*/ 0 w 111"/>
                <a:gd name="T33" fmla="*/ 0 h 212"/>
                <a:gd name="T34" fmla="*/ 0 w 111"/>
                <a:gd name="T35" fmla="*/ 0 h 2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1"/>
                <a:gd name="T55" fmla="*/ 0 h 212"/>
                <a:gd name="T56" fmla="*/ 111 w 111"/>
                <a:gd name="T57" fmla="*/ 212 h 2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1" h="212">
                  <a:moveTo>
                    <a:pt x="111" y="184"/>
                  </a:moveTo>
                  <a:lnTo>
                    <a:pt x="97" y="158"/>
                  </a:lnTo>
                  <a:lnTo>
                    <a:pt x="93" y="82"/>
                  </a:lnTo>
                  <a:lnTo>
                    <a:pt x="90" y="0"/>
                  </a:lnTo>
                  <a:lnTo>
                    <a:pt x="74" y="3"/>
                  </a:lnTo>
                  <a:lnTo>
                    <a:pt x="62" y="26"/>
                  </a:lnTo>
                  <a:lnTo>
                    <a:pt x="64" y="31"/>
                  </a:lnTo>
                  <a:lnTo>
                    <a:pt x="56" y="44"/>
                  </a:lnTo>
                  <a:lnTo>
                    <a:pt x="58" y="64"/>
                  </a:lnTo>
                  <a:lnTo>
                    <a:pt x="32" y="82"/>
                  </a:lnTo>
                  <a:lnTo>
                    <a:pt x="28" y="110"/>
                  </a:lnTo>
                  <a:lnTo>
                    <a:pt x="11" y="146"/>
                  </a:lnTo>
                  <a:lnTo>
                    <a:pt x="0" y="203"/>
                  </a:lnTo>
                  <a:lnTo>
                    <a:pt x="5" y="212"/>
                  </a:lnTo>
                  <a:lnTo>
                    <a:pt x="77" y="212"/>
                  </a:lnTo>
                  <a:lnTo>
                    <a:pt x="101" y="200"/>
                  </a:lnTo>
                  <a:lnTo>
                    <a:pt x="106" y="201"/>
                  </a:lnTo>
                  <a:lnTo>
                    <a:pt x="111" y="184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0" name="Freeform 51">
              <a:extLst>
                <a:ext uri="{FF2B5EF4-FFF2-40B4-BE49-F238E27FC236}">
                  <a16:creationId xmlns:a16="http://schemas.microsoft.com/office/drawing/2014/main" id="{639DB192-7890-4C2F-ADDE-D81074142C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29972" y="2761724"/>
              <a:ext cx="433097" cy="579092"/>
            </a:xfrm>
            <a:custGeom>
              <a:avLst/>
              <a:gdLst>
                <a:gd name="T0" fmla="*/ 0 w 253"/>
                <a:gd name="T1" fmla="*/ 0 h 374"/>
                <a:gd name="T2" fmla="*/ 0 w 253"/>
                <a:gd name="T3" fmla="*/ 0 h 374"/>
                <a:gd name="T4" fmla="*/ 0 w 253"/>
                <a:gd name="T5" fmla="*/ 0 h 374"/>
                <a:gd name="T6" fmla="*/ 0 w 253"/>
                <a:gd name="T7" fmla="*/ 0 h 374"/>
                <a:gd name="T8" fmla="*/ 0 w 253"/>
                <a:gd name="T9" fmla="*/ 0 h 374"/>
                <a:gd name="T10" fmla="*/ 0 w 253"/>
                <a:gd name="T11" fmla="*/ 0 h 374"/>
                <a:gd name="T12" fmla="*/ 0 w 253"/>
                <a:gd name="T13" fmla="*/ 0 h 374"/>
                <a:gd name="T14" fmla="*/ 0 w 253"/>
                <a:gd name="T15" fmla="*/ 0 h 374"/>
                <a:gd name="T16" fmla="*/ 0 w 253"/>
                <a:gd name="T17" fmla="*/ 0 h 374"/>
                <a:gd name="T18" fmla="*/ 0 w 253"/>
                <a:gd name="T19" fmla="*/ 0 h 374"/>
                <a:gd name="T20" fmla="*/ 0 w 253"/>
                <a:gd name="T21" fmla="*/ 0 h 374"/>
                <a:gd name="T22" fmla="*/ 0 w 253"/>
                <a:gd name="T23" fmla="*/ 0 h 374"/>
                <a:gd name="T24" fmla="*/ 0 w 253"/>
                <a:gd name="T25" fmla="*/ 0 h 374"/>
                <a:gd name="T26" fmla="*/ 0 w 253"/>
                <a:gd name="T27" fmla="*/ 0 h 374"/>
                <a:gd name="T28" fmla="*/ 0 w 253"/>
                <a:gd name="T29" fmla="*/ 0 h 374"/>
                <a:gd name="T30" fmla="*/ 0 w 253"/>
                <a:gd name="T31" fmla="*/ 0 h 374"/>
                <a:gd name="T32" fmla="*/ 0 w 253"/>
                <a:gd name="T33" fmla="*/ 0 h 374"/>
                <a:gd name="T34" fmla="*/ 0 w 253"/>
                <a:gd name="T35" fmla="*/ 0 h 374"/>
                <a:gd name="T36" fmla="*/ 0 w 253"/>
                <a:gd name="T37" fmla="*/ 0 h 374"/>
                <a:gd name="T38" fmla="*/ 0 w 253"/>
                <a:gd name="T39" fmla="*/ 0 h 374"/>
                <a:gd name="T40" fmla="*/ 0 w 253"/>
                <a:gd name="T41" fmla="*/ 0 h 374"/>
                <a:gd name="T42" fmla="*/ 0 w 253"/>
                <a:gd name="T43" fmla="*/ 0 h 374"/>
                <a:gd name="T44" fmla="*/ 0 w 253"/>
                <a:gd name="T45" fmla="*/ 0 h 374"/>
                <a:gd name="T46" fmla="*/ 0 w 253"/>
                <a:gd name="T47" fmla="*/ 0 h 374"/>
                <a:gd name="T48" fmla="*/ 0 w 253"/>
                <a:gd name="T49" fmla="*/ 0 h 374"/>
                <a:gd name="T50" fmla="*/ 0 w 253"/>
                <a:gd name="T51" fmla="*/ 0 h 374"/>
                <a:gd name="T52" fmla="*/ 0 w 253"/>
                <a:gd name="T53" fmla="*/ 0 h 374"/>
                <a:gd name="T54" fmla="*/ 0 w 253"/>
                <a:gd name="T55" fmla="*/ 0 h 374"/>
                <a:gd name="T56" fmla="*/ 0 w 253"/>
                <a:gd name="T57" fmla="*/ 0 h 374"/>
                <a:gd name="T58" fmla="*/ 0 w 253"/>
                <a:gd name="T59" fmla="*/ 0 h 374"/>
                <a:gd name="T60" fmla="*/ 0 w 253"/>
                <a:gd name="T61" fmla="*/ 0 h 374"/>
                <a:gd name="T62" fmla="*/ 0 w 253"/>
                <a:gd name="T63" fmla="*/ 0 h 374"/>
                <a:gd name="T64" fmla="*/ 0 w 253"/>
                <a:gd name="T65" fmla="*/ 0 h 374"/>
                <a:gd name="T66" fmla="*/ 0 w 253"/>
                <a:gd name="T67" fmla="*/ 0 h 374"/>
                <a:gd name="T68" fmla="*/ 0 w 253"/>
                <a:gd name="T69" fmla="*/ 0 h 374"/>
                <a:gd name="T70" fmla="*/ 0 w 253"/>
                <a:gd name="T71" fmla="*/ 0 h 374"/>
                <a:gd name="T72" fmla="*/ 0 w 253"/>
                <a:gd name="T73" fmla="*/ 0 h 374"/>
                <a:gd name="T74" fmla="*/ 0 w 253"/>
                <a:gd name="T75" fmla="*/ 0 h 374"/>
                <a:gd name="T76" fmla="*/ 0 w 253"/>
                <a:gd name="T77" fmla="*/ 0 h 374"/>
                <a:gd name="T78" fmla="*/ 0 w 253"/>
                <a:gd name="T79" fmla="*/ 0 h 374"/>
                <a:gd name="T80" fmla="*/ 0 w 253"/>
                <a:gd name="T81" fmla="*/ 0 h 374"/>
                <a:gd name="T82" fmla="*/ 0 w 253"/>
                <a:gd name="T83" fmla="*/ 0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3"/>
                <a:gd name="T127" fmla="*/ 0 h 374"/>
                <a:gd name="T128" fmla="*/ 253 w 253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3" h="374">
                  <a:moveTo>
                    <a:pt x="3" y="272"/>
                  </a:moveTo>
                  <a:lnTo>
                    <a:pt x="0" y="190"/>
                  </a:lnTo>
                  <a:lnTo>
                    <a:pt x="29" y="186"/>
                  </a:lnTo>
                  <a:lnTo>
                    <a:pt x="29" y="171"/>
                  </a:lnTo>
                  <a:lnTo>
                    <a:pt x="44" y="159"/>
                  </a:lnTo>
                  <a:lnTo>
                    <a:pt x="46" y="118"/>
                  </a:lnTo>
                  <a:lnTo>
                    <a:pt x="64" y="81"/>
                  </a:lnTo>
                  <a:lnTo>
                    <a:pt x="67" y="54"/>
                  </a:lnTo>
                  <a:lnTo>
                    <a:pt x="98" y="4"/>
                  </a:lnTo>
                  <a:lnTo>
                    <a:pt x="111" y="0"/>
                  </a:lnTo>
                  <a:lnTo>
                    <a:pt x="123" y="15"/>
                  </a:lnTo>
                  <a:lnTo>
                    <a:pt x="124" y="20"/>
                  </a:lnTo>
                  <a:lnTo>
                    <a:pt x="138" y="24"/>
                  </a:lnTo>
                  <a:lnTo>
                    <a:pt x="172" y="8"/>
                  </a:lnTo>
                  <a:lnTo>
                    <a:pt x="201" y="36"/>
                  </a:lnTo>
                  <a:lnTo>
                    <a:pt x="201" y="95"/>
                  </a:lnTo>
                  <a:lnTo>
                    <a:pt x="201" y="155"/>
                  </a:lnTo>
                  <a:lnTo>
                    <a:pt x="218" y="164"/>
                  </a:lnTo>
                  <a:lnTo>
                    <a:pt x="220" y="188"/>
                  </a:lnTo>
                  <a:lnTo>
                    <a:pt x="233" y="198"/>
                  </a:lnTo>
                  <a:lnTo>
                    <a:pt x="242" y="200"/>
                  </a:lnTo>
                  <a:lnTo>
                    <a:pt x="249" y="196"/>
                  </a:lnTo>
                  <a:lnTo>
                    <a:pt x="250" y="214"/>
                  </a:lnTo>
                  <a:lnTo>
                    <a:pt x="246" y="223"/>
                  </a:lnTo>
                  <a:lnTo>
                    <a:pt x="253" y="225"/>
                  </a:lnTo>
                  <a:lnTo>
                    <a:pt x="253" y="234"/>
                  </a:lnTo>
                  <a:lnTo>
                    <a:pt x="205" y="253"/>
                  </a:lnTo>
                  <a:lnTo>
                    <a:pt x="172" y="276"/>
                  </a:lnTo>
                  <a:lnTo>
                    <a:pt x="152" y="268"/>
                  </a:lnTo>
                  <a:lnTo>
                    <a:pt x="148" y="255"/>
                  </a:lnTo>
                  <a:lnTo>
                    <a:pt x="142" y="257"/>
                  </a:lnTo>
                  <a:lnTo>
                    <a:pt x="124" y="296"/>
                  </a:lnTo>
                  <a:lnTo>
                    <a:pt x="114" y="295"/>
                  </a:lnTo>
                  <a:lnTo>
                    <a:pt x="101" y="309"/>
                  </a:lnTo>
                  <a:lnTo>
                    <a:pt x="93" y="305"/>
                  </a:lnTo>
                  <a:lnTo>
                    <a:pt x="85" y="320"/>
                  </a:lnTo>
                  <a:lnTo>
                    <a:pt x="79" y="311"/>
                  </a:lnTo>
                  <a:lnTo>
                    <a:pt x="66" y="315"/>
                  </a:lnTo>
                  <a:lnTo>
                    <a:pt x="38" y="361"/>
                  </a:lnTo>
                  <a:lnTo>
                    <a:pt x="21" y="374"/>
                  </a:lnTo>
                  <a:lnTo>
                    <a:pt x="7" y="348"/>
                  </a:lnTo>
                  <a:lnTo>
                    <a:pt x="3" y="272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1" name="Freeform 54">
              <a:extLst>
                <a:ext uri="{FF2B5EF4-FFF2-40B4-BE49-F238E27FC236}">
                  <a16:creationId xmlns:a16="http://schemas.microsoft.com/office/drawing/2014/main" id="{D5C93463-CBD6-4CB2-893D-72B594F1A9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82490" y="3094390"/>
              <a:ext cx="206237" cy="283383"/>
            </a:xfrm>
            <a:custGeom>
              <a:avLst/>
              <a:gdLst>
                <a:gd name="T0" fmla="*/ 0 w 118"/>
                <a:gd name="T1" fmla="*/ 0 h 186"/>
                <a:gd name="T2" fmla="*/ 0 w 118"/>
                <a:gd name="T3" fmla="*/ 0 h 186"/>
                <a:gd name="T4" fmla="*/ 0 w 118"/>
                <a:gd name="T5" fmla="*/ 0 h 186"/>
                <a:gd name="T6" fmla="*/ 0 w 118"/>
                <a:gd name="T7" fmla="*/ 0 h 186"/>
                <a:gd name="T8" fmla="*/ 0 w 118"/>
                <a:gd name="T9" fmla="*/ 0 h 186"/>
                <a:gd name="T10" fmla="*/ 0 w 118"/>
                <a:gd name="T11" fmla="*/ 0 h 186"/>
                <a:gd name="T12" fmla="*/ 0 w 118"/>
                <a:gd name="T13" fmla="*/ 0 h 186"/>
                <a:gd name="T14" fmla="*/ 0 w 118"/>
                <a:gd name="T15" fmla="*/ 0 h 186"/>
                <a:gd name="T16" fmla="*/ 0 w 118"/>
                <a:gd name="T17" fmla="*/ 0 h 186"/>
                <a:gd name="T18" fmla="*/ 0 w 118"/>
                <a:gd name="T19" fmla="*/ 0 h 186"/>
                <a:gd name="T20" fmla="*/ 0 w 118"/>
                <a:gd name="T21" fmla="*/ 0 h 186"/>
                <a:gd name="T22" fmla="*/ 0 w 118"/>
                <a:gd name="T23" fmla="*/ 0 h 186"/>
                <a:gd name="T24" fmla="*/ 0 w 118"/>
                <a:gd name="T25" fmla="*/ 0 h 186"/>
                <a:gd name="T26" fmla="*/ 0 w 118"/>
                <a:gd name="T27" fmla="*/ 0 h 186"/>
                <a:gd name="T28" fmla="*/ 0 w 118"/>
                <a:gd name="T29" fmla="*/ 0 h 186"/>
                <a:gd name="T30" fmla="*/ 0 w 118"/>
                <a:gd name="T31" fmla="*/ 0 h 186"/>
                <a:gd name="T32" fmla="*/ 0 w 118"/>
                <a:gd name="T33" fmla="*/ 0 h 186"/>
                <a:gd name="T34" fmla="*/ 0 w 118"/>
                <a:gd name="T35" fmla="*/ 0 h 186"/>
                <a:gd name="T36" fmla="*/ 0 w 118"/>
                <a:gd name="T37" fmla="*/ 0 h 18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8"/>
                <a:gd name="T58" fmla="*/ 0 h 186"/>
                <a:gd name="T59" fmla="*/ 118 w 118"/>
                <a:gd name="T60" fmla="*/ 186 h 18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8" h="186">
                  <a:moveTo>
                    <a:pt x="59" y="186"/>
                  </a:moveTo>
                  <a:lnTo>
                    <a:pt x="54" y="177"/>
                  </a:lnTo>
                  <a:lnTo>
                    <a:pt x="65" y="120"/>
                  </a:lnTo>
                  <a:lnTo>
                    <a:pt x="82" y="84"/>
                  </a:lnTo>
                  <a:lnTo>
                    <a:pt x="86" y="56"/>
                  </a:lnTo>
                  <a:lnTo>
                    <a:pt x="112" y="38"/>
                  </a:lnTo>
                  <a:lnTo>
                    <a:pt x="110" y="18"/>
                  </a:lnTo>
                  <a:lnTo>
                    <a:pt x="118" y="5"/>
                  </a:lnTo>
                  <a:lnTo>
                    <a:pt x="116" y="0"/>
                  </a:lnTo>
                  <a:lnTo>
                    <a:pt x="57" y="0"/>
                  </a:lnTo>
                  <a:lnTo>
                    <a:pt x="5" y="0"/>
                  </a:lnTo>
                  <a:lnTo>
                    <a:pt x="4" y="30"/>
                  </a:lnTo>
                  <a:lnTo>
                    <a:pt x="10" y="43"/>
                  </a:lnTo>
                  <a:lnTo>
                    <a:pt x="0" y="76"/>
                  </a:lnTo>
                  <a:lnTo>
                    <a:pt x="4" y="103"/>
                  </a:lnTo>
                  <a:lnTo>
                    <a:pt x="1" y="112"/>
                  </a:lnTo>
                  <a:lnTo>
                    <a:pt x="13" y="120"/>
                  </a:lnTo>
                  <a:lnTo>
                    <a:pt x="12" y="186"/>
                  </a:lnTo>
                  <a:lnTo>
                    <a:pt x="59" y="186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2" name="Freeform 55">
              <a:extLst>
                <a:ext uri="{FF2B5EF4-FFF2-40B4-BE49-F238E27FC236}">
                  <a16:creationId xmlns:a16="http://schemas.microsoft.com/office/drawing/2014/main" id="{70A69637-1BB3-447F-8F56-47F8E87EBC1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62498" y="3556428"/>
              <a:ext cx="178737" cy="289542"/>
            </a:xfrm>
            <a:custGeom>
              <a:avLst/>
              <a:gdLst>
                <a:gd name="T0" fmla="*/ 0 w 101"/>
                <a:gd name="T1" fmla="*/ 0 h 189"/>
                <a:gd name="T2" fmla="*/ 0 w 101"/>
                <a:gd name="T3" fmla="*/ 0 h 189"/>
                <a:gd name="T4" fmla="*/ 0 w 101"/>
                <a:gd name="T5" fmla="*/ 0 h 189"/>
                <a:gd name="T6" fmla="*/ 0 w 101"/>
                <a:gd name="T7" fmla="*/ 0 h 189"/>
                <a:gd name="T8" fmla="*/ 0 w 101"/>
                <a:gd name="T9" fmla="*/ 0 h 189"/>
                <a:gd name="T10" fmla="*/ 0 w 101"/>
                <a:gd name="T11" fmla="*/ 0 h 189"/>
                <a:gd name="T12" fmla="*/ 0 w 101"/>
                <a:gd name="T13" fmla="*/ 0 h 189"/>
                <a:gd name="T14" fmla="*/ 0 w 101"/>
                <a:gd name="T15" fmla="*/ 0 h 189"/>
                <a:gd name="T16" fmla="*/ 0 w 101"/>
                <a:gd name="T17" fmla="*/ 0 h 189"/>
                <a:gd name="T18" fmla="*/ 0 w 101"/>
                <a:gd name="T19" fmla="*/ 0 h 189"/>
                <a:gd name="T20" fmla="*/ 0 w 101"/>
                <a:gd name="T21" fmla="*/ 0 h 189"/>
                <a:gd name="T22" fmla="*/ 0 w 101"/>
                <a:gd name="T23" fmla="*/ 0 h 189"/>
                <a:gd name="T24" fmla="*/ 0 w 101"/>
                <a:gd name="T25" fmla="*/ 0 h 189"/>
                <a:gd name="T26" fmla="*/ 0 w 101"/>
                <a:gd name="T27" fmla="*/ 0 h 189"/>
                <a:gd name="T28" fmla="*/ 0 w 101"/>
                <a:gd name="T29" fmla="*/ 0 h 189"/>
                <a:gd name="T30" fmla="*/ 0 w 101"/>
                <a:gd name="T31" fmla="*/ 0 h 189"/>
                <a:gd name="T32" fmla="*/ 0 w 101"/>
                <a:gd name="T33" fmla="*/ 0 h 189"/>
                <a:gd name="T34" fmla="*/ 0 w 101"/>
                <a:gd name="T35" fmla="*/ 0 h 189"/>
                <a:gd name="T36" fmla="*/ 0 w 101"/>
                <a:gd name="T37" fmla="*/ 0 h 189"/>
                <a:gd name="T38" fmla="*/ 0 w 101"/>
                <a:gd name="T39" fmla="*/ 0 h 189"/>
                <a:gd name="T40" fmla="*/ 0 w 101"/>
                <a:gd name="T41" fmla="*/ 0 h 189"/>
                <a:gd name="T42" fmla="*/ 0 w 101"/>
                <a:gd name="T43" fmla="*/ 0 h 189"/>
                <a:gd name="T44" fmla="*/ 0 w 101"/>
                <a:gd name="T45" fmla="*/ 0 h 189"/>
                <a:gd name="T46" fmla="*/ 0 w 101"/>
                <a:gd name="T47" fmla="*/ 0 h 189"/>
                <a:gd name="T48" fmla="*/ 0 w 101"/>
                <a:gd name="T49" fmla="*/ 0 h 18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1"/>
                <a:gd name="T76" fmla="*/ 0 h 189"/>
                <a:gd name="T77" fmla="*/ 101 w 101"/>
                <a:gd name="T78" fmla="*/ 189 h 18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1" h="189">
                  <a:moveTo>
                    <a:pt x="2" y="144"/>
                  </a:moveTo>
                  <a:lnTo>
                    <a:pt x="17" y="162"/>
                  </a:lnTo>
                  <a:lnTo>
                    <a:pt x="45" y="171"/>
                  </a:lnTo>
                  <a:lnTo>
                    <a:pt x="46" y="189"/>
                  </a:lnTo>
                  <a:lnTo>
                    <a:pt x="54" y="180"/>
                  </a:lnTo>
                  <a:lnTo>
                    <a:pt x="86" y="137"/>
                  </a:lnTo>
                  <a:lnTo>
                    <a:pt x="90" y="115"/>
                  </a:lnTo>
                  <a:lnTo>
                    <a:pt x="96" y="113"/>
                  </a:lnTo>
                  <a:lnTo>
                    <a:pt x="101" y="90"/>
                  </a:lnTo>
                  <a:lnTo>
                    <a:pt x="86" y="66"/>
                  </a:lnTo>
                  <a:lnTo>
                    <a:pt x="93" y="55"/>
                  </a:lnTo>
                  <a:lnTo>
                    <a:pt x="100" y="31"/>
                  </a:lnTo>
                  <a:lnTo>
                    <a:pt x="52" y="0"/>
                  </a:lnTo>
                  <a:lnTo>
                    <a:pt x="43" y="7"/>
                  </a:lnTo>
                  <a:lnTo>
                    <a:pt x="26" y="31"/>
                  </a:lnTo>
                  <a:lnTo>
                    <a:pt x="30" y="39"/>
                  </a:lnTo>
                  <a:lnTo>
                    <a:pt x="23" y="49"/>
                  </a:lnTo>
                  <a:lnTo>
                    <a:pt x="23" y="64"/>
                  </a:lnTo>
                  <a:lnTo>
                    <a:pt x="30" y="65"/>
                  </a:lnTo>
                  <a:lnTo>
                    <a:pt x="31" y="76"/>
                  </a:lnTo>
                  <a:lnTo>
                    <a:pt x="51" y="96"/>
                  </a:lnTo>
                  <a:lnTo>
                    <a:pt x="26" y="119"/>
                  </a:lnTo>
                  <a:lnTo>
                    <a:pt x="9" y="125"/>
                  </a:lnTo>
                  <a:lnTo>
                    <a:pt x="0" y="139"/>
                  </a:lnTo>
                  <a:lnTo>
                    <a:pt x="2" y="144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3" name="Freeform 56">
              <a:extLst>
                <a:ext uri="{FF2B5EF4-FFF2-40B4-BE49-F238E27FC236}">
                  <a16:creationId xmlns:a16="http://schemas.microsoft.com/office/drawing/2014/main" id="{D73AB629-78C4-4247-B9CB-C72DD60BD2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82490" y="3363070"/>
              <a:ext cx="378105" cy="166336"/>
            </a:xfrm>
            <a:custGeom>
              <a:avLst/>
              <a:gdLst>
                <a:gd name="T0" fmla="*/ 0 w 222"/>
                <a:gd name="T1" fmla="*/ 0 h 111"/>
                <a:gd name="T2" fmla="*/ 0 w 222"/>
                <a:gd name="T3" fmla="*/ 0 h 111"/>
                <a:gd name="T4" fmla="*/ 0 w 222"/>
                <a:gd name="T5" fmla="*/ 0 h 111"/>
                <a:gd name="T6" fmla="*/ 0 w 222"/>
                <a:gd name="T7" fmla="*/ 0 h 111"/>
                <a:gd name="T8" fmla="*/ 0 w 222"/>
                <a:gd name="T9" fmla="*/ 0 h 111"/>
                <a:gd name="T10" fmla="*/ 0 w 222"/>
                <a:gd name="T11" fmla="*/ 0 h 111"/>
                <a:gd name="T12" fmla="*/ 0 w 222"/>
                <a:gd name="T13" fmla="*/ 0 h 111"/>
                <a:gd name="T14" fmla="*/ 0 w 222"/>
                <a:gd name="T15" fmla="*/ 0 h 111"/>
                <a:gd name="T16" fmla="*/ 0 w 222"/>
                <a:gd name="T17" fmla="*/ 0 h 111"/>
                <a:gd name="T18" fmla="*/ 0 w 222"/>
                <a:gd name="T19" fmla="*/ 0 h 111"/>
                <a:gd name="T20" fmla="*/ 0 w 222"/>
                <a:gd name="T21" fmla="*/ 0 h 111"/>
                <a:gd name="T22" fmla="*/ 0 w 222"/>
                <a:gd name="T23" fmla="*/ 0 h 111"/>
                <a:gd name="T24" fmla="*/ 0 w 222"/>
                <a:gd name="T25" fmla="*/ 0 h 111"/>
                <a:gd name="T26" fmla="*/ 0 w 222"/>
                <a:gd name="T27" fmla="*/ 0 h 111"/>
                <a:gd name="T28" fmla="*/ 0 w 222"/>
                <a:gd name="T29" fmla="*/ 0 h 111"/>
                <a:gd name="T30" fmla="*/ 0 w 222"/>
                <a:gd name="T31" fmla="*/ 0 h 111"/>
                <a:gd name="T32" fmla="*/ 0 w 222"/>
                <a:gd name="T33" fmla="*/ 0 h 111"/>
                <a:gd name="T34" fmla="*/ 0 w 222"/>
                <a:gd name="T35" fmla="*/ 0 h 111"/>
                <a:gd name="T36" fmla="*/ 0 w 222"/>
                <a:gd name="T37" fmla="*/ 0 h 111"/>
                <a:gd name="T38" fmla="*/ 0 w 222"/>
                <a:gd name="T39" fmla="*/ 0 h 111"/>
                <a:gd name="T40" fmla="*/ 0 w 222"/>
                <a:gd name="T41" fmla="*/ 0 h 111"/>
                <a:gd name="T42" fmla="*/ 0 w 222"/>
                <a:gd name="T43" fmla="*/ 0 h 111"/>
                <a:gd name="T44" fmla="*/ 0 w 222"/>
                <a:gd name="T45" fmla="*/ 0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22"/>
                <a:gd name="T70" fmla="*/ 0 h 111"/>
                <a:gd name="T71" fmla="*/ 222 w 222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22" h="111">
                  <a:moveTo>
                    <a:pt x="0" y="70"/>
                  </a:moveTo>
                  <a:lnTo>
                    <a:pt x="13" y="12"/>
                  </a:lnTo>
                  <a:lnTo>
                    <a:pt x="132" y="12"/>
                  </a:lnTo>
                  <a:lnTo>
                    <a:pt x="156" y="0"/>
                  </a:lnTo>
                  <a:lnTo>
                    <a:pt x="161" y="1"/>
                  </a:lnTo>
                  <a:lnTo>
                    <a:pt x="173" y="25"/>
                  </a:lnTo>
                  <a:lnTo>
                    <a:pt x="157" y="48"/>
                  </a:lnTo>
                  <a:lnTo>
                    <a:pt x="171" y="61"/>
                  </a:lnTo>
                  <a:lnTo>
                    <a:pt x="183" y="89"/>
                  </a:lnTo>
                  <a:lnTo>
                    <a:pt x="193" y="94"/>
                  </a:lnTo>
                  <a:lnTo>
                    <a:pt x="214" y="95"/>
                  </a:lnTo>
                  <a:lnTo>
                    <a:pt x="216" y="83"/>
                  </a:lnTo>
                  <a:lnTo>
                    <a:pt x="212" y="77"/>
                  </a:lnTo>
                  <a:lnTo>
                    <a:pt x="219" y="77"/>
                  </a:lnTo>
                  <a:lnTo>
                    <a:pt x="222" y="94"/>
                  </a:lnTo>
                  <a:lnTo>
                    <a:pt x="207" y="105"/>
                  </a:lnTo>
                  <a:lnTo>
                    <a:pt x="186" y="110"/>
                  </a:lnTo>
                  <a:lnTo>
                    <a:pt x="173" y="99"/>
                  </a:lnTo>
                  <a:lnTo>
                    <a:pt x="150" y="111"/>
                  </a:lnTo>
                  <a:lnTo>
                    <a:pt x="138" y="97"/>
                  </a:lnTo>
                  <a:lnTo>
                    <a:pt x="129" y="90"/>
                  </a:lnTo>
                  <a:lnTo>
                    <a:pt x="127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4" name="Freeform 57">
              <a:extLst>
                <a:ext uri="{FF2B5EF4-FFF2-40B4-BE49-F238E27FC236}">
                  <a16:creationId xmlns:a16="http://schemas.microsoft.com/office/drawing/2014/main" id="{B91927B5-03A9-4819-93AD-261E37D0E6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54350" y="3470183"/>
              <a:ext cx="68742" cy="86244"/>
            </a:xfrm>
            <a:custGeom>
              <a:avLst/>
              <a:gdLst>
                <a:gd name="T0" fmla="*/ 0 w 39"/>
                <a:gd name="T1" fmla="*/ 0 h 57"/>
                <a:gd name="T2" fmla="*/ 0 w 39"/>
                <a:gd name="T3" fmla="*/ 0 h 57"/>
                <a:gd name="T4" fmla="*/ 0 w 39"/>
                <a:gd name="T5" fmla="*/ 0 h 57"/>
                <a:gd name="T6" fmla="*/ 0 w 39"/>
                <a:gd name="T7" fmla="*/ 0 h 57"/>
                <a:gd name="T8" fmla="*/ 0 w 39"/>
                <a:gd name="T9" fmla="*/ 0 h 57"/>
                <a:gd name="T10" fmla="*/ 0 w 39"/>
                <a:gd name="T11" fmla="*/ 0 h 57"/>
                <a:gd name="T12" fmla="*/ 0 w 39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57"/>
                <a:gd name="T23" fmla="*/ 39 w 39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57">
                  <a:moveTo>
                    <a:pt x="0" y="57"/>
                  </a:moveTo>
                  <a:lnTo>
                    <a:pt x="31" y="46"/>
                  </a:lnTo>
                  <a:lnTo>
                    <a:pt x="39" y="27"/>
                  </a:lnTo>
                  <a:lnTo>
                    <a:pt x="30" y="20"/>
                  </a:lnTo>
                  <a:lnTo>
                    <a:pt x="28" y="0"/>
                  </a:lnTo>
                  <a:lnTo>
                    <a:pt x="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5" name="Freeform 58">
              <a:extLst>
                <a:ext uri="{FF2B5EF4-FFF2-40B4-BE49-F238E27FC236}">
                  <a16:creationId xmlns:a16="http://schemas.microsoft.com/office/drawing/2014/main" id="{45CC7387-7C86-46C7-826C-4585FD84B8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54994" y="3470183"/>
              <a:ext cx="199364" cy="129372"/>
            </a:xfrm>
            <a:custGeom>
              <a:avLst/>
              <a:gdLst>
                <a:gd name="T0" fmla="*/ 0 w 116"/>
                <a:gd name="T1" fmla="*/ 0 h 82"/>
                <a:gd name="T2" fmla="*/ 0 w 116"/>
                <a:gd name="T3" fmla="*/ 0 h 82"/>
                <a:gd name="T4" fmla="*/ 0 w 116"/>
                <a:gd name="T5" fmla="*/ 0 h 82"/>
                <a:gd name="T6" fmla="*/ 0 w 116"/>
                <a:gd name="T7" fmla="*/ 0 h 82"/>
                <a:gd name="T8" fmla="*/ 0 w 116"/>
                <a:gd name="T9" fmla="*/ 0 h 82"/>
                <a:gd name="T10" fmla="*/ 0 w 116"/>
                <a:gd name="T11" fmla="*/ 0 h 82"/>
                <a:gd name="T12" fmla="*/ 0 w 116"/>
                <a:gd name="T13" fmla="*/ 0 h 82"/>
                <a:gd name="T14" fmla="*/ 0 w 116"/>
                <a:gd name="T15" fmla="*/ 0 h 82"/>
                <a:gd name="T16" fmla="*/ 0 w 116"/>
                <a:gd name="T17" fmla="*/ 0 h 82"/>
                <a:gd name="T18" fmla="*/ 0 w 116"/>
                <a:gd name="T19" fmla="*/ 0 h 82"/>
                <a:gd name="T20" fmla="*/ 0 w 116"/>
                <a:gd name="T21" fmla="*/ 0 h 8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6"/>
                <a:gd name="T34" fmla="*/ 0 h 82"/>
                <a:gd name="T35" fmla="*/ 116 w 116"/>
                <a:gd name="T36" fmla="*/ 82 h 8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6" h="82">
                  <a:moveTo>
                    <a:pt x="4" y="82"/>
                  </a:moveTo>
                  <a:lnTo>
                    <a:pt x="42" y="72"/>
                  </a:lnTo>
                  <a:lnTo>
                    <a:pt x="56" y="60"/>
                  </a:lnTo>
                  <a:lnTo>
                    <a:pt x="85" y="60"/>
                  </a:lnTo>
                  <a:lnTo>
                    <a:pt x="114" y="57"/>
                  </a:lnTo>
                  <a:lnTo>
                    <a:pt x="116" y="0"/>
                  </a:lnTo>
                  <a:lnTo>
                    <a:pt x="15" y="0"/>
                  </a:lnTo>
                  <a:lnTo>
                    <a:pt x="9" y="58"/>
                  </a:lnTo>
                  <a:lnTo>
                    <a:pt x="13" y="68"/>
                  </a:lnTo>
                  <a:lnTo>
                    <a:pt x="0" y="76"/>
                  </a:lnTo>
                  <a:lnTo>
                    <a:pt x="4" y="82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56" name="Freeform 59">
              <a:extLst>
                <a:ext uri="{FF2B5EF4-FFF2-40B4-BE49-F238E27FC236}">
                  <a16:creationId xmlns:a16="http://schemas.microsoft.com/office/drawing/2014/main" id="{4C07728E-51E9-47B7-9DD8-401516B641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97506" y="3845970"/>
              <a:ext cx="27496" cy="18481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  <a:gd name="T4" fmla="*/ 0 w 15"/>
                <a:gd name="T5" fmla="*/ 0 h 15"/>
                <a:gd name="T6" fmla="*/ 0 w 15"/>
                <a:gd name="T7" fmla="*/ 0 h 15"/>
                <a:gd name="T8" fmla="*/ 0 w 1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5"/>
                <a:gd name="T17" fmla="*/ 15 w 1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5">
                  <a:moveTo>
                    <a:pt x="7" y="15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5" y="8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D1E8F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57" name="Freeform 60">
              <a:extLst>
                <a:ext uri="{FF2B5EF4-FFF2-40B4-BE49-F238E27FC236}">
                  <a16:creationId xmlns:a16="http://schemas.microsoft.com/office/drawing/2014/main" id="{0884A94A-201B-4844-9C1B-463783C180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26913" y="3642675"/>
              <a:ext cx="508721" cy="412751"/>
            </a:xfrm>
            <a:custGeom>
              <a:avLst/>
              <a:gdLst>
                <a:gd name="T0" fmla="*/ 0 w 297"/>
                <a:gd name="T1" fmla="*/ 0 h 267"/>
                <a:gd name="T2" fmla="*/ 0 w 297"/>
                <a:gd name="T3" fmla="*/ 0 h 267"/>
                <a:gd name="T4" fmla="*/ 0 w 297"/>
                <a:gd name="T5" fmla="*/ 0 h 267"/>
                <a:gd name="T6" fmla="*/ 0 w 297"/>
                <a:gd name="T7" fmla="*/ 0 h 267"/>
                <a:gd name="T8" fmla="*/ 0 w 297"/>
                <a:gd name="T9" fmla="*/ 0 h 267"/>
                <a:gd name="T10" fmla="*/ 0 w 297"/>
                <a:gd name="T11" fmla="*/ 0 h 267"/>
                <a:gd name="T12" fmla="*/ 0 w 297"/>
                <a:gd name="T13" fmla="*/ 0 h 267"/>
                <a:gd name="T14" fmla="*/ 0 w 297"/>
                <a:gd name="T15" fmla="*/ 0 h 267"/>
                <a:gd name="T16" fmla="*/ 0 w 297"/>
                <a:gd name="T17" fmla="*/ 0 h 267"/>
                <a:gd name="T18" fmla="*/ 0 w 297"/>
                <a:gd name="T19" fmla="*/ 0 h 267"/>
                <a:gd name="T20" fmla="*/ 0 w 297"/>
                <a:gd name="T21" fmla="*/ 0 h 267"/>
                <a:gd name="T22" fmla="*/ 0 w 297"/>
                <a:gd name="T23" fmla="*/ 0 h 267"/>
                <a:gd name="T24" fmla="*/ 0 w 297"/>
                <a:gd name="T25" fmla="*/ 0 h 267"/>
                <a:gd name="T26" fmla="*/ 0 w 297"/>
                <a:gd name="T27" fmla="*/ 0 h 267"/>
                <a:gd name="T28" fmla="*/ 0 w 297"/>
                <a:gd name="T29" fmla="*/ 0 h 267"/>
                <a:gd name="T30" fmla="*/ 0 w 297"/>
                <a:gd name="T31" fmla="*/ 0 h 267"/>
                <a:gd name="T32" fmla="*/ 0 w 297"/>
                <a:gd name="T33" fmla="*/ 0 h 267"/>
                <a:gd name="T34" fmla="*/ 0 w 297"/>
                <a:gd name="T35" fmla="*/ 0 h 267"/>
                <a:gd name="T36" fmla="*/ 0 w 297"/>
                <a:gd name="T37" fmla="*/ 0 h 267"/>
                <a:gd name="T38" fmla="*/ 0 w 297"/>
                <a:gd name="T39" fmla="*/ 0 h 267"/>
                <a:gd name="T40" fmla="*/ 0 w 297"/>
                <a:gd name="T41" fmla="*/ 0 h 267"/>
                <a:gd name="T42" fmla="*/ 0 w 297"/>
                <a:gd name="T43" fmla="*/ 0 h 267"/>
                <a:gd name="T44" fmla="*/ 0 w 297"/>
                <a:gd name="T45" fmla="*/ 0 h 267"/>
                <a:gd name="T46" fmla="*/ 0 w 297"/>
                <a:gd name="T47" fmla="*/ 0 h 267"/>
                <a:gd name="T48" fmla="*/ 0 w 297"/>
                <a:gd name="T49" fmla="*/ 0 h 267"/>
                <a:gd name="T50" fmla="*/ 0 w 297"/>
                <a:gd name="T51" fmla="*/ 0 h 267"/>
                <a:gd name="T52" fmla="*/ 0 w 297"/>
                <a:gd name="T53" fmla="*/ 0 h 267"/>
                <a:gd name="T54" fmla="*/ 0 w 297"/>
                <a:gd name="T55" fmla="*/ 0 h 267"/>
                <a:gd name="T56" fmla="*/ 0 w 297"/>
                <a:gd name="T57" fmla="*/ 0 h 267"/>
                <a:gd name="T58" fmla="*/ 0 w 297"/>
                <a:gd name="T59" fmla="*/ 0 h 267"/>
                <a:gd name="T60" fmla="*/ 0 w 297"/>
                <a:gd name="T61" fmla="*/ 0 h 267"/>
                <a:gd name="T62" fmla="*/ 0 w 297"/>
                <a:gd name="T63" fmla="*/ 0 h 267"/>
                <a:gd name="T64" fmla="*/ 0 w 297"/>
                <a:gd name="T65" fmla="*/ 0 h 267"/>
                <a:gd name="T66" fmla="*/ 0 w 297"/>
                <a:gd name="T67" fmla="*/ 0 h 267"/>
                <a:gd name="T68" fmla="*/ 0 w 297"/>
                <a:gd name="T69" fmla="*/ 0 h 267"/>
                <a:gd name="T70" fmla="*/ 0 w 297"/>
                <a:gd name="T71" fmla="*/ 0 h 267"/>
                <a:gd name="T72" fmla="*/ 0 w 297"/>
                <a:gd name="T73" fmla="*/ 0 h 267"/>
                <a:gd name="T74" fmla="*/ 0 w 297"/>
                <a:gd name="T75" fmla="*/ 0 h 267"/>
                <a:gd name="T76" fmla="*/ 0 w 297"/>
                <a:gd name="T77" fmla="*/ 0 h 267"/>
                <a:gd name="T78" fmla="*/ 0 w 297"/>
                <a:gd name="T79" fmla="*/ 0 h 267"/>
                <a:gd name="T80" fmla="*/ 0 w 297"/>
                <a:gd name="T81" fmla="*/ 0 h 267"/>
                <a:gd name="T82" fmla="*/ 0 w 297"/>
                <a:gd name="T83" fmla="*/ 0 h 267"/>
                <a:gd name="T84" fmla="*/ 0 w 297"/>
                <a:gd name="T85" fmla="*/ 0 h 267"/>
                <a:gd name="T86" fmla="*/ 0 w 297"/>
                <a:gd name="T87" fmla="*/ 0 h 267"/>
                <a:gd name="T88" fmla="*/ 0 w 297"/>
                <a:gd name="T89" fmla="*/ 0 h 267"/>
                <a:gd name="T90" fmla="*/ 0 w 297"/>
                <a:gd name="T91" fmla="*/ 0 h 267"/>
                <a:gd name="T92" fmla="*/ 0 w 297"/>
                <a:gd name="T93" fmla="*/ 0 h 267"/>
                <a:gd name="T94" fmla="*/ 0 w 297"/>
                <a:gd name="T95" fmla="*/ 0 h 267"/>
                <a:gd name="T96" fmla="*/ 0 w 297"/>
                <a:gd name="T97" fmla="*/ 0 h 267"/>
                <a:gd name="T98" fmla="*/ 0 w 297"/>
                <a:gd name="T99" fmla="*/ 0 h 2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97"/>
                <a:gd name="T151" fmla="*/ 0 h 267"/>
                <a:gd name="T152" fmla="*/ 297 w 297"/>
                <a:gd name="T153" fmla="*/ 267 h 2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97" h="267">
                  <a:moveTo>
                    <a:pt x="2" y="174"/>
                  </a:moveTo>
                  <a:lnTo>
                    <a:pt x="18" y="171"/>
                  </a:lnTo>
                  <a:lnTo>
                    <a:pt x="35" y="129"/>
                  </a:lnTo>
                  <a:lnTo>
                    <a:pt x="42" y="130"/>
                  </a:lnTo>
                  <a:lnTo>
                    <a:pt x="42" y="138"/>
                  </a:lnTo>
                  <a:lnTo>
                    <a:pt x="51" y="134"/>
                  </a:lnTo>
                  <a:lnTo>
                    <a:pt x="49" y="124"/>
                  </a:lnTo>
                  <a:lnTo>
                    <a:pt x="58" y="108"/>
                  </a:lnTo>
                  <a:lnTo>
                    <a:pt x="71" y="97"/>
                  </a:lnTo>
                  <a:lnTo>
                    <a:pt x="76" y="103"/>
                  </a:lnTo>
                  <a:lnTo>
                    <a:pt x="86" y="99"/>
                  </a:lnTo>
                  <a:lnTo>
                    <a:pt x="106" y="80"/>
                  </a:lnTo>
                  <a:lnTo>
                    <a:pt x="123" y="26"/>
                  </a:lnTo>
                  <a:lnTo>
                    <a:pt x="119" y="4"/>
                  </a:lnTo>
                  <a:lnTo>
                    <a:pt x="128" y="0"/>
                  </a:lnTo>
                  <a:lnTo>
                    <a:pt x="128" y="72"/>
                  </a:lnTo>
                  <a:lnTo>
                    <a:pt x="192" y="72"/>
                  </a:lnTo>
                  <a:lnTo>
                    <a:pt x="190" y="113"/>
                  </a:lnTo>
                  <a:lnTo>
                    <a:pt x="214" y="92"/>
                  </a:lnTo>
                  <a:lnTo>
                    <a:pt x="222" y="93"/>
                  </a:lnTo>
                  <a:lnTo>
                    <a:pt x="235" y="79"/>
                  </a:lnTo>
                  <a:lnTo>
                    <a:pt x="246" y="87"/>
                  </a:lnTo>
                  <a:lnTo>
                    <a:pt x="254" y="87"/>
                  </a:lnTo>
                  <a:lnTo>
                    <a:pt x="256" y="80"/>
                  </a:lnTo>
                  <a:lnTo>
                    <a:pt x="270" y="75"/>
                  </a:lnTo>
                  <a:lnTo>
                    <a:pt x="291" y="82"/>
                  </a:lnTo>
                  <a:lnTo>
                    <a:pt x="297" y="104"/>
                  </a:lnTo>
                  <a:lnTo>
                    <a:pt x="292" y="117"/>
                  </a:lnTo>
                  <a:lnTo>
                    <a:pt x="262" y="92"/>
                  </a:lnTo>
                  <a:lnTo>
                    <a:pt x="256" y="116"/>
                  </a:lnTo>
                  <a:lnTo>
                    <a:pt x="229" y="145"/>
                  </a:lnTo>
                  <a:lnTo>
                    <a:pt x="221" y="141"/>
                  </a:lnTo>
                  <a:lnTo>
                    <a:pt x="203" y="173"/>
                  </a:lnTo>
                  <a:lnTo>
                    <a:pt x="181" y="161"/>
                  </a:lnTo>
                  <a:lnTo>
                    <a:pt x="173" y="186"/>
                  </a:lnTo>
                  <a:lnTo>
                    <a:pt x="143" y="230"/>
                  </a:lnTo>
                  <a:lnTo>
                    <a:pt x="147" y="235"/>
                  </a:lnTo>
                  <a:lnTo>
                    <a:pt x="144" y="243"/>
                  </a:lnTo>
                  <a:lnTo>
                    <a:pt x="132" y="249"/>
                  </a:lnTo>
                  <a:lnTo>
                    <a:pt x="107" y="251"/>
                  </a:lnTo>
                  <a:lnTo>
                    <a:pt x="104" y="259"/>
                  </a:lnTo>
                  <a:lnTo>
                    <a:pt x="86" y="264"/>
                  </a:lnTo>
                  <a:lnTo>
                    <a:pt x="76" y="256"/>
                  </a:lnTo>
                  <a:lnTo>
                    <a:pt x="62" y="267"/>
                  </a:lnTo>
                  <a:lnTo>
                    <a:pt x="47" y="260"/>
                  </a:lnTo>
                  <a:lnTo>
                    <a:pt x="42" y="255"/>
                  </a:lnTo>
                  <a:lnTo>
                    <a:pt x="41" y="242"/>
                  </a:lnTo>
                  <a:lnTo>
                    <a:pt x="20" y="231"/>
                  </a:lnTo>
                  <a:lnTo>
                    <a:pt x="0" y="194"/>
                  </a:lnTo>
                  <a:lnTo>
                    <a:pt x="2" y="174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58" name="Freeform 61">
              <a:extLst>
                <a:ext uri="{FF2B5EF4-FFF2-40B4-BE49-F238E27FC236}">
                  <a16:creationId xmlns:a16="http://schemas.microsoft.com/office/drawing/2014/main" id="{5671E858-7F41-4708-8AF7-081E51F3CA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00053" y="3476347"/>
              <a:ext cx="446847" cy="437397"/>
            </a:xfrm>
            <a:custGeom>
              <a:avLst/>
              <a:gdLst>
                <a:gd name="T0" fmla="*/ 0 w 260"/>
                <a:gd name="T1" fmla="*/ 0 h 283"/>
                <a:gd name="T2" fmla="*/ 0 w 260"/>
                <a:gd name="T3" fmla="*/ 0 h 283"/>
                <a:gd name="T4" fmla="*/ 0 w 260"/>
                <a:gd name="T5" fmla="*/ 0 h 283"/>
                <a:gd name="T6" fmla="*/ 0 w 260"/>
                <a:gd name="T7" fmla="*/ 0 h 283"/>
                <a:gd name="T8" fmla="*/ 0 w 260"/>
                <a:gd name="T9" fmla="*/ 0 h 283"/>
                <a:gd name="T10" fmla="*/ 0 w 260"/>
                <a:gd name="T11" fmla="*/ 0 h 283"/>
                <a:gd name="T12" fmla="*/ 0 w 260"/>
                <a:gd name="T13" fmla="*/ 0 h 283"/>
                <a:gd name="T14" fmla="*/ 0 w 260"/>
                <a:gd name="T15" fmla="*/ 0 h 283"/>
                <a:gd name="T16" fmla="*/ 0 w 260"/>
                <a:gd name="T17" fmla="*/ 0 h 283"/>
                <a:gd name="T18" fmla="*/ 0 w 260"/>
                <a:gd name="T19" fmla="*/ 0 h 283"/>
                <a:gd name="T20" fmla="*/ 0 w 260"/>
                <a:gd name="T21" fmla="*/ 0 h 283"/>
                <a:gd name="T22" fmla="*/ 0 w 260"/>
                <a:gd name="T23" fmla="*/ 0 h 283"/>
                <a:gd name="T24" fmla="*/ 0 w 260"/>
                <a:gd name="T25" fmla="*/ 0 h 283"/>
                <a:gd name="T26" fmla="*/ 0 w 260"/>
                <a:gd name="T27" fmla="*/ 0 h 283"/>
                <a:gd name="T28" fmla="*/ 0 w 260"/>
                <a:gd name="T29" fmla="*/ 0 h 283"/>
                <a:gd name="T30" fmla="*/ 0 w 260"/>
                <a:gd name="T31" fmla="*/ 0 h 283"/>
                <a:gd name="T32" fmla="*/ 0 w 260"/>
                <a:gd name="T33" fmla="*/ 0 h 283"/>
                <a:gd name="T34" fmla="*/ 0 w 260"/>
                <a:gd name="T35" fmla="*/ 0 h 283"/>
                <a:gd name="T36" fmla="*/ 0 w 260"/>
                <a:gd name="T37" fmla="*/ 0 h 283"/>
                <a:gd name="T38" fmla="*/ 0 w 260"/>
                <a:gd name="T39" fmla="*/ 0 h 283"/>
                <a:gd name="T40" fmla="*/ 0 w 260"/>
                <a:gd name="T41" fmla="*/ 0 h 283"/>
                <a:gd name="T42" fmla="*/ 0 w 260"/>
                <a:gd name="T43" fmla="*/ 0 h 283"/>
                <a:gd name="T44" fmla="*/ 0 w 260"/>
                <a:gd name="T45" fmla="*/ 0 h 283"/>
                <a:gd name="T46" fmla="*/ 0 w 260"/>
                <a:gd name="T47" fmla="*/ 0 h 283"/>
                <a:gd name="T48" fmla="*/ 0 w 260"/>
                <a:gd name="T49" fmla="*/ 0 h 283"/>
                <a:gd name="T50" fmla="*/ 0 w 260"/>
                <a:gd name="T51" fmla="*/ 0 h 283"/>
                <a:gd name="T52" fmla="*/ 0 w 260"/>
                <a:gd name="T53" fmla="*/ 0 h 283"/>
                <a:gd name="T54" fmla="*/ 0 w 260"/>
                <a:gd name="T55" fmla="*/ 0 h 283"/>
                <a:gd name="T56" fmla="*/ 0 w 260"/>
                <a:gd name="T57" fmla="*/ 0 h 283"/>
                <a:gd name="T58" fmla="*/ 0 w 260"/>
                <a:gd name="T59" fmla="*/ 0 h 283"/>
                <a:gd name="T60" fmla="*/ 0 w 260"/>
                <a:gd name="T61" fmla="*/ 0 h 283"/>
                <a:gd name="T62" fmla="*/ 0 w 260"/>
                <a:gd name="T63" fmla="*/ 0 h 283"/>
                <a:gd name="T64" fmla="*/ 0 w 260"/>
                <a:gd name="T65" fmla="*/ 0 h 283"/>
                <a:gd name="T66" fmla="*/ 0 w 260"/>
                <a:gd name="T67" fmla="*/ 0 h 283"/>
                <a:gd name="T68" fmla="*/ 0 w 260"/>
                <a:gd name="T69" fmla="*/ 0 h 2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60"/>
                <a:gd name="T106" fmla="*/ 0 h 283"/>
                <a:gd name="T107" fmla="*/ 260 w 260"/>
                <a:gd name="T108" fmla="*/ 283 h 2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60" h="283">
                  <a:moveTo>
                    <a:pt x="3" y="226"/>
                  </a:moveTo>
                  <a:lnTo>
                    <a:pt x="0" y="230"/>
                  </a:lnTo>
                  <a:lnTo>
                    <a:pt x="0" y="124"/>
                  </a:lnTo>
                  <a:lnTo>
                    <a:pt x="0" y="23"/>
                  </a:lnTo>
                  <a:lnTo>
                    <a:pt x="84" y="23"/>
                  </a:lnTo>
                  <a:lnTo>
                    <a:pt x="145" y="44"/>
                  </a:lnTo>
                  <a:lnTo>
                    <a:pt x="183" y="37"/>
                  </a:lnTo>
                  <a:lnTo>
                    <a:pt x="223" y="13"/>
                  </a:lnTo>
                  <a:lnTo>
                    <a:pt x="260" y="0"/>
                  </a:lnTo>
                  <a:lnTo>
                    <a:pt x="260" y="109"/>
                  </a:lnTo>
                  <a:lnTo>
                    <a:pt x="251" y="113"/>
                  </a:lnTo>
                  <a:lnTo>
                    <a:pt x="255" y="135"/>
                  </a:lnTo>
                  <a:lnTo>
                    <a:pt x="238" y="189"/>
                  </a:lnTo>
                  <a:lnTo>
                    <a:pt x="218" y="208"/>
                  </a:lnTo>
                  <a:lnTo>
                    <a:pt x="208" y="212"/>
                  </a:lnTo>
                  <a:lnTo>
                    <a:pt x="203" y="206"/>
                  </a:lnTo>
                  <a:lnTo>
                    <a:pt x="190" y="217"/>
                  </a:lnTo>
                  <a:lnTo>
                    <a:pt x="181" y="233"/>
                  </a:lnTo>
                  <a:lnTo>
                    <a:pt x="183" y="243"/>
                  </a:lnTo>
                  <a:lnTo>
                    <a:pt x="174" y="247"/>
                  </a:lnTo>
                  <a:lnTo>
                    <a:pt x="174" y="239"/>
                  </a:lnTo>
                  <a:lnTo>
                    <a:pt x="167" y="238"/>
                  </a:lnTo>
                  <a:lnTo>
                    <a:pt x="150" y="280"/>
                  </a:lnTo>
                  <a:lnTo>
                    <a:pt x="134" y="283"/>
                  </a:lnTo>
                  <a:lnTo>
                    <a:pt x="120" y="271"/>
                  </a:lnTo>
                  <a:lnTo>
                    <a:pt x="116" y="257"/>
                  </a:lnTo>
                  <a:lnTo>
                    <a:pt x="101" y="269"/>
                  </a:lnTo>
                  <a:lnTo>
                    <a:pt x="91" y="270"/>
                  </a:lnTo>
                  <a:lnTo>
                    <a:pt x="79" y="262"/>
                  </a:lnTo>
                  <a:lnTo>
                    <a:pt x="70" y="267"/>
                  </a:lnTo>
                  <a:lnTo>
                    <a:pt x="64" y="266"/>
                  </a:lnTo>
                  <a:lnTo>
                    <a:pt x="56" y="255"/>
                  </a:lnTo>
                  <a:lnTo>
                    <a:pt x="35" y="251"/>
                  </a:lnTo>
                  <a:lnTo>
                    <a:pt x="22" y="229"/>
                  </a:lnTo>
                  <a:lnTo>
                    <a:pt x="3" y="226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>
                <a:ea typeface="ＭＳ Ｐゴシック" panose="020B0600070205080204" pitchFamily="34" charset="-128"/>
              </a:endParaRPr>
            </a:p>
          </p:txBody>
        </p:sp>
        <p:sp>
          <p:nvSpPr>
            <p:cNvPr id="359" name="Freeform 62">
              <a:extLst>
                <a:ext uri="{FF2B5EF4-FFF2-40B4-BE49-F238E27FC236}">
                  <a16:creationId xmlns:a16="http://schemas.microsoft.com/office/drawing/2014/main" id="{E8752826-6C1F-4E6E-8423-613B7076966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08834" y="2755565"/>
              <a:ext cx="680589" cy="320349"/>
            </a:xfrm>
            <a:custGeom>
              <a:avLst/>
              <a:gdLst>
                <a:gd name="T0" fmla="*/ 0 w 393"/>
                <a:gd name="T1" fmla="*/ 0 h 208"/>
                <a:gd name="T2" fmla="*/ 0 w 393"/>
                <a:gd name="T3" fmla="*/ 0 h 208"/>
                <a:gd name="T4" fmla="*/ 0 w 393"/>
                <a:gd name="T5" fmla="*/ 0 h 208"/>
                <a:gd name="T6" fmla="*/ 0 w 393"/>
                <a:gd name="T7" fmla="*/ 0 h 208"/>
                <a:gd name="T8" fmla="*/ 0 w 393"/>
                <a:gd name="T9" fmla="*/ 0 h 208"/>
                <a:gd name="T10" fmla="*/ 0 w 393"/>
                <a:gd name="T11" fmla="*/ 0 h 208"/>
                <a:gd name="T12" fmla="*/ 0 w 393"/>
                <a:gd name="T13" fmla="*/ 0 h 208"/>
                <a:gd name="T14" fmla="*/ 0 w 393"/>
                <a:gd name="T15" fmla="*/ 0 h 208"/>
                <a:gd name="T16" fmla="*/ 0 w 393"/>
                <a:gd name="T17" fmla="*/ 0 h 208"/>
                <a:gd name="T18" fmla="*/ 0 w 393"/>
                <a:gd name="T19" fmla="*/ 0 h 208"/>
                <a:gd name="T20" fmla="*/ 0 w 393"/>
                <a:gd name="T21" fmla="*/ 0 h 208"/>
                <a:gd name="T22" fmla="*/ 0 w 393"/>
                <a:gd name="T23" fmla="*/ 0 h 208"/>
                <a:gd name="T24" fmla="*/ 0 w 393"/>
                <a:gd name="T25" fmla="*/ 0 h 208"/>
                <a:gd name="T26" fmla="*/ 0 w 393"/>
                <a:gd name="T27" fmla="*/ 0 h 208"/>
                <a:gd name="T28" fmla="*/ 0 w 393"/>
                <a:gd name="T29" fmla="*/ 0 h 208"/>
                <a:gd name="T30" fmla="*/ 0 w 393"/>
                <a:gd name="T31" fmla="*/ 0 h 208"/>
                <a:gd name="T32" fmla="*/ 0 w 393"/>
                <a:gd name="T33" fmla="*/ 0 h 208"/>
                <a:gd name="T34" fmla="*/ 0 w 393"/>
                <a:gd name="T35" fmla="*/ 0 h 208"/>
                <a:gd name="T36" fmla="*/ 0 w 393"/>
                <a:gd name="T37" fmla="*/ 0 h 208"/>
                <a:gd name="T38" fmla="*/ 0 w 393"/>
                <a:gd name="T39" fmla="*/ 0 h 208"/>
                <a:gd name="T40" fmla="*/ 0 w 393"/>
                <a:gd name="T41" fmla="*/ 0 h 208"/>
                <a:gd name="T42" fmla="*/ 0 w 393"/>
                <a:gd name="T43" fmla="*/ 0 h 208"/>
                <a:gd name="T44" fmla="*/ 0 w 393"/>
                <a:gd name="T45" fmla="*/ 0 h 208"/>
                <a:gd name="T46" fmla="*/ 0 w 393"/>
                <a:gd name="T47" fmla="*/ 0 h 208"/>
                <a:gd name="T48" fmla="*/ 0 w 393"/>
                <a:gd name="T49" fmla="*/ 0 h 208"/>
                <a:gd name="T50" fmla="*/ 0 w 393"/>
                <a:gd name="T51" fmla="*/ 0 h 208"/>
                <a:gd name="T52" fmla="*/ 0 w 393"/>
                <a:gd name="T53" fmla="*/ 0 h 208"/>
                <a:gd name="T54" fmla="*/ 0 w 393"/>
                <a:gd name="T55" fmla="*/ 0 h 208"/>
                <a:gd name="T56" fmla="*/ 0 w 393"/>
                <a:gd name="T57" fmla="*/ 0 h 208"/>
                <a:gd name="T58" fmla="*/ 0 w 393"/>
                <a:gd name="T59" fmla="*/ 0 h 208"/>
                <a:gd name="T60" fmla="*/ 0 w 393"/>
                <a:gd name="T61" fmla="*/ 0 h 208"/>
                <a:gd name="T62" fmla="*/ 0 w 393"/>
                <a:gd name="T63" fmla="*/ 0 h 208"/>
                <a:gd name="T64" fmla="*/ 0 w 393"/>
                <a:gd name="T65" fmla="*/ 0 h 208"/>
                <a:gd name="T66" fmla="*/ 0 w 393"/>
                <a:gd name="T67" fmla="*/ 0 h 208"/>
                <a:gd name="T68" fmla="*/ 0 w 393"/>
                <a:gd name="T69" fmla="*/ 0 h 208"/>
                <a:gd name="T70" fmla="*/ 0 w 393"/>
                <a:gd name="T71" fmla="*/ 0 h 208"/>
                <a:gd name="T72" fmla="*/ 0 w 393"/>
                <a:gd name="T73" fmla="*/ 0 h 208"/>
                <a:gd name="T74" fmla="*/ 0 w 393"/>
                <a:gd name="T75" fmla="*/ 0 h 208"/>
                <a:gd name="T76" fmla="*/ 0 w 393"/>
                <a:gd name="T77" fmla="*/ 0 h 20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93"/>
                <a:gd name="T118" fmla="*/ 0 h 208"/>
                <a:gd name="T119" fmla="*/ 393 w 393"/>
                <a:gd name="T120" fmla="*/ 208 h 20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93" h="208">
                  <a:moveTo>
                    <a:pt x="0" y="79"/>
                  </a:moveTo>
                  <a:lnTo>
                    <a:pt x="66" y="54"/>
                  </a:lnTo>
                  <a:lnTo>
                    <a:pt x="121" y="11"/>
                  </a:lnTo>
                  <a:lnTo>
                    <a:pt x="158" y="0"/>
                  </a:lnTo>
                  <a:lnTo>
                    <a:pt x="160" y="5"/>
                  </a:lnTo>
                  <a:lnTo>
                    <a:pt x="119" y="46"/>
                  </a:lnTo>
                  <a:lnTo>
                    <a:pt x="118" y="64"/>
                  </a:lnTo>
                  <a:lnTo>
                    <a:pt x="126" y="56"/>
                  </a:lnTo>
                  <a:lnTo>
                    <a:pt x="150" y="54"/>
                  </a:lnTo>
                  <a:lnTo>
                    <a:pt x="170" y="65"/>
                  </a:lnTo>
                  <a:lnTo>
                    <a:pt x="189" y="89"/>
                  </a:lnTo>
                  <a:lnTo>
                    <a:pt x="226" y="91"/>
                  </a:lnTo>
                  <a:lnTo>
                    <a:pt x="260" y="70"/>
                  </a:lnTo>
                  <a:lnTo>
                    <a:pt x="323" y="64"/>
                  </a:lnTo>
                  <a:lnTo>
                    <a:pt x="326" y="83"/>
                  </a:lnTo>
                  <a:lnTo>
                    <a:pt x="338" y="87"/>
                  </a:lnTo>
                  <a:lnTo>
                    <a:pt x="361" y="87"/>
                  </a:lnTo>
                  <a:lnTo>
                    <a:pt x="369" y="87"/>
                  </a:lnTo>
                  <a:lnTo>
                    <a:pt x="376" y="115"/>
                  </a:lnTo>
                  <a:lnTo>
                    <a:pt x="393" y="132"/>
                  </a:lnTo>
                  <a:lnTo>
                    <a:pt x="365" y="139"/>
                  </a:lnTo>
                  <a:lnTo>
                    <a:pt x="355" y="128"/>
                  </a:lnTo>
                  <a:lnTo>
                    <a:pt x="351" y="142"/>
                  </a:lnTo>
                  <a:lnTo>
                    <a:pt x="343" y="142"/>
                  </a:lnTo>
                  <a:lnTo>
                    <a:pt x="310" y="123"/>
                  </a:lnTo>
                  <a:lnTo>
                    <a:pt x="256" y="143"/>
                  </a:lnTo>
                  <a:lnTo>
                    <a:pt x="230" y="164"/>
                  </a:lnTo>
                  <a:lnTo>
                    <a:pt x="232" y="143"/>
                  </a:lnTo>
                  <a:lnTo>
                    <a:pt x="211" y="152"/>
                  </a:lnTo>
                  <a:lnTo>
                    <a:pt x="172" y="208"/>
                  </a:lnTo>
                  <a:lnTo>
                    <a:pt x="164" y="201"/>
                  </a:lnTo>
                  <a:lnTo>
                    <a:pt x="167" y="183"/>
                  </a:lnTo>
                  <a:lnTo>
                    <a:pt x="154" y="184"/>
                  </a:lnTo>
                  <a:lnTo>
                    <a:pt x="160" y="156"/>
                  </a:lnTo>
                  <a:lnTo>
                    <a:pt x="141" y="147"/>
                  </a:lnTo>
                  <a:lnTo>
                    <a:pt x="141" y="136"/>
                  </a:lnTo>
                  <a:lnTo>
                    <a:pt x="19" y="99"/>
                  </a:lnTo>
                  <a:lnTo>
                    <a:pt x="12" y="86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0" name="Freeform 63">
              <a:extLst>
                <a:ext uri="{FF2B5EF4-FFF2-40B4-BE49-F238E27FC236}">
                  <a16:creationId xmlns:a16="http://schemas.microsoft.com/office/drawing/2014/main" id="{DC239B98-B3AB-415A-A98F-769DC7E9EA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3189" y="2995816"/>
              <a:ext cx="474352" cy="517484"/>
            </a:xfrm>
            <a:custGeom>
              <a:avLst/>
              <a:gdLst>
                <a:gd name="T0" fmla="*/ 0 w 276"/>
                <a:gd name="T1" fmla="*/ 0 h 335"/>
                <a:gd name="T2" fmla="*/ 0 w 276"/>
                <a:gd name="T3" fmla="*/ 0 h 335"/>
                <a:gd name="T4" fmla="*/ 0 w 276"/>
                <a:gd name="T5" fmla="*/ 0 h 335"/>
                <a:gd name="T6" fmla="*/ 0 w 276"/>
                <a:gd name="T7" fmla="*/ 0 h 335"/>
                <a:gd name="T8" fmla="*/ 0 w 276"/>
                <a:gd name="T9" fmla="*/ 0 h 335"/>
                <a:gd name="T10" fmla="*/ 0 w 276"/>
                <a:gd name="T11" fmla="*/ 0 h 335"/>
                <a:gd name="T12" fmla="*/ 0 w 276"/>
                <a:gd name="T13" fmla="*/ 0 h 335"/>
                <a:gd name="T14" fmla="*/ 0 w 276"/>
                <a:gd name="T15" fmla="*/ 0 h 335"/>
                <a:gd name="T16" fmla="*/ 0 w 276"/>
                <a:gd name="T17" fmla="*/ 0 h 335"/>
                <a:gd name="T18" fmla="*/ 0 w 276"/>
                <a:gd name="T19" fmla="*/ 0 h 335"/>
                <a:gd name="T20" fmla="*/ 0 w 276"/>
                <a:gd name="T21" fmla="*/ 0 h 335"/>
                <a:gd name="T22" fmla="*/ 0 w 276"/>
                <a:gd name="T23" fmla="*/ 0 h 335"/>
                <a:gd name="T24" fmla="*/ 0 w 276"/>
                <a:gd name="T25" fmla="*/ 0 h 335"/>
                <a:gd name="T26" fmla="*/ 0 w 276"/>
                <a:gd name="T27" fmla="*/ 0 h 335"/>
                <a:gd name="T28" fmla="*/ 0 w 276"/>
                <a:gd name="T29" fmla="*/ 0 h 335"/>
                <a:gd name="T30" fmla="*/ 0 w 276"/>
                <a:gd name="T31" fmla="*/ 0 h 335"/>
                <a:gd name="T32" fmla="*/ 0 w 276"/>
                <a:gd name="T33" fmla="*/ 0 h 335"/>
                <a:gd name="T34" fmla="*/ 0 w 276"/>
                <a:gd name="T35" fmla="*/ 0 h 335"/>
                <a:gd name="T36" fmla="*/ 0 w 276"/>
                <a:gd name="T37" fmla="*/ 0 h 335"/>
                <a:gd name="T38" fmla="*/ 0 w 276"/>
                <a:gd name="T39" fmla="*/ 0 h 335"/>
                <a:gd name="T40" fmla="*/ 0 w 276"/>
                <a:gd name="T41" fmla="*/ 0 h 335"/>
                <a:gd name="T42" fmla="*/ 0 w 276"/>
                <a:gd name="T43" fmla="*/ 0 h 335"/>
                <a:gd name="T44" fmla="*/ 0 w 276"/>
                <a:gd name="T45" fmla="*/ 0 h 335"/>
                <a:gd name="T46" fmla="*/ 0 w 276"/>
                <a:gd name="T47" fmla="*/ 0 h 335"/>
                <a:gd name="T48" fmla="*/ 0 w 276"/>
                <a:gd name="T49" fmla="*/ 0 h 335"/>
                <a:gd name="T50" fmla="*/ 0 w 276"/>
                <a:gd name="T51" fmla="*/ 0 h 335"/>
                <a:gd name="T52" fmla="*/ 0 w 276"/>
                <a:gd name="T53" fmla="*/ 0 h 335"/>
                <a:gd name="T54" fmla="*/ 0 w 276"/>
                <a:gd name="T55" fmla="*/ 0 h 335"/>
                <a:gd name="T56" fmla="*/ 0 w 276"/>
                <a:gd name="T57" fmla="*/ 0 h 335"/>
                <a:gd name="T58" fmla="*/ 0 w 276"/>
                <a:gd name="T59" fmla="*/ 0 h 335"/>
                <a:gd name="T60" fmla="*/ 0 w 276"/>
                <a:gd name="T61" fmla="*/ 0 h 335"/>
                <a:gd name="T62" fmla="*/ 0 w 276"/>
                <a:gd name="T63" fmla="*/ 0 h 335"/>
                <a:gd name="T64" fmla="*/ 0 w 276"/>
                <a:gd name="T65" fmla="*/ 0 h 335"/>
                <a:gd name="T66" fmla="*/ 0 w 276"/>
                <a:gd name="T67" fmla="*/ 0 h 335"/>
                <a:gd name="T68" fmla="*/ 0 w 276"/>
                <a:gd name="T69" fmla="*/ 0 h 335"/>
                <a:gd name="T70" fmla="*/ 0 w 276"/>
                <a:gd name="T71" fmla="*/ 0 h 335"/>
                <a:gd name="T72" fmla="*/ 0 w 276"/>
                <a:gd name="T73" fmla="*/ 0 h 335"/>
                <a:gd name="T74" fmla="*/ 0 w 276"/>
                <a:gd name="T75" fmla="*/ 0 h 335"/>
                <a:gd name="T76" fmla="*/ 0 w 276"/>
                <a:gd name="T77" fmla="*/ 0 h 335"/>
                <a:gd name="T78" fmla="*/ 0 w 276"/>
                <a:gd name="T79" fmla="*/ 0 h 335"/>
                <a:gd name="T80" fmla="*/ 0 w 276"/>
                <a:gd name="T81" fmla="*/ 0 h 3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76"/>
                <a:gd name="T124" fmla="*/ 0 h 335"/>
                <a:gd name="T125" fmla="*/ 276 w 276"/>
                <a:gd name="T126" fmla="*/ 335 h 3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76" h="335">
                  <a:moveTo>
                    <a:pt x="276" y="222"/>
                  </a:moveTo>
                  <a:lnTo>
                    <a:pt x="267" y="210"/>
                  </a:lnTo>
                  <a:lnTo>
                    <a:pt x="259" y="160"/>
                  </a:lnTo>
                  <a:lnTo>
                    <a:pt x="245" y="139"/>
                  </a:lnTo>
                  <a:lnTo>
                    <a:pt x="218" y="148"/>
                  </a:lnTo>
                  <a:lnTo>
                    <a:pt x="200" y="172"/>
                  </a:lnTo>
                  <a:lnTo>
                    <a:pt x="188" y="173"/>
                  </a:lnTo>
                  <a:lnTo>
                    <a:pt x="184" y="168"/>
                  </a:lnTo>
                  <a:lnTo>
                    <a:pt x="192" y="148"/>
                  </a:lnTo>
                  <a:lnTo>
                    <a:pt x="208" y="135"/>
                  </a:lnTo>
                  <a:lnTo>
                    <a:pt x="221" y="110"/>
                  </a:lnTo>
                  <a:lnTo>
                    <a:pt x="213" y="58"/>
                  </a:lnTo>
                  <a:lnTo>
                    <a:pt x="218" y="53"/>
                  </a:lnTo>
                  <a:lnTo>
                    <a:pt x="210" y="40"/>
                  </a:lnTo>
                  <a:lnTo>
                    <a:pt x="160" y="7"/>
                  </a:lnTo>
                  <a:lnTo>
                    <a:pt x="120" y="0"/>
                  </a:lnTo>
                  <a:lnTo>
                    <a:pt x="112" y="15"/>
                  </a:lnTo>
                  <a:lnTo>
                    <a:pt x="120" y="27"/>
                  </a:lnTo>
                  <a:lnTo>
                    <a:pt x="94" y="40"/>
                  </a:lnTo>
                  <a:lnTo>
                    <a:pt x="91" y="66"/>
                  </a:lnTo>
                  <a:lnTo>
                    <a:pt x="81" y="75"/>
                  </a:lnTo>
                  <a:lnTo>
                    <a:pt x="75" y="50"/>
                  </a:lnTo>
                  <a:lnTo>
                    <a:pt x="49" y="70"/>
                  </a:lnTo>
                  <a:lnTo>
                    <a:pt x="42" y="87"/>
                  </a:lnTo>
                  <a:lnTo>
                    <a:pt x="40" y="124"/>
                  </a:lnTo>
                  <a:lnTo>
                    <a:pt x="34" y="130"/>
                  </a:lnTo>
                  <a:lnTo>
                    <a:pt x="24" y="173"/>
                  </a:lnTo>
                  <a:lnTo>
                    <a:pt x="41" y="209"/>
                  </a:lnTo>
                  <a:lnTo>
                    <a:pt x="42" y="221"/>
                  </a:lnTo>
                  <a:lnTo>
                    <a:pt x="41" y="258"/>
                  </a:lnTo>
                  <a:lnTo>
                    <a:pt x="16" y="320"/>
                  </a:lnTo>
                  <a:lnTo>
                    <a:pt x="0" y="329"/>
                  </a:lnTo>
                  <a:lnTo>
                    <a:pt x="130" y="331"/>
                  </a:lnTo>
                  <a:lnTo>
                    <a:pt x="130" y="335"/>
                  </a:lnTo>
                  <a:lnTo>
                    <a:pt x="214" y="335"/>
                  </a:lnTo>
                  <a:lnTo>
                    <a:pt x="234" y="312"/>
                  </a:lnTo>
                  <a:lnTo>
                    <a:pt x="234" y="299"/>
                  </a:lnTo>
                  <a:lnTo>
                    <a:pt x="245" y="280"/>
                  </a:lnTo>
                  <a:lnTo>
                    <a:pt x="247" y="267"/>
                  </a:lnTo>
                  <a:lnTo>
                    <a:pt x="267" y="261"/>
                  </a:lnTo>
                  <a:lnTo>
                    <a:pt x="276" y="222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1" name="Freeform 64">
              <a:extLst>
                <a:ext uri="{FF2B5EF4-FFF2-40B4-BE49-F238E27FC236}">
                  <a16:creationId xmlns:a16="http://schemas.microsoft.com/office/drawing/2014/main" id="{10DC233D-0E51-4746-9B54-6AE50EED8F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51295" y="4283373"/>
              <a:ext cx="501852" cy="357306"/>
            </a:xfrm>
            <a:custGeom>
              <a:avLst/>
              <a:gdLst>
                <a:gd name="T0" fmla="*/ 0 w 291"/>
                <a:gd name="T1" fmla="*/ 0 h 231"/>
                <a:gd name="T2" fmla="*/ 0 w 291"/>
                <a:gd name="T3" fmla="*/ 0 h 231"/>
                <a:gd name="T4" fmla="*/ 0 w 291"/>
                <a:gd name="T5" fmla="*/ 0 h 231"/>
                <a:gd name="T6" fmla="*/ 0 w 291"/>
                <a:gd name="T7" fmla="*/ 0 h 231"/>
                <a:gd name="T8" fmla="*/ 0 w 291"/>
                <a:gd name="T9" fmla="*/ 0 h 231"/>
                <a:gd name="T10" fmla="*/ 0 w 291"/>
                <a:gd name="T11" fmla="*/ 0 h 231"/>
                <a:gd name="T12" fmla="*/ 0 w 291"/>
                <a:gd name="T13" fmla="*/ 0 h 231"/>
                <a:gd name="T14" fmla="*/ 0 w 291"/>
                <a:gd name="T15" fmla="*/ 0 h 231"/>
                <a:gd name="T16" fmla="*/ 0 w 291"/>
                <a:gd name="T17" fmla="*/ 0 h 231"/>
                <a:gd name="T18" fmla="*/ 0 w 291"/>
                <a:gd name="T19" fmla="*/ 0 h 231"/>
                <a:gd name="T20" fmla="*/ 0 w 291"/>
                <a:gd name="T21" fmla="*/ 0 h 231"/>
                <a:gd name="T22" fmla="*/ 0 w 291"/>
                <a:gd name="T23" fmla="*/ 0 h 231"/>
                <a:gd name="T24" fmla="*/ 0 w 291"/>
                <a:gd name="T25" fmla="*/ 0 h 231"/>
                <a:gd name="T26" fmla="*/ 0 w 291"/>
                <a:gd name="T27" fmla="*/ 0 h 231"/>
                <a:gd name="T28" fmla="*/ 0 w 291"/>
                <a:gd name="T29" fmla="*/ 0 h 231"/>
                <a:gd name="T30" fmla="*/ 0 w 291"/>
                <a:gd name="T31" fmla="*/ 0 h 231"/>
                <a:gd name="T32" fmla="*/ 0 w 291"/>
                <a:gd name="T33" fmla="*/ 0 h 231"/>
                <a:gd name="T34" fmla="*/ 0 w 291"/>
                <a:gd name="T35" fmla="*/ 0 h 231"/>
                <a:gd name="T36" fmla="*/ 0 w 291"/>
                <a:gd name="T37" fmla="*/ 0 h 231"/>
                <a:gd name="T38" fmla="*/ 0 w 291"/>
                <a:gd name="T39" fmla="*/ 0 h 231"/>
                <a:gd name="T40" fmla="*/ 0 w 291"/>
                <a:gd name="T41" fmla="*/ 0 h 231"/>
                <a:gd name="T42" fmla="*/ 0 w 291"/>
                <a:gd name="T43" fmla="*/ 0 h 231"/>
                <a:gd name="T44" fmla="*/ 0 w 291"/>
                <a:gd name="T45" fmla="*/ 0 h 231"/>
                <a:gd name="T46" fmla="*/ 0 w 291"/>
                <a:gd name="T47" fmla="*/ 0 h 231"/>
                <a:gd name="T48" fmla="*/ 0 w 291"/>
                <a:gd name="T49" fmla="*/ 0 h 231"/>
                <a:gd name="T50" fmla="*/ 0 w 291"/>
                <a:gd name="T51" fmla="*/ 0 h 231"/>
                <a:gd name="T52" fmla="*/ 0 w 291"/>
                <a:gd name="T53" fmla="*/ 0 h 231"/>
                <a:gd name="T54" fmla="*/ 0 w 291"/>
                <a:gd name="T55" fmla="*/ 0 h 231"/>
                <a:gd name="T56" fmla="*/ 0 w 291"/>
                <a:gd name="T57" fmla="*/ 0 h 2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1"/>
                <a:gd name="T88" fmla="*/ 0 h 231"/>
                <a:gd name="T89" fmla="*/ 291 w 291"/>
                <a:gd name="T90" fmla="*/ 231 h 2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1" h="231">
                  <a:moveTo>
                    <a:pt x="150" y="231"/>
                  </a:moveTo>
                  <a:lnTo>
                    <a:pt x="150" y="224"/>
                  </a:lnTo>
                  <a:lnTo>
                    <a:pt x="168" y="213"/>
                  </a:lnTo>
                  <a:lnTo>
                    <a:pt x="161" y="194"/>
                  </a:lnTo>
                  <a:lnTo>
                    <a:pt x="201" y="193"/>
                  </a:lnTo>
                  <a:lnTo>
                    <a:pt x="254" y="152"/>
                  </a:lnTo>
                  <a:lnTo>
                    <a:pt x="254" y="139"/>
                  </a:lnTo>
                  <a:lnTo>
                    <a:pt x="291" y="99"/>
                  </a:lnTo>
                  <a:lnTo>
                    <a:pt x="224" y="30"/>
                  </a:lnTo>
                  <a:lnTo>
                    <a:pt x="156" y="30"/>
                  </a:lnTo>
                  <a:lnTo>
                    <a:pt x="156" y="19"/>
                  </a:lnTo>
                  <a:lnTo>
                    <a:pt x="147" y="8"/>
                  </a:lnTo>
                  <a:lnTo>
                    <a:pt x="140" y="12"/>
                  </a:lnTo>
                  <a:lnTo>
                    <a:pt x="139" y="5"/>
                  </a:lnTo>
                  <a:lnTo>
                    <a:pt x="58" y="0"/>
                  </a:lnTo>
                  <a:lnTo>
                    <a:pt x="16" y="15"/>
                  </a:lnTo>
                  <a:lnTo>
                    <a:pt x="0" y="37"/>
                  </a:lnTo>
                  <a:lnTo>
                    <a:pt x="20" y="54"/>
                  </a:lnTo>
                  <a:lnTo>
                    <a:pt x="29" y="56"/>
                  </a:lnTo>
                  <a:lnTo>
                    <a:pt x="49" y="93"/>
                  </a:lnTo>
                  <a:lnTo>
                    <a:pt x="86" y="128"/>
                  </a:lnTo>
                  <a:lnTo>
                    <a:pt x="86" y="136"/>
                  </a:lnTo>
                  <a:lnTo>
                    <a:pt x="98" y="151"/>
                  </a:lnTo>
                  <a:lnTo>
                    <a:pt x="113" y="161"/>
                  </a:lnTo>
                  <a:lnTo>
                    <a:pt x="118" y="189"/>
                  </a:lnTo>
                  <a:lnTo>
                    <a:pt x="128" y="197"/>
                  </a:lnTo>
                  <a:lnTo>
                    <a:pt x="135" y="210"/>
                  </a:lnTo>
                  <a:lnTo>
                    <a:pt x="135" y="225"/>
                  </a:lnTo>
                  <a:lnTo>
                    <a:pt x="150" y="231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2" name="Freeform 65">
              <a:extLst>
                <a:ext uri="{FF2B5EF4-FFF2-40B4-BE49-F238E27FC236}">
                  <a16:creationId xmlns:a16="http://schemas.microsoft.com/office/drawing/2014/main" id="{266A1ACB-7DD8-4DD8-A818-1C1D80D7D4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1880" y="3741245"/>
              <a:ext cx="82500" cy="166336"/>
            </a:xfrm>
            <a:custGeom>
              <a:avLst/>
              <a:gdLst>
                <a:gd name="T0" fmla="*/ 0 w 50"/>
                <a:gd name="T1" fmla="*/ 0 h 109"/>
                <a:gd name="T2" fmla="*/ 0 w 50"/>
                <a:gd name="T3" fmla="*/ 0 h 109"/>
                <a:gd name="T4" fmla="*/ 0 w 50"/>
                <a:gd name="T5" fmla="*/ 0 h 109"/>
                <a:gd name="T6" fmla="*/ 0 w 50"/>
                <a:gd name="T7" fmla="*/ 0 h 109"/>
                <a:gd name="T8" fmla="*/ 0 w 50"/>
                <a:gd name="T9" fmla="*/ 0 h 109"/>
                <a:gd name="T10" fmla="*/ 0 w 50"/>
                <a:gd name="T11" fmla="*/ 0 h 109"/>
                <a:gd name="T12" fmla="*/ 0 w 50"/>
                <a:gd name="T13" fmla="*/ 0 h 109"/>
                <a:gd name="T14" fmla="*/ 0 w 50"/>
                <a:gd name="T15" fmla="*/ 0 h 109"/>
                <a:gd name="T16" fmla="*/ 0 w 50"/>
                <a:gd name="T17" fmla="*/ 0 h 109"/>
                <a:gd name="T18" fmla="*/ 0 w 50"/>
                <a:gd name="T19" fmla="*/ 0 h 10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109"/>
                <a:gd name="T32" fmla="*/ 50 w 50"/>
                <a:gd name="T33" fmla="*/ 109 h 10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109">
                  <a:moveTo>
                    <a:pt x="0" y="10"/>
                  </a:moveTo>
                  <a:lnTo>
                    <a:pt x="11" y="0"/>
                  </a:lnTo>
                  <a:lnTo>
                    <a:pt x="24" y="4"/>
                  </a:lnTo>
                  <a:lnTo>
                    <a:pt x="15" y="18"/>
                  </a:lnTo>
                  <a:lnTo>
                    <a:pt x="16" y="30"/>
                  </a:lnTo>
                  <a:lnTo>
                    <a:pt x="44" y="83"/>
                  </a:lnTo>
                  <a:lnTo>
                    <a:pt x="50" y="103"/>
                  </a:lnTo>
                  <a:lnTo>
                    <a:pt x="46" y="109"/>
                  </a:lnTo>
                  <a:lnTo>
                    <a:pt x="5" y="10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3" name="Freeform 66">
              <a:extLst>
                <a:ext uri="{FF2B5EF4-FFF2-40B4-BE49-F238E27FC236}">
                  <a16:creationId xmlns:a16="http://schemas.microsoft.com/office/drawing/2014/main" id="{A56C1BBC-AE25-476A-94F2-B7129DB749D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28129" y="3956861"/>
              <a:ext cx="68742" cy="104733"/>
            </a:xfrm>
            <a:custGeom>
              <a:avLst/>
              <a:gdLst>
                <a:gd name="T0" fmla="*/ 0 w 42"/>
                <a:gd name="T1" fmla="*/ 0 h 69"/>
                <a:gd name="T2" fmla="*/ 0 w 42"/>
                <a:gd name="T3" fmla="*/ 0 h 69"/>
                <a:gd name="T4" fmla="*/ 0 w 42"/>
                <a:gd name="T5" fmla="*/ 0 h 69"/>
                <a:gd name="T6" fmla="*/ 0 w 42"/>
                <a:gd name="T7" fmla="*/ 0 h 69"/>
                <a:gd name="T8" fmla="*/ 0 w 42"/>
                <a:gd name="T9" fmla="*/ 0 h 69"/>
                <a:gd name="T10" fmla="*/ 0 w 42"/>
                <a:gd name="T11" fmla="*/ 0 h 69"/>
                <a:gd name="T12" fmla="*/ 0 w 42"/>
                <a:gd name="T13" fmla="*/ 0 h 69"/>
                <a:gd name="T14" fmla="*/ 0 w 42"/>
                <a:gd name="T15" fmla="*/ 0 h 69"/>
                <a:gd name="T16" fmla="*/ 0 w 42"/>
                <a:gd name="T17" fmla="*/ 0 h 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69"/>
                <a:gd name="T29" fmla="*/ 42 w 42"/>
                <a:gd name="T30" fmla="*/ 69 h 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69">
                  <a:moveTo>
                    <a:pt x="13" y="7"/>
                  </a:moveTo>
                  <a:lnTo>
                    <a:pt x="20" y="8"/>
                  </a:lnTo>
                  <a:lnTo>
                    <a:pt x="19" y="15"/>
                  </a:lnTo>
                  <a:lnTo>
                    <a:pt x="0" y="45"/>
                  </a:lnTo>
                  <a:lnTo>
                    <a:pt x="4" y="69"/>
                  </a:lnTo>
                  <a:lnTo>
                    <a:pt x="17" y="60"/>
                  </a:lnTo>
                  <a:lnTo>
                    <a:pt x="25" y="32"/>
                  </a:lnTo>
                  <a:lnTo>
                    <a:pt x="42" y="0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EBF5FB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64" name="Freeform 517">
              <a:extLst>
                <a:ext uri="{FF2B5EF4-FFF2-40B4-BE49-F238E27FC236}">
                  <a16:creationId xmlns:a16="http://schemas.microsoft.com/office/drawing/2014/main" id="{CB5A1C1E-06BD-4E27-8B26-92C688436B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34367" y="3574908"/>
              <a:ext cx="213115" cy="73925"/>
            </a:xfrm>
            <a:custGeom>
              <a:avLst/>
              <a:gdLst>
                <a:gd name="T0" fmla="*/ 0 w 123"/>
                <a:gd name="T1" fmla="*/ 0 h 48"/>
                <a:gd name="T2" fmla="*/ 0 w 123"/>
                <a:gd name="T3" fmla="*/ 0 h 48"/>
                <a:gd name="T4" fmla="*/ 0 w 123"/>
                <a:gd name="T5" fmla="*/ 0 h 48"/>
                <a:gd name="T6" fmla="*/ 0 w 123"/>
                <a:gd name="T7" fmla="*/ 0 h 48"/>
                <a:gd name="T8" fmla="*/ 0 w 123"/>
                <a:gd name="T9" fmla="*/ 0 h 48"/>
                <a:gd name="T10" fmla="*/ 0 w 123"/>
                <a:gd name="T11" fmla="*/ 0 h 48"/>
                <a:gd name="T12" fmla="*/ 0 w 123"/>
                <a:gd name="T13" fmla="*/ 0 h 48"/>
                <a:gd name="T14" fmla="*/ 0 w 123"/>
                <a:gd name="T15" fmla="*/ 0 h 48"/>
                <a:gd name="T16" fmla="*/ 0 w 123"/>
                <a:gd name="T17" fmla="*/ 0 h 48"/>
                <a:gd name="T18" fmla="*/ 0 w 123"/>
                <a:gd name="T19" fmla="*/ 0 h 48"/>
                <a:gd name="T20" fmla="*/ 0 w 123"/>
                <a:gd name="T21" fmla="*/ 0 h 48"/>
                <a:gd name="T22" fmla="*/ 0 w 123"/>
                <a:gd name="T23" fmla="*/ 0 h 48"/>
                <a:gd name="T24" fmla="*/ 0 w 123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3"/>
                <a:gd name="T40" fmla="*/ 0 h 48"/>
                <a:gd name="T41" fmla="*/ 123 w 123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3" h="48">
                  <a:moveTo>
                    <a:pt x="106" y="4"/>
                  </a:moveTo>
                  <a:lnTo>
                    <a:pt x="106" y="0"/>
                  </a:lnTo>
                  <a:lnTo>
                    <a:pt x="83" y="16"/>
                  </a:lnTo>
                  <a:lnTo>
                    <a:pt x="17" y="28"/>
                  </a:lnTo>
                  <a:lnTo>
                    <a:pt x="1" y="38"/>
                  </a:lnTo>
                  <a:lnTo>
                    <a:pt x="0" y="46"/>
                  </a:lnTo>
                  <a:lnTo>
                    <a:pt x="12" y="48"/>
                  </a:lnTo>
                  <a:lnTo>
                    <a:pt x="107" y="18"/>
                  </a:lnTo>
                  <a:lnTo>
                    <a:pt x="123" y="12"/>
                  </a:lnTo>
                  <a:lnTo>
                    <a:pt x="122" y="8"/>
                  </a:lnTo>
                  <a:lnTo>
                    <a:pt x="110" y="10"/>
                  </a:lnTo>
                  <a:lnTo>
                    <a:pt x="94" y="16"/>
                  </a:lnTo>
                  <a:lnTo>
                    <a:pt x="106" y="4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65" name="Freeform 522">
              <a:extLst>
                <a:ext uri="{FF2B5EF4-FFF2-40B4-BE49-F238E27FC236}">
                  <a16:creationId xmlns:a16="http://schemas.microsoft.com/office/drawing/2014/main" id="{4C7682A8-8510-4175-BB8D-81CD6CBDAE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8748" y="4190957"/>
              <a:ext cx="27496" cy="98574"/>
            </a:xfrm>
            <a:custGeom>
              <a:avLst/>
              <a:gdLst>
                <a:gd name="T0" fmla="*/ 0 w 19"/>
                <a:gd name="T1" fmla="*/ 0 h 62"/>
                <a:gd name="T2" fmla="*/ 0 w 19"/>
                <a:gd name="T3" fmla="*/ 0 h 62"/>
                <a:gd name="T4" fmla="*/ 0 w 19"/>
                <a:gd name="T5" fmla="*/ 0 h 62"/>
                <a:gd name="T6" fmla="*/ 0 w 19"/>
                <a:gd name="T7" fmla="*/ 0 h 62"/>
                <a:gd name="T8" fmla="*/ 0 w 19"/>
                <a:gd name="T9" fmla="*/ 0 h 62"/>
                <a:gd name="T10" fmla="*/ 0 w 19"/>
                <a:gd name="T11" fmla="*/ 0 h 62"/>
                <a:gd name="T12" fmla="*/ 0 w 19"/>
                <a:gd name="T13" fmla="*/ 0 h 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2"/>
                <a:gd name="T23" fmla="*/ 19 w 19"/>
                <a:gd name="T24" fmla="*/ 62 h 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2">
                  <a:moveTo>
                    <a:pt x="0" y="62"/>
                  </a:moveTo>
                  <a:lnTo>
                    <a:pt x="13" y="61"/>
                  </a:lnTo>
                  <a:lnTo>
                    <a:pt x="19" y="32"/>
                  </a:lnTo>
                  <a:lnTo>
                    <a:pt x="4" y="0"/>
                  </a:lnTo>
                  <a:lnTo>
                    <a:pt x="15" y="32"/>
                  </a:lnTo>
                  <a:lnTo>
                    <a:pt x="12" y="57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D1E8F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66" name="Freeform 523">
              <a:extLst>
                <a:ext uri="{FF2B5EF4-FFF2-40B4-BE49-F238E27FC236}">
                  <a16:creationId xmlns:a16="http://schemas.microsoft.com/office/drawing/2014/main" id="{4B7E7F42-F70A-4161-A627-D4C6082B48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40028" y="5367627"/>
              <a:ext cx="20627" cy="24639"/>
            </a:xfrm>
            <a:custGeom>
              <a:avLst/>
              <a:gdLst>
                <a:gd name="T0" fmla="*/ 0 w 12"/>
                <a:gd name="T1" fmla="*/ 0 h 16"/>
                <a:gd name="T2" fmla="*/ 0 w 12"/>
                <a:gd name="T3" fmla="*/ 0 h 16"/>
                <a:gd name="T4" fmla="*/ 0 w 12"/>
                <a:gd name="T5" fmla="*/ 0 h 16"/>
                <a:gd name="T6" fmla="*/ 0 60000 65536"/>
                <a:gd name="T7" fmla="*/ 0 60000 65536"/>
                <a:gd name="T8" fmla="*/ 0 60000 65536"/>
                <a:gd name="T9" fmla="*/ 0 w 12"/>
                <a:gd name="T10" fmla="*/ 0 h 16"/>
                <a:gd name="T11" fmla="*/ 12 w 12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6">
                  <a:moveTo>
                    <a:pt x="12" y="0"/>
                  </a:moveTo>
                  <a:lnTo>
                    <a:pt x="0" y="1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67" name="Freeform 526">
              <a:extLst>
                <a:ext uri="{FF2B5EF4-FFF2-40B4-BE49-F238E27FC236}">
                  <a16:creationId xmlns:a16="http://schemas.microsoft.com/office/drawing/2014/main" id="{1B8C1127-9165-440E-AE02-B2ACE227D6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49626" y="4418904"/>
              <a:ext cx="34378" cy="12318"/>
            </a:xfrm>
            <a:custGeom>
              <a:avLst/>
              <a:gdLst>
                <a:gd name="T0" fmla="*/ 0 w 19"/>
                <a:gd name="T1" fmla="*/ 0 h 11"/>
                <a:gd name="T2" fmla="*/ 0 w 19"/>
                <a:gd name="T3" fmla="*/ 0 h 11"/>
                <a:gd name="T4" fmla="*/ 0 w 19"/>
                <a:gd name="T5" fmla="*/ 0 h 11"/>
                <a:gd name="T6" fmla="*/ 0 w 19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1"/>
                <a:gd name="T14" fmla="*/ 19 w 19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1">
                  <a:moveTo>
                    <a:pt x="0" y="0"/>
                  </a:moveTo>
                  <a:lnTo>
                    <a:pt x="19" y="5"/>
                  </a:lnTo>
                  <a:lnTo>
                    <a:pt x="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68" name="Freeform 527">
              <a:extLst>
                <a:ext uri="{FF2B5EF4-FFF2-40B4-BE49-F238E27FC236}">
                  <a16:creationId xmlns:a16="http://schemas.microsoft.com/office/drawing/2014/main" id="{8FF47669-0531-4E3F-B410-5D04743916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57477" y="3537943"/>
              <a:ext cx="41244" cy="18481"/>
            </a:xfrm>
            <a:custGeom>
              <a:avLst/>
              <a:gdLst>
                <a:gd name="T0" fmla="*/ 0 w 23"/>
                <a:gd name="T1" fmla="*/ 0 h 12"/>
                <a:gd name="T2" fmla="*/ 0 w 23"/>
                <a:gd name="T3" fmla="*/ 0 h 12"/>
                <a:gd name="T4" fmla="*/ 0 w 23"/>
                <a:gd name="T5" fmla="*/ 0 h 12"/>
                <a:gd name="T6" fmla="*/ 0 w 23"/>
                <a:gd name="T7" fmla="*/ 0 h 12"/>
                <a:gd name="T8" fmla="*/ 0 w 23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12"/>
                <a:gd name="T17" fmla="*/ 23 w 2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12">
                  <a:moveTo>
                    <a:pt x="0" y="9"/>
                  </a:moveTo>
                  <a:lnTo>
                    <a:pt x="23" y="12"/>
                  </a:lnTo>
                  <a:lnTo>
                    <a:pt x="23" y="4"/>
                  </a:lnTo>
                  <a:lnTo>
                    <a:pt x="1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EBF5FB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69" name="Freeform 528">
              <a:extLst>
                <a:ext uri="{FF2B5EF4-FFF2-40B4-BE49-F238E27FC236}">
                  <a16:creationId xmlns:a16="http://schemas.microsoft.com/office/drawing/2014/main" id="{B6EB2DC2-DC9E-42D9-A966-752BA08AC0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19350" y="3550269"/>
              <a:ext cx="27496" cy="24639"/>
            </a:xfrm>
            <a:custGeom>
              <a:avLst/>
              <a:gdLst>
                <a:gd name="T0" fmla="*/ 0 w 19"/>
                <a:gd name="T1" fmla="*/ 0 h 14"/>
                <a:gd name="T2" fmla="*/ 0 w 19"/>
                <a:gd name="T3" fmla="*/ 0 h 14"/>
                <a:gd name="T4" fmla="*/ 0 w 19"/>
                <a:gd name="T5" fmla="*/ 0 h 14"/>
                <a:gd name="T6" fmla="*/ 0 w 19"/>
                <a:gd name="T7" fmla="*/ 0 h 14"/>
                <a:gd name="T8" fmla="*/ 0 w 19"/>
                <a:gd name="T9" fmla="*/ 0 h 14"/>
                <a:gd name="T10" fmla="*/ 0 w 19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4"/>
                <a:gd name="T20" fmla="*/ 19 w 19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4">
                  <a:moveTo>
                    <a:pt x="0" y="8"/>
                  </a:moveTo>
                  <a:lnTo>
                    <a:pt x="16" y="14"/>
                  </a:lnTo>
                  <a:lnTo>
                    <a:pt x="19" y="8"/>
                  </a:lnTo>
                  <a:lnTo>
                    <a:pt x="14" y="0"/>
                  </a:lnTo>
                  <a:lnTo>
                    <a:pt x="1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370" name="Freeform 529">
              <a:extLst>
                <a:ext uri="{FF2B5EF4-FFF2-40B4-BE49-F238E27FC236}">
                  <a16:creationId xmlns:a16="http://schemas.microsoft.com/office/drawing/2014/main" id="{733A1AFC-B87B-4BD0-9DCC-CA26CC713D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56833" y="3192955"/>
              <a:ext cx="13750" cy="18481"/>
            </a:xfrm>
            <a:custGeom>
              <a:avLst/>
              <a:gdLst>
                <a:gd name="T0" fmla="*/ 0 w 9"/>
                <a:gd name="T1" fmla="*/ 0 h 13"/>
                <a:gd name="T2" fmla="*/ 0 w 9"/>
                <a:gd name="T3" fmla="*/ 0 h 13"/>
                <a:gd name="T4" fmla="*/ 0 w 9"/>
                <a:gd name="T5" fmla="*/ 0 h 13"/>
                <a:gd name="T6" fmla="*/ 0 w 9"/>
                <a:gd name="T7" fmla="*/ 0 h 13"/>
                <a:gd name="T8" fmla="*/ 0 w 9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3"/>
                <a:gd name="T17" fmla="*/ 9 w 9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3">
                  <a:moveTo>
                    <a:pt x="0" y="8"/>
                  </a:moveTo>
                  <a:lnTo>
                    <a:pt x="3" y="13"/>
                  </a:lnTo>
                  <a:lnTo>
                    <a:pt x="9" y="11"/>
                  </a:lnTo>
                  <a:lnTo>
                    <a:pt x="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1" name="Freeform 530">
              <a:extLst>
                <a:ext uri="{FF2B5EF4-FFF2-40B4-BE49-F238E27FC236}">
                  <a16:creationId xmlns:a16="http://schemas.microsoft.com/office/drawing/2014/main" id="{4069CC85-227E-44E1-8735-D653A51D8E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77460" y="3180634"/>
              <a:ext cx="13750" cy="18481"/>
            </a:xfrm>
            <a:custGeom>
              <a:avLst/>
              <a:gdLst>
                <a:gd name="T0" fmla="*/ 0 w 6"/>
                <a:gd name="T1" fmla="*/ 0 h 9"/>
                <a:gd name="T2" fmla="*/ 0 w 6"/>
                <a:gd name="T3" fmla="*/ 0 h 9"/>
                <a:gd name="T4" fmla="*/ 0 w 6"/>
                <a:gd name="T5" fmla="*/ 0 h 9"/>
                <a:gd name="T6" fmla="*/ 0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0" y="8"/>
                  </a:moveTo>
                  <a:lnTo>
                    <a:pt x="5" y="9"/>
                  </a:lnTo>
                  <a:lnTo>
                    <a:pt x="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2" name="Freeform 531">
              <a:extLst>
                <a:ext uri="{FF2B5EF4-FFF2-40B4-BE49-F238E27FC236}">
                  <a16:creationId xmlns:a16="http://schemas.microsoft.com/office/drawing/2014/main" id="{66C22490-039E-47F8-84F9-DEA43630B2F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84341" y="3211431"/>
              <a:ext cx="13750" cy="6159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0 w 5"/>
                <a:gd name="T5" fmla="*/ 0 h 5"/>
                <a:gd name="T6" fmla="*/ 0 w 5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5"/>
                <a:gd name="T14" fmla="*/ 5 w 5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5">
                  <a:moveTo>
                    <a:pt x="0" y="0"/>
                  </a:moveTo>
                  <a:lnTo>
                    <a:pt x="3" y="5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3" name="Freeform 532">
              <a:extLst>
                <a:ext uri="{FF2B5EF4-FFF2-40B4-BE49-F238E27FC236}">
                  <a16:creationId xmlns:a16="http://schemas.microsoft.com/office/drawing/2014/main" id="{B1F746E1-FFC6-423D-8AEF-E6291A90E9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69947" y="3112870"/>
              <a:ext cx="13750" cy="24639"/>
            </a:xfrm>
            <a:custGeom>
              <a:avLst/>
              <a:gdLst>
                <a:gd name="T0" fmla="*/ 0 w 11"/>
                <a:gd name="T1" fmla="*/ 0 h 17"/>
                <a:gd name="T2" fmla="*/ 0 w 11"/>
                <a:gd name="T3" fmla="*/ 0 h 17"/>
                <a:gd name="T4" fmla="*/ 0 w 11"/>
                <a:gd name="T5" fmla="*/ 0 h 17"/>
                <a:gd name="T6" fmla="*/ 0 w 11"/>
                <a:gd name="T7" fmla="*/ 0 h 17"/>
                <a:gd name="T8" fmla="*/ 0 w 11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7"/>
                <a:gd name="T17" fmla="*/ 11 w 11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7">
                  <a:moveTo>
                    <a:pt x="5" y="0"/>
                  </a:moveTo>
                  <a:lnTo>
                    <a:pt x="0" y="17"/>
                  </a:lnTo>
                  <a:lnTo>
                    <a:pt x="9" y="13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4" name="Freeform 533">
              <a:extLst>
                <a:ext uri="{FF2B5EF4-FFF2-40B4-BE49-F238E27FC236}">
                  <a16:creationId xmlns:a16="http://schemas.microsoft.com/office/drawing/2014/main" id="{5B911F67-4BC5-44DA-94ED-7B891043B4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21376" y="5047279"/>
              <a:ext cx="61873" cy="61604"/>
            </a:xfrm>
            <a:custGeom>
              <a:avLst/>
              <a:gdLst>
                <a:gd name="T0" fmla="*/ 0 w 36"/>
                <a:gd name="T1" fmla="*/ 0 h 39"/>
                <a:gd name="T2" fmla="*/ 0 w 36"/>
                <a:gd name="T3" fmla="*/ 0 h 39"/>
                <a:gd name="T4" fmla="*/ 0 w 36"/>
                <a:gd name="T5" fmla="*/ 0 h 39"/>
                <a:gd name="T6" fmla="*/ 0 w 36"/>
                <a:gd name="T7" fmla="*/ 0 h 39"/>
                <a:gd name="T8" fmla="*/ 0 w 3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6"/>
                <a:gd name="T16" fmla="*/ 0 h 39"/>
                <a:gd name="T17" fmla="*/ 36 w 36"/>
                <a:gd name="T18" fmla="*/ 39 h 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6" h="39">
                  <a:moveTo>
                    <a:pt x="8" y="21"/>
                  </a:moveTo>
                  <a:lnTo>
                    <a:pt x="36" y="0"/>
                  </a:lnTo>
                  <a:lnTo>
                    <a:pt x="4" y="39"/>
                  </a:lnTo>
                  <a:lnTo>
                    <a:pt x="0" y="35"/>
                  </a:lnTo>
                  <a:lnTo>
                    <a:pt x="8" y="21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5" name="Freeform 535">
              <a:extLst>
                <a:ext uri="{FF2B5EF4-FFF2-40B4-BE49-F238E27FC236}">
                  <a16:creationId xmlns:a16="http://schemas.microsoft.com/office/drawing/2014/main" id="{54CE5F4D-4AAB-48BB-8FE7-4F09FC4095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93999" y="4486667"/>
              <a:ext cx="13750" cy="18481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0 h 12"/>
                <a:gd name="T6" fmla="*/ 0 60000 65536"/>
                <a:gd name="T7" fmla="*/ 0 60000 65536"/>
                <a:gd name="T8" fmla="*/ 0 60000 65536"/>
                <a:gd name="T9" fmla="*/ 0 w 8"/>
                <a:gd name="T10" fmla="*/ 0 h 12"/>
                <a:gd name="T11" fmla="*/ 8 w 8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2">
                  <a:moveTo>
                    <a:pt x="0" y="0"/>
                  </a:move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376" name="Freeform 120">
              <a:extLst>
                <a:ext uri="{FF2B5EF4-FFF2-40B4-BE49-F238E27FC236}">
                  <a16:creationId xmlns:a16="http://schemas.microsoft.com/office/drawing/2014/main" id="{28810354-9C5B-43C9-A7C6-340CD4079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1332" y="5152217"/>
              <a:ext cx="422455" cy="265708"/>
            </a:xfrm>
            <a:custGeom>
              <a:avLst/>
              <a:gdLst>
                <a:gd name="T0" fmla="*/ 1174 w 1459"/>
                <a:gd name="T1" fmla="*/ 591 h 942"/>
                <a:gd name="T2" fmla="*/ 1164 w 1459"/>
                <a:gd name="T3" fmla="*/ 640 h 942"/>
                <a:gd name="T4" fmla="*/ 1129 w 1459"/>
                <a:gd name="T5" fmla="*/ 696 h 942"/>
                <a:gd name="T6" fmla="*/ 1145 w 1459"/>
                <a:gd name="T7" fmla="*/ 756 h 942"/>
                <a:gd name="T8" fmla="*/ 1162 w 1459"/>
                <a:gd name="T9" fmla="*/ 870 h 942"/>
                <a:gd name="T10" fmla="*/ 1185 w 1459"/>
                <a:gd name="T11" fmla="*/ 917 h 942"/>
                <a:gd name="T12" fmla="*/ 1237 w 1459"/>
                <a:gd name="T13" fmla="*/ 926 h 942"/>
                <a:gd name="T14" fmla="*/ 1277 w 1459"/>
                <a:gd name="T15" fmla="*/ 879 h 942"/>
                <a:gd name="T16" fmla="*/ 1330 w 1459"/>
                <a:gd name="T17" fmla="*/ 840 h 942"/>
                <a:gd name="T18" fmla="*/ 1404 w 1459"/>
                <a:gd name="T19" fmla="*/ 824 h 942"/>
                <a:gd name="T20" fmla="*/ 1457 w 1459"/>
                <a:gd name="T21" fmla="*/ 774 h 942"/>
                <a:gd name="T22" fmla="*/ 1423 w 1459"/>
                <a:gd name="T23" fmla="*/ 739 h 942"/>
                <a:gd name="T24" fmla="*/ 1387 w 1459"/>
                <a:gd name="T25" fmla="*/ 701 h 942"/>
                <a:gd name="T26" fmla="*/ 1383 w 1459"/>
                <a:gd name="T27" fmla="*/ 657 h 942"/>
                <a:gd name="T28" fmla="*/ 1314 w 1459"/>
                <a:gd name="T29" fmla="*/ 616 h 942"/>
                <a:gd name="T30" fmla="*/ 1217 w 1459"/>
                <a:gd name="T31" fmla="*/ 578 h 942"/>
                <a:gd name="T32" fmla="*/ 964 w 1459"/>
                <a:gd name="T33" fmla="*/ 468 h 942"/>
                <a:gd name="T34" fmla="*/ 976 w 1459"/>
                <a:gd name="T35" fmla="*/ 486 h 942"/>
                <a:gd name="T36" fmla="*/ 982 w 1459"/>
                <a:gd name="T37" fmla="*/ 457 h 942"/>
                <a:gd name="T38" fmla="*/ 960 w 1459"/>
                <a:gd name="T39" fmla="*/ 353 h 942"/>
                <a:gd name="T40" fmla="*/ 945 w 1459"/>
                <a:gd name="T41" fmla="*/ 381 h 942"/>
                <a:gd name="T42" fmla="*/ 988 w 1459"/>
                <a:gd name="T43" fmla="*/ 404 h 942"/>
                <a:gd name="T44" fmla="*/ 1015 w 1459"/>
                <a:gd name="T45" fmla="*/ 422 h 942"/>
                <a:gd name="T46" fmla="*/ 1024 w 1459"/>
                <a:gd name="T47" fmla="*/ 464 h 942"/>
                <a:gd name="T48" fmla="*/ 1062 w 1459"/>
                <a:gd name="T49" fmla="*/ 463 h 942"/>
                <a:gd name="T50" fmla="*/ 1132 w 1459"/>
                <a:gd name="T51" fmla="*/ 431 h 942"/>
                <a:gd name="T52" fmla="*/ 1130 w 1459"/>
                <a:gd name="T53" fmla="*/ 408 h 942"/>
                <a:gd name="T54" fmla="*/ 1079 w 1459"/>
                <a:gd name="T55" fmla="*/ 375 h 942"/>
                <a:gd name="T56" fmla="*/ 1038 w 1459"/>
                <a:gd name="T57" fmla="*/ 375 h 942"/>
                <a:gd name="T58" fmla="*/ 1002 w 1459"/>
                <a:gd name="T59" fmla="*/ 370 h 942"/>
                <a:gd name="T60" fmla="*/ 864 w 1459"/>
                <a:gd name="T61" fmla="*/ 387 h 942"/>
                <a:gd name="T62" fmla="*/ 895 w 1459"/>
                <a:gd name="T63" fmla="*/ 420 h 942"/>
                <a:gd name="T64" fmla="*/ 917 w 1459"/>
                <a:gd name="T65" fmla="*/ 400 h 942"/>
                <a:gd name="T66" fmla="*/ 893 w 1459"/>
                <a:gd name="T67" fmla="*/ 363 h 942"/>
                <a:gd name="T68" fmla="*/ 813 w 1459"/>
                <a:gd name="T69" fmla="*/ 298 h 942"/>
                <a:gd name="T70" fmla="*/ 904 w 1459"/>
                <a:gd name="T71" fmla="*/ 331 h 942"/>
                <a:gd name="T72" fmla="*/ 942 w 1459"/>
                <a:gd name="T73" fmla="*/ 311 h 942"/>
                <a:gd name="T74" fmla="*/ 885 w 1459"/>
                <a:gd name="T75" fmla="*/ 294 h 942"/>
                <a:gd name="T76" fmla="*/ 541 w 1459"/>
                <a:gd name="T77" fmla="*/ 195 h 942"/>
                <a:gd name="T78" fmla="*/ 572 w 1459"/>
                <a:gd name="T79" fmla="*/ 255 h 942"/>
                <a:gd name="T80" fmla="*/ 588 w 1459"/>
                <a:gd name="T81" fmla="*/ 260 h 942"/>
                <a:gd name="T82" fmla="*/ 609 w 1459"/>
                <a:gd name="T83" fmla="*/ 249 h 942"/>
                <a:gd name="T84" fmla="*/ 633 w 1459"/>
                <a:gd name="T85" fmla="*/ 272 h 942"/>
                <a:gd name="T86" fmla="*/ 681 w 1459"/>
                <a:gd name="T87" fmla="*/ 235 h 942"/>
                <a:gd name="T88" fmla="*/ 648 w 1459"/>
                <a:gd name="T89" fmla="*/ 220 h 942"/>
                <a:gd name="T90" fmla="*/ 627 w 1459"/>
                <a:gd name="T91" fmla="*/ 175 h 942"/>
                <a:gd name="T92" fmla="*/ 607 w 1459"/>
                <a:gd name="T93" fmla="*/ 147 h 942"/>
                <a:gd name="T94" fmla="*/ 565 w 1459"/>
                <a:gd name="T95" fmla="*/ 183 h 942"/>
                <a:gd name="T96" fmla="*/ 119 w 1459"/>
                <a:gd name="T97" fmla="*/ 57 h 942"/>
                <a:gd name="T98" fmla="*/ 167 w 1459"/>
                <a:gd name="T99" fmla="*/ 81 h 942"/>
                <a:gd name="T100" fmla="*/ 203 w 1459"/>
                <a:gd name="T101" fmla="*/ 101 h 942"/>
                <a:gd name="T102" fmla="*/ 233 w 1459"/>
                <a:gd name="T103" fmla="*/ 67 h 942"/>
                <a:gd name="T104" fmla="*/ 248 w 1459"/>
                <a:gd name="T105" fmla="*/ 10 h 942"/>
                <a:gd name="T106" fmla="*/ 214 w 1459"/>
                <a:gd name="T107" fmla="*/ 2 h 942"/>
                <a:gd name="T108" fmla="*/ 157 w 1459"/>
                <a:gd name="T109" fmla="*/ 11 h 942"/>
                <a:gd name="T110" fmla="*/ 0 w 1459"/>
                <a:gd name="T111" fmla="*/ 101 h 942"/>
                <a:gd name="T112" fmla="*/ 44 w 1459"/>
                <a:gd name="T113" fmla="*/ 92 h 942"/>
                <a:gd name="T114" fmla="*/ 39 w 1459"/>
                <a:gd name="T115" fmla="*/ 63 h 942"/>
                <a:gd name="T116" fmla="*/ 3 w 1459"/>
                <a:gd name="T117" fmla="*/ 93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9" h="942">
                  <a:moveTo>
                    <a:pt x="1192" y="557"/>
                  </a:moveTo>
                  <a:lnTo>
                    <a:pt x="1180" y="551"/>
                  </a:lnTo>
                  <a:lnTo>
                    <a:pt x="1172" y="554"/>
                  </a:lnTo>
                  <a:lnTo>
                    <a:pt x="1170" y="560"/>
                  </a:lnTo>
                  <a:lnTo>
                    <a:pt x="1170" y="566"/>
                  </a:lnTo>
                  <a:lnTo>
                    <a:pt x="1172" y="580"/>
                  </a:lnTo>
                  <a:lnTo>
                    <a:pt x="1174" y="591"/>
                  </a:lnTo>
                  <a:lnTo>
                    <a:pt x="1177" y="603"/>
                  </a:lnTo>
                  <a:lnTo>
                    <a:pt x="1178" y="616"/>
                  </a:lnTo>
                  <a:lnTo>
                    <a:pt x="1178" y="621"/>
                  </a:lnTo>
                  <a:lnTo>
                    <a:pt x="1178" y="626"/>
                  </a:lnTo>
                  <a:lnTo>
                    <a:pt x="1174" y="628"/>
                  </a:lnTo>
                  <a:lnTo>
                    <a:pt x="1172" y="630"/>
                  </a:lnTo>
                  <a:lnTo>
                    <a:pt x="1164" y="640"/>
                  </a:lnTo>
                  <a:lnTo>
                    <a:pt x="1159" y="649"/>
                  </a:lnTo>
                  <a:lnTo>
                    <a:pt x="1155" y="658"/>
                  </a:lnTo>
                  <a:lnTo>
                    <a:pt x="1147" y="668"/>
                  </a:lnTo>
                  <a:lnTo>
                    <a:pt x="1140" y="677"/>
                  </a:lnTo>
                  <a:lnTo>
                    <a:pt x="1134" y="686"/>
                  </a:lnTo>
                  <a:lnTo>
                    <a:pt x="1130" y="691"/>
                  </a:lnTo>
                  <a:lnTo>
                    <a:pt x="1129" y="696"/>
                  </a:lnTo>
                  <a:lnTo>
                    <a:pt x="1126" y="701"/>
                  </a:lnTo>
                  <a:lnTo>
                    <a:pt x="1126" y="707"/>
                  </a:lnTo>
                  <a:lnTo>
                    <a:pt x="1129" y="714"/>
                  </a:lnTo>
                  <a:lnTo>
                    <a:pt x="1132" y="722"/>
                  </a:lnTo>
                  <a:lnTo>
                    <a:pt x="1135" y="731"/>
                  </a:lnTo>
                  <a:lnTo>
                    <a:pt x="1137" y="740"/>
                  </a:lnTo>
                  <a:lnTo>
                    <a:pt x="1145" y="756"/>
                  </a:lnTo>
                  <a:lnTo>
                    <a:pt x="1153" y="772"/>
                  </a:lnTo>
                  <a:lnTo>
                    <a:pt x="1158" y="785"/>
                  </a:lnTo>
                  <a:lnTo>
                    <a:pt x="1162" y="797"/>
                  </a:lnTo>
                  <a:lnTo>
                    <a:pt x="1164" y="811"/>
                  </a:lnTo>
                  <a:lnTo>
                    <a:pt x="1166" y="826"/>
                  </a:lnTo>
                  <a:lnTo>
                    <a:pt x="1166" y="856"/>
                  </a:lnTo>
                  <a:lnTo>
                    <a:pt x="1162" y="870"/>
                  </a:lnTo>
                  <a:lnTo>
                    <a:pt x="1158" y="883"/>
                  </a:lnTo>
                  <a:lnTo>
                    <a:pt x="1158" y="889"/>
                  </a:lnTo>
                  <a:lnTo>
                    <a:pt x="1161" y="894"/>
                  </a:lnTo>
                  <a:lnTo>
                    <a:pt x="1163" y="898"/>
                  </a:lnTo>
                  <a:lnTo>
                    <a:pt x="1167" y="903"/>
                  </a:lnTo>
                  <a:lnTo>
                    <a:pt x="1175" y="910"/>
                  </a:lnTo>
                  <a:lnTo>
                    <a:pt x="1185" y="917"/>
                  </a:lnTo>
                  <a:lnTo>
                    <a:pt x="1194" y="926"/>
                  </a:lnTo>
                  <a:lnTo>
                    <a:pt x="1201" y="935"/>
                  </a:lnTo>
                  <a:lnTo>
                    <a:pt x="1207" y="939"/>
                  </a:lnTo>
                  <a:lnTo>
                    <a:pt x="1213" y="942"/>
                  </a:lnTo>
                  <a:lnTo>
                    <a:pt x="1221" y="939"/>
                  </a:lnTo>
                  <a:lnTo>
                    <a:pt x="1226" y="936"/>
                  </a:lnTo>
                  <a:lnTo>
                    <a:pt x="1237" y="926"/>
                  </a:lnTo>
                  <a:lnTo>
                    <a:pt x="1246" y="915"/>
                  </a:lnTo>
                  <a:lnTo>
                    <a:pt x="1257" y="902"/>
                  </a:lnTo>
                  <a:lnTo>
                    <a:pt x="1268" y="889"/>
                  </a:lnTo>
                  <a:lnTo>
                    <a:pt x="1270" y="886"/>
                  </a:lnTo>
                  <a:lnTo>
                    <a:pt x="1271" y="883"/>
                  </a:lnTo>
                  <a:lnTo>
                    <a:pt x="1274" y="882"/>
                  </a:lnTo>
                  <a:lnTo>
                    <a:pt x="1277" y="879"/>
                  </a:lnTo>
                  <a:lnTo>
                    <a:pt x="1287" y="867"/>
                  </a:lnTo>
                  <a:lnTo>
                    <a:pt x="1297" y="856"/>
                  </a:lnTo>
                  <a:lnTo>
                    <a:pt x="1303" y="851"/>
                  </a:lnTo>
                  <a:lnTo>
                    <a:pt x="1308" y="846"/>
                  </a:lnTo>
                  <a:lnTo>
                    <a:pt x="1314" y="843"/>
                  </a:lnTo>
                  <a:lnTo>
                    <a:pt x="1321" y="840"/>
                  </a:lnTo>
                  <a:lnTo>
                    <a:pt x="1330" y="840"/>
                  </a:lnTo>
                  <a:lnTo>
                    <a:pt x="1338" y="843"/>
                  </a:lnTo>
                  <a:lnTo>
                    <a:pt x="1348" y="843"/>
                  </a:lnTo>
                  <a:lnTo>
                    <a:pt x="1356" y="843"/>
                  </a:lnTo>
                  <a:lnTo>
                    <a:pt x="1365" y="842"/>
                  </a:lnTo>
                  <a:lnTo>
                    <a:pt x="1375" y="839"/>
                  </a:lnTo>
                  <a:lnTo>
                    <a:pt x="1390" y="832"/>
                  </a:lnTo>
                  <a:lnTo>
                    <a:pt x="1404" y="824"/>
                  </a:lnTo>
                  <a:lnTo>
                    <a:pt x="1416" y="816"/>
                  </a:lnTo>
                  <a:lnTo>
                    <a:pt x="1427" y="805"/>
                  </a:lnTo>
                  <a:lnTo>
                    <a:pt x="1437" y="796"/>
                  </a:lnTo>
                  <a:lnTo>
                    <a:pt x="1446" y="789"/>
                  </a:lnTo>
                  <a:lnTo>
                    <a:pt x="1450" y="785"/>
                  </a:lnTo>
                  <a:lnTo>
                    <a:pt x="1453" y="780"/>
                  </a:lnTo>
                  <a:lnTo>
                    <a:pt x="1457" y="774"/>
                  </a:lnTo>
                  <a:lnTo>
                    <a:pt x="1459" y="768"/>
                  </a:lnTo>
                  <a:lnTo>
                    <a:pt x="1451" y="764"/>
                  </a:lnTo>
                  <a:lnTo>
                    <a:pt x="1445" y="761"/>
                  </a:lnTo>
                  <a:lnTo>
                    <a:pt x="1437" y="757"/>
                  </a:lnTo>
                  <a:lnTo>
                    <a:pt x="1432" y="751"/>
                  </a:lnTo>
                  <a:lnTo>
                    <a:pt x="1426" y="745"/>
                  </a:lnTo>
                  <a:lnTo>
                    <a:pt x="1423" y="739"/>
                  </a:lnTo>
                  <a:lnTo>
                    <a:pt x="1423" y="734"/>
                  </a:lnTo>
                  <a:lnTo>
                    <a:pt x="1423" y="729"/>
                  </a:lnTo>
                  <a:lnTo>
                    <a:pt x="1423" y="724"/>
                  </a:lnTo>
                  <a:lnTo>
                    <a:pt x="1420" y="720"/>
                  </a:lnTo>
                  <a:lnTo>
                    <a:pt x="1404" y="714"/>
                  </a:lnTo>
                  <a:lnTo>
                    <a:pt x="1390" y="707"/>
                  </a:lnTo>
                  <a:lnTo>
                    <a:pt x="1387" y="701"/>
                  </a:lnTo>
                  <a:lnTo>
                    <a:pt x="1387" y="695"/>
                  </a:lnTo>
                  <a:lnTo>
                    <a:pt x="1387" y="688"/>
                  </a:lnTo>
                  <a:lnTo>
                    <a:pt x="1387" y="682"/>
                  </a:lnTo>
                  <a:lnTo>
                    <a:pt x="1387" y="675"/>
                  </a:lnTo>
                  <a:lnTo>
                    <a:pt x="1387" y="669"/>
                  </a:lnTo>
                  <a:lnTo>
                    <a:pt x="1387" y="663"/>
                  </a:lnTo>
                  <a:lnTo>
                    <a:pt x="1383" y="657"/>
                  </a:lnTo>
                  <a:lnTo>
                    <a:pt x="1372" y="649"/>
                  </a:lnTo>
                  <a:lnTo>
                    <a:pt x="1360" y="642"/>
                  </a:lnTo>
                  <a:lnTo>
                    <a:pt x="1354" y="637"/>
                  </a:lnTo>
                  <a:lnTo>
                    <a:pt x="1349" y="631"/>
                  </a:lnTo>
                  <a:lnTo>
                    <a:pt x="1337" y="625"/>
                  </a:lnTo>
                  <a:lnTo>
                    <a:pt x="1326" y="620"/>
                  </a:lnTo>
                  <a:lnTo>
                    <a:pt x="1314" y="616"/>
                  </a:lnTo>
                  <a:lnTo>
                    <a:pt x="1301" y="610"/>
                  </a:lnTo>
                  <a:lnTo>
                    <a:pt x="1287" y="604"/>
                  </a:lnTo>
                  <a:lnTo>
                    <a:pt x="1274" y="599"/>
                  </a:lnTo>
                  <a:lnTo>
                    <a:pt x="1261" y="594"/>
                  </a:lnTo>
                  <a:lnTo>
                    <a:pt x="1246" y="589"/>
                  </a:lnTo>
                  <a:lnTo>
                    <a:pt x="1232" y="584"/>
                  </a:lnTo>
                  <a:lnTo>
                    <a:pt x="1217" y="578"/>
                  </a:lnTo>
                  <a:lnTo>
                    <a:pt x="1212" y="573"/>
                  </a:lnTo>
                  <a:lnTo>
                    <a:pt x="1207" y="568"/>
                  </a:lnTo>
                  <a:lnTo>
                    <a:pt x="1201" y="562"/>
                  </a:lnTo>
                  <a:lnTo>
                    <a:pt x="1192" y="557"/>
                  </a:lnTo>
                  <a:close/>
                  <a:moveTo>
                    <a:pt x="982" y="457"/>
                  </a:moveTo>
                  <a:lnTo>
                    <a:pt x="972" y="463"/>
                  </a:lnTo>
                  <a:lnTo>
                    <a:pt x="964" y="468"/>
                  </a:lnTo>
                  <a:lnTo>
                    <a:pt x="955" y="474"/>
                  </a:lnTo>
                  <a:lnTo>
                    <a:pt x="948" y="483"/>
                  </a:lnTo>
                  <a:lnTo>
                    <a:pt x="953" y="485"/>
                  </a:lnTo>
                  <a:lnTo>
                    <a:pt x="956" y="486"/>
                  </a:lnTo>
                  <a:lnTo>
                    <a:pt x="961" y="486"/>
                  </a:lnTo>
                  <a:lnTo>
                    <a:pt x="967" y="486"/>
                  </a:lnTo>
                  <a:lnTo>
                    <a:pt x="976" y="486"/>
                  </a:lnTo>
                  <a:lnTo>
                    <a:pt x="984" y="485"/>
                  </a:lnTo>
                  <a:lnTo>
                    <a:pt x="988" y="484"/>
                  </a:lnTo>
                  <a:lnTo>
                    <a:pt x="992" y="482"/>
                  </a:lnTo>
                  <a:lnTo>
                    <a:pt x="993" y="479"/>
                  </a:lnTo>
                  <a:lnTo>
                    <a:pt x="994" y="475"/>
                  </a:lnTo>
                  <a:lnTo>
                    <a:pt x="989" y="466"/>
                  </a:lnTo>
                  <a:lnTo>
                    <a:pt x="982" y="457"/>
                  </a:lnTo>
                  <a:close/>
                  <a:moveTo>
                    <a:pt x="993" y="346"/>
                  </a:moveTo>
                  <a:lnTo>
                    <a:pt x="983" y="342"/>
                  </a:lnTo>
                  <a:lnTo>
                    <a:pt x="975" y="340"/>
                  </a:lnTo>
                  <a:lnTo>
                    <a:pt x="970" y="341"/>
                  </a:lnTo>
                  <a:lnTo>
                    <a:pt x="966" y="344"/>
                  </a:lnTo>
                  <a:lnTo>
                    <a:pt x="962" y="348"/>
                  </a:lnTo>
                  <a:lnTo>
                    <a:pt x="960" y="353"/>
                  </a:lnTo>
                  <a:lnTo>
                    <a:pt x="954" y="359"/>
                  </a:lnTo>
                  <a:lnTo>
                    <a:pt x="949" y="364"/>
                  </a:lnTo>
                  <a:lnTo>
                    <a:pt x="948" y="366"/>
                  </a:lnTo>
                  <a:lnTo>
                    <a:pt x="945" y="370"/>
                  </a:lnTo>
                  <a:lnTo>
                    <a:pt x="945" y="374"/>
                  </a:lnTo>
                  <a:lnTo>
                    <a:pt x="944" y="377"/>
                  </a:lnTo>
                  <a:lnTo>
                    <a:pt x="945" y="381"/>
                  </a:lnTo>
                  <a:lnTo>
                    <a:pt x="946" y="384"/>
                  </a:lnTo>
                  <a:lnTo>
                    <a:pt x="948" y="386"/>
                  </a:lnTo>
                  <a:lnTo>
                    <a:pt x="951" y="389"/>
                  </a:lnTo>
                  <a:lnTo>
                    <a:pt x="957" y="392"/>
                  </a:lnTo>
                  <a:lnTo>
                    <a:pt x="964" y="395"/>
                  </a:lnTo>
                  <a:lnTo>
                    <a:pt x="976" y="401"/>
                  </a:lnTo>
                  <a:lnTo>
                    <a:pt x="988" y="404"/>
                  </a:lnTo>
                  <a:lnTo>
                    <a:pt x="995" y="406"/>
                  </a:lnTo>
                  <a:lnTo>
                    <a:pt x="1003" y="407"/>
                  </a:lnTo>
                  <a:lnTo>
                    <a:pt x="1006" y="408"/>
                  </a:lnTo>
                  <a:lnTo>
                    <a:pt x="1009" y="411"/>
                  </a:lnTo>
                  <a:lnTo>
                    <a:pt x="1011" y="413"/>
                  </a:lnTo>
                  <a:lnTo>
                    <a:pt x="1014" y="417"/>
                  </a:lnTo>
                  <a:lnTo>
                    <a:pt x="1015" y="422"/>
                  </a:lnTo>
                  <a:lnTo>
                    <a:pt x="1016" y="428"/>
                  </a:lnTo>
                  <a:lnTo>
                    <a:pt x="1016" y="433"/>
                  </a:lnTo>
                  <a:lnTo>
                    <a:pt x="1016" y="437"/>
                  </a:lnTo>
                  <a:lnTo>
                    <a:pt x="1017" y="447"/>
                  </a:lnTo>
                  <a:lnTo>
                    <a:pt x="1020" y="458"/>
                  </a:lnTo>
                  <a:lnTo>
                    <a:pt x="1021" y="462"/>
                  </a:lnTo>
                  <a:lnTo>
                    <a:pt x="1024" y="464"/>
                  </a:lnTo>
                  <a:lnTo>
                    <a:pt x="1026" y="467"/>
                  </a:lnTo>
                  <a:lnTo>
                    <a:pt x="1028" y="469"/>
                  </a:lnTo>
                  <a:lnTo>
                    <a:pt x="1036" y="472"/>
                  </a:lnTo>
                  <a:lnTo>
                    <a:pt x="1043" y="472"/>
                  </a:lnTo>
                  <a:lnTo>
                    <a:pt x="1048" y="471"/>
                  </a:lnTo>
                  <a:lnTo>
                    <a:pt x="1053" y="467"/>
                  </a:lnTo>
                  <a:lnTo>
                    <a:pt x="1062" y="463"/>
                  </a:lnTo>
                  <a:lnTo>
                    <a:pt x="1071" y="460"/>
                  </a:lnTo>
                  <a:lnTo>
                    <a:pt x="1082" y="458"/>
                  </a:lnTo>
                  <a:lnTo>
                    <a:pt x="1095" y="456"/>
                  </a:lnTo>
                  <a:lnTo>
                    <a:pt x="1107" y="447"/>
                  </a:lnTo>
                  <a:lnTo>
                    <a:pt x="1119" y="439"/>
                  </a:lnTo>
                  <a:lnTo>
                    <a:pt x="1125" y="435"/>
                  </a:lnTo>
                  <a:lnTo>
                    <a:pt x="1132" y="431"/>
                  </a:lnTo>
                  <a:lnTo>
                    <a:pt x="1135" y="430"/>
                  </a:lnTo>
                  <a:lnTo>
                    <a:pt x="1136" y="428"/>
                  </a:lnTo>
                  <a:lnTo>
                    <a:pt x="1137" y="424"/>
                  </a:lnTo>
                  <a:lnTo>
                    <a:pt x="1139" y="420"/>
                  </a:lnTo>
                  <a:lnTo>
                    <a:pt x="1137" y="415"/>
                  </a:lnTo>
                  <a:lnTo>
                    <a:pt x="1134" y="412"/>
                  </a:lnTo>
                  <a:lnTo>
                    <a:pt x="1130" y="408"/>
                  </a:lnTo>
                  <a:lnTo>
                    <a:pt x="1125" y="406"/>
                  </a:lnTo>
                  <a:lnTo>
                    <a:pt x="1117" y="402"/>
                  </a:lnTo>
                  <a:lnTo>
                    <a:pt x="1108" y="400"/>
                  </a:lnTo>
                  <a:lnTo>
                    <a:pt x="1102" y="395"/>
                  </a:lnTo>
                  <a:lnTo>
                    <a:pt x="1095" y="390"/>
                  </a:lnTo>
                  <a:lnTo>
                    <a:pt x="1087" y="381"/>
                  </a:lnTo>
                  <a:lnTo>
                    <a:pt x="1079" y="375"/>
                  </a:lnTo>
                  <a:lnTo>
                    <a:pt x="1075" y="374"/>
                  </a:lnTo>
                  <a:lnTo>
                    <a:pt x="1070" y="373"/>
                  </a:lnTo>
                  <a:lnTo>
                    <a:pt x="1064" y="371"/>
                  </a:lnTo>
                  <a:lnTo>
                    <a:pt x="1059" y="371"/>
                  </a:lnTo>
                  <a:lnTo>
                    <a:pt x="1052" y="371"/>
                  </a:lnTo>
                  <a:lnTo>
                    <a:pt x="1044" y="373"/>
                  </a:lnTo>
                  <a:lnTo>
                    <a:pt x="1038" y="375"/>
                  </a:lnTo>
                  <a:lnTo>
                    <a:pt x="1032" y="377"/>
                  </a:lnTo>
                  <a:lnTo>
                    <a:pt x="1026" y="381"/>
                  </a:lnTo>
                  <a:lnTo>
                    <a:pt x="1020" y="384"/>
                  </a:lnTo>
                  <a:lnTo>
                    <a:pt x="1014" y="382"/>
                  </a:lnTo>
                  <a:lnTo>
                    <a:pt x="1009" y="380"/>
                  </a:lnTo>
                  <a:lnTo>
                    <a:pt x="1005" y="375"/>
                  </a:lnTo>
                  <a:lnTo>
                    <a:pt x="1002" y="370"/>
                  </a:lnTo>
                  <a:lnTo>
                    <a:pt x="997" y="358"/>
                  </a:lnTo>
                  <a:lnTo>
                    <a:pt x="993" y="346"/>
                  </a:lnTo>
                  <a:close/>
                  <a:moveTo>
                    <a:pt x="858" y="368"/>
                  </a:moveTo>
                  <a:lnTo>
                    <a:pt x="858" y="373"/>
                  </a:lnTo>
                  <a:lnTo>
                    <a:pt x="858" y="376"/>
                  </a:lnTo>
                  <a:lnTo>
                    <a:pt x="861" y="382"/>
                  </a:lnTo>
                  <a:lnTo>
                    <a:pt x="864" y="387"/>
                  </a:lnTo>
                  <a:lnTo>
                    <a:pt x="866" y="393"/>
                  </a:lnTo>
                  <a:lnTo>
                    <a:pt x="866" y="400"/>
                  </a:lnTo>
                  <a:lnTo>
                    <a:pt x="869" y="408"/>
                  </a:lnTo>
                  <a:lnTo>
                    <a:pt x="874" y="415"/>
                  </a:lnTo>
                  <a:lnTo>
                    <a:pt x="880" y="422"/>
                  </a:lnTo>
                  <a:lnTo>
                    <a:pt x="888" y="429"/>
                  </a:lnTo>
                  <a:lnTo>
                    <a:pt x="895" y="420"/>
                  </a:lnTo>
                  <a:lnTo>
                    <a:pt x="902" y="413"/>
                  </a:lnTo>
                  <a:lnTo>
                    <a:pt x="907" y="411"/>
                  </a:lnTo>
                  <a:lnTo>
                    <a:pt x="912" y="408"/>
                  </a:lnTo>
                  <a:lnTo>
                    <a:pt x="915" y="407"/>
                  </a:lnTo>
                  <a:lnTo>
                    <a:pt x="916" y="404"/>
                  </a:lnTo>
                  <a:lnTo>
                    <a:pt x="917" y="402"/>
                  </a:lnTo>
                  <a:lnTo>
                    <a:pt x="917" y="400"/>
                  </a:lnTo>
                  <a:lnTo>
                    <a:pt x="915" y="393"/>
                  </a:lnTo>
                  <a:lnTo>
                    <a:pt x="910" y="387"/>
                  </a:lnTo>
                  <a:lnTo>
                    <a:pt x="905" y="379"/>
                  </a:lnTo>
                  <a:lnTo>
                    <a:pt x="899" y="370"/>
                  </a:lnTo>
                  <a:lnTo>
                    <a:pt x="897" y="366"/>
                  </a:lnTo>
                  <a:lnTo>
                    <a:pt x="896" y="364"/>
                  </a:lnTo>
                  <a:lnTo>
                    <a:pt x="893" y="363"/>
                  </a:lnTo>
                  <a:lnTo>
                    <a:pt x="889" y="363"/>
                  </a:lnTo>
                  <a:lnTo>
                    <a:pt x="886" y="364"/>
                  </a:lnTo>
                  <a:lnTo>
                    <a:pt x="883" y="365"/>
                  </a:lnTo>
                  <a:lnTo>
                    <a:pt x="871" y="368"/>
                  </a:lnTo>
                  <a:lnTo>
                    <a:pt x="858" y="368"/>
                  </a:lnTo>
                  <a:close/>
                  <a:moveTo>
                    <a:pt x="823" y="280"/>
                  </a:moveTo>
                  <a:lnTo>
                    <a:pt x="813" y="298"/>
                  </a:lnTo>
                  <a:lnTo>
                    <a:pt x="801" y="315"/>
                  </a:lnTo>
                  <a:lnTo>
                    <a:pt x="817" y="319"/>
                  </a:lnTo>
                  <a:lnTo>
                    <a:pt x="834" y="321"/>
                  </a:lnTo>
                  <a:lnTo>
                    <a:pt x="863" y="321"/>
                  </a:lnTo>
                  <a:lnTo>
                    <a:pt x="879" y="327"/>
                  </a:lnTo>
                  <a:lnTo>
                    <a:pt x="896" y="332"/>
                  </a:lnTo>
                  <a:lnTo>
                    <a:pt x="904" y="331"/>
                  </a:lnTo>
                  <a:lnTo>
                    <a:pt x="910" y="330"/>
                  </a:lnTo>
                  <a:lnTo>
                    <a:pt x="917" y="326"/>
                  </a:lnTo>
                  <a:lnTo>
                    <a:pt x="923" y="322"/>
                  </a:lnTo>
                  <a:lnTo>
                    <a:pt x="928" y="320"/>
                  </a:lnTo>
                  <a:lnTo>
                    <a:pt x="933" y="318"/>
                  </a:lnTo>
                  <a:lnTo>
                    <a:pt x="938" y="315"/>
                  </a:lnTo>
                  <a:lnTo>
                    <a:pt x="942" y="311"/>
                  </a:lnTo>
                  <a:lnTo>
                    <a:pt x="942" y="308"/>
                  </a:lnTo>
                  <a:lnTo>
                    <a:pt x="943" y="305"/>
                  </a:lnTo>
                  <a:lnTo>
                    <a:pt x="928" y="302"/>
                  </a:lnTo>
                  <a:lnTo>
                    <a:pt x="912" y="300"/>
                  </a:lnTo>
                  <a:lnTo>
                    <a:pt x="904" y="297"/>
                  </a:lnTo>
                  <a:lnTo>
                    <a:pt x="895" y="293"/>
                  </a:lnTo>
                  <a:lnTo>
                    <a:pt x="885" y="294"/>
                  </a:lnTo>
                  <a:lnTo>
                    <a:pt x="877" y="294"/>
                  </a:lnTo>
                  <a:lnTo>
                    <a:pt x="862" y="292"/>
                  </a:lnTo>
                  <a:lnTo>
                    <a:pt x="849" y="288"/>
                  </a:lnTo>
                  <a:lnTo>
                    <a:pt x="836" y="284"/>
                  </a:lnTo>
                  <a:lnTo>
                    <a:pt x="823" y="280"/>
                  </a:lnTo>
                  <a:close/>
                  <a:moveTo>
                    <a:pt x="540" y="189"/>
                  </a:moveTo>
                  <a:lnTo>
                    <a:pt x="541" y="195"/>
                  </a:lnTo>
                  <a:lnTo>
                    <a:pt x="544" y="201"/>
                  </a:lnTo>
                  <a:lnTo>
                    <a:pt x="550" y="216"/>
                  </a:lnTo>
                  <a:lnTo>
                    <a:pt x="556" y="231"/>
                  </a:lnTo>
                  <a:lnTo>
                    <a:pt x="560" y="237"/>
                  </a:lnTo>
                  <a:lnTo>
                    <a:pt x="565" y="242"/>
                  </a:lnTo>
                  <a:lnTo>
                    <a:pt x="568" y="249"/>
                  </a:lnTo>
                  <a:lnTo>
                    <a:pt x="572" y="255"/>
                  </a:lnTo>
                  <a:lnTo>
                    <a:pt x="573" y="258"/>
                  </a:lnTo>
                  <a:lnTo>
                    <a:pt x="574" y="261"/>
                  </a:lnTo>
                  <a:lnTo>
                    <a:pt x="577" y="264"/>
                  </a:lnTo>
                  <a:lnTo>
                    <a:pt x="580" y="266"/>
                  </a:lnTo>
                  <a:lnTo>
                    <a:pt x="583" y="266"/>
                  </a:lnTo>
                  <a:lnTo>
                    <a:pt x="587" y="266"/>
                  </a:lnTo>
                  <a:lnTo>
                    <a:pt x="588" y="260"/>
                  </a:lnTo>
                  <a:lnTo>
                    <a:pt x="590" y="254"/>
                  </a:lnTo>
                  <a:lnTo>
                    <a:pt x="593" y="251"/>
                  </a:lnTo>
                  <a:lnTo>
                    <a:pt x="594" y="249"/>
                  </a:lnTo>
                  <a:lnTo>
                    <a:pt x="596" y="248"/>
                  </a:lnTo>
                  <a:lnTo>
                    <a:pt x="600" y="248"/>
                  </a:lnTo>
                  <a:lnTo>
                    <a:pt x="604" y="248"/>
                  </a:lnTo>
                  <a:lnTo>
                    <a:pt x="609" y="249"/>
                  </a:lnTo>
                  <a:lnTo>
                    <a:pt x="612" y="250"/>
                  </a:lnTo>
                  <a:lnTo>
                    <a:pt x="615" y="254"/>
                  </a:lnTo>
                  <a:lnTo>
                    <a:pt x="616" y="256"/>
                  </a:lnTo>
                  <a:lnTo>
                    <a:pt x="616" y="260"/>
                  </a:lnTo>
                  <a:lnTo>
                    <a:pt x="621" y="266"/>
                  </a:lnTo>
                  <a:lnTo>
                    <a:pt x="627" y="270"/>
                  </a:lnTo>
                  <a:lnTo>
                    <a:pt x="633" y="272"/>
                  </a:lnTo>
                  <a:lnTo>
                    <a:pt x="640" y="273"/>
                  </a:lnTo>
                  <a:lnTo>
                    <a:pt x="649" y="271"/>
                  </a:lnTo>
                  <a:lnTo>
                    <a:pt x="659" y="267"/>
                  </a:lnTo>
                  <a:lnTo>
                    <a:pt x="673" y="261"/>
                  </a:lnTo>
                  <a:lnTo>
                    <a:pt x="688" y="255"/>
                  </a:lnTo>
                  <a:lnTo>
                    <a:pt x="685" y="245"/>
                  </a:lnTo>
                  <a:lnTo>
                    <a:pt x="681" y="235"/>
                  </a:lnTo>
                  <a:lnTo>
                    <a:pt x="678" y="232"/>
                  </a:lnTo>
                  <a:lnTo>
                    <a:pt x="676" y="229"/>
                  </a:lnTo>
                  <a:lnTo>
                    <a:pt x="672" y="227"/>
                  </a:lnTo>
                  <a:lnTo>
                    <a:pt x="669" y="226"/>
                  </a:lnTo>
                  <a:lnTo>
                    <a:pt x="660" y="223"/>
                  </a:lnTo>
                  <a:lnTo>
                    <a:pt x="650" y="221"/>
                  </a:lnTo>
                  <a:lnTo>
                    <a:pt x="648" y="220"/>
                  </a:lnTo>
                  <a:lnTo>
                    <a:pt x="645" y="217"/>
                  </a:lnTo>
                  <a:lnTo>
                    <a:pt x="643" y="215"/>
                  </a:lnTo>
                  <a:lnTo>
                    <a:pt x="640" y="212"/>
                  </a:lnTo>
                  <a:lnTo>
                    <a:pt x="638" y="206"/>
                  </a:lnTo>
                  <a:lnTo>
                    <a:pt x="636" y="200"/>
                  </a:lnTo>
                  <a:lnTo>
                    <a:pt x="632" y="188"/>
                  </a:lnTo>
                  <a:lnTo>
                    <a:pt x="627" y="175"/>
                  </a:lnTo>
                  <a:lnTo>
                    <a:pt x="623" y="163"/>
                  </a:lnTo>
                  <a:lnTo>
                    <a:pt x="620" y="151"/>
                  </a:lnTo>
                  <a:lnTo>
                    <a:pt x="617" y="149"/>
                  </a:lnTo>
                  <a:lnTo>
                    <a:pt x="616" y="147"/>
                  </a:lnTo>
                  <a:lnTo>
                    <a:pt x="614" y="146"/>
                  </a:lnTo>
                  <a:lnTo>
                    <a:pt x="610" y="145"/>
                  </a:lnTo>
                  <a:lnTo>
                    <a:pt x="607" y="147"/>
                  </a:lnTo>
                  <a:lnTo>
                    <a:pt x="606" y="151"/>
                  </a:lnTo>
                  <a:lnTo>
                    <a:pt x="600" y="157"/>
                  </a:lnTo>
                  <a:lnTo>
                    <a:pt x="595" y="163"/>
                  </a:lnTo>
                  <a:lnTo>
                    <a:pt x="589" y="171"/>
                  </a:lnTo>
                  <a:lnTo>
                    <a:pt x="582" y="177"/>
                  </a:lnTo>
                  <a:lnTo>
                    <a:pt x="574" y="180"/>
                  </a:lnTo>
                  <a:lnTo>
                    <a:pt x="565" y="183"/>
                  </a:lnTo>
                  <a:lnTo>
                    <a:pt x="557" y="183"/>
                  </a:lnTo>
                  <a:lnTo>
                    <a:pt x="549" y="183"/>
                  </a:lnTo>
                  <a:lnTo>
                    <a:pt x="545" y="183"/>
                  </a:lnTo>
                  <a:lnTo>
                    <a:pt x="543" y="184"/>
                  </a:lnTo>
                  <a:lnTo>
                    <a:pt x="540" y="185"/>
                  </a:lnTo>
                  <a:lnTo>
                    <a:pt x="540" y="189"/>
                  </a:lnTo>
                  <a:close/>
                  <a:moveTo>
                    <a:pt x="119" y="57"/>
                  </a:moveTo>
                  <a:lnTo>
                    <a:pt x="132" y="60"/>
                  </a:lnTo>
                  <a:lnTo>
                    <a:pt x="144" y="65"/>
                  </a:lnTo>
                  <a:lnTo>
                    <a:pt x="148" y="68"/>
                  </a:lnTo>
                  <a:lnTo>
                    <a:pt x="153" y="70"/>
                  </a:lnTo>
                  <a:lnTo>
                    <a:pt x="158" y="73"/>
                  </a:lnTo>
                  <a:lnTo>
                    <a:pt x="162" y="76"/>
                  </a:lnTo>
                  <a:lnTo>
                    <a:pt x="167" y="81"/>
                  </a:lnTo>
                  <a:lnTo>
                    <a:pt x="172" y="86"/>
                  </a:lnTo>
                  <a:lnTo>
                    <a:pt x="177" y="90"/>
                  </a:lnTo>
                  <a:lnTo>
                    <a:pt x="183" y="92"/>
                  </a:lnTo>
                  <a:lnTo>
                    <a:pt x="189" y="95"/>
                  </a:lnTo>
                  <a:lnTo>
                    <a:pt x="192" y="97"/>
                  </a:lnTo>
                  <a:lnTo>
                    <a:pt x="199" y="100"/>
                  </a:lnTo>
                  <a:lnTo>
                    <a:pt x="203" y="101"/>
                  </a:lnTo>
                  <a:lnTo>
                    <a:pt x="208" y="100"/>
                  </a:lnTo>
                  <a:lnTo>
                    <a:pt x="211" y="98"/>
                  </a:lnTo>
                  <a:lnTo>
                    <a:pt x="213" y="96"/>
                  </a:lnTo>
                  <a:lnTo>
                    <a:pt x="216" y="92"/>
                  </a:lnTo>
                  <a:lnTo>
                    <a:pt x="219" y="85"/>
                  </a:lnTo>
                  <a:lnTo>
                    <a:pt x="223" y="78"/>
                  </a:lnTo>
                  <a:lnTo>
                    <a:pt x="233" y="67"/>
                  </a:lnTo>
                  <a:lnTo>
                    <a:pt x="240" y="53"/>
                  </a:lnTo>
                  <a:lnTo>
                    <a:pt x="244" y="43"/>
                  </a:lnTo>
                  <a:lnTo>
                    <a:pt x="246" y="35"/>
                  </a:lnTo>
                  <a:lnTo>
                    <a:pt x="249" y="25"/>
                  </a:lnTo>
                  <a:lnTo>
                    <a:pt x="249" y="14"/>
                  </a:lnTo>
                  <a:lnTo>
                    <a:pt x="249" y="11"/>
                  </a:lnTo>
                  <a:lnTo>
                    <a:pt x="248" y="10"/>
                  </a:lnTo>
                  <a:lnTo>
                    <a:pt x="245" y="9"/>
                  </a:lnTo>
                  <a:lnTo>
                    <a:pt x="243" y="7"/>
                  </a:lnTo>
                  <a:lnTo>
                    <a:pt x="239" y="4"/>
                  </a:lnTo>
                  <a:lnTo>
                    <a:pt x="234" y="2"/>
                  </a:lnTo>
                  <a:lnTo>
                    <a:pt x="230" y="2"/>
                  </a:lnTo>
                  <a:lnTo>
                    <a:pt x="226" y="0"/>
                  </a:lnTo>
                  <a:lnTo>
                    <a:pt x="214" y="2"/>
                  </a:lnTo>
                  <a:lnTo>
                    <a:pt x="206" y="2"/>
                  </a:lnTo>
                  <a:lnTo>
                    <a:pt x="197" y="3"/>
                  </a:lnTo>
                  <a:lnTo>
                    <a:pt x="188" y="4"/>
                  </a:lnTo>
                  <a:lnTo>
                    <a:pt x="178" y="4"/>
                  </a:lnTo>
                  <a:lnTo>
                    <a:pt x="169" y="5"/>
                  </a:lnTo>
                  <a:lnTo>
                    <a:pt x="163" y="8"/>
                  </a:lnTo>
                  <a:lnTo>
                    <a:pt x="157" y="11"/>
                  </a:lnTo>
                  <a:lnTo>
                    <a:pt x="152" y="14"/>
                  </a:lnTo>
                  <a:lnTo>
                    <a:pt x="148" y="19"/>
                  </a:lnTo>
                  <a:lnTo>
                    <a:pt x="141" y="27"/>
                  </a:lnTo>
                  <a:lnTo>
                    <a:pt x="134" y="38"/>
                  </a:lnTo>
                  <a:lnTo>
                    <a:pt x="126" y="47"/>
                  </a:lnTo>
                  <a:lnTo>
                    <a:pt x="119" y="57"/>
                  </a:lnTo>
                  <a:close/>
                  <a:moveTo>
                    <a:pt x="0" y="101"/>
                  </a:moveTo>
                  <a:lnTo>
                    <a:pt x="0" y="119"/>
                  </a:lnTo>
                  <a:lnTo>
                    <a:pt x="10" y="114"/>
                  </a:lnTo>
                  <a:lnTo>
                    <a:pt x="19" y="108"/>
                  </a:lnTo>
                  <a:lnTo>
                    <a:pt x="28" y="103"/>
                  </a:lnTo>
                  <a:lnTo>
                    <a:pt x="37" y="98"/>
                  </a:lnTo>
                  <a:lnTo>
                    <a:pt x="41" y="96"/>
                  </a:lnTo>
                  <a:lnTo>
                    <a:pt x="44" y="92"/>
                  </a:lnTo>
                  <a:lnTo>
                    <a:pt x="47" y="87"/>
                  </a:lnTo>
                  <a:lnTo>
                    <a:pt x="49" y="84"/>
                  </a:lnTo>
                  <a:lnTo>
                    <a:pt x="52" y="74"/>
                  </a:lnTo>
                  <a:lnTo>
                    <a:pt x="53" y="64"/>
                  </a:lnTo>
                  <a:lnTo>
                    <a:pt x="50" y="63"/>
                  </a:lnTo>
                  <a:lnTo>
                    <a:pt x="47" y="62"/>
                  </a:lnTo>
                  <a:lnTo>
                    <a:pt x="39" y="63"/>
                  </a:lnTo>
                  <a:lnTo>
                    <a:pt x="33" y="67"/>
                  </a:lnTo>
                  <a:lnTo>
                    <a:pt x="28" y="71"/>
                  </a:lnTo>
                  <a:lnTo>
                    <a:pt x="22" y="76"/>
                  </a:lnTo>
                  <a:lnTo>
                    <a:pt x="14" y="81"/>
                  </a:lnTo>
                  <a:lnTo>
                    <a:pt x="8" y="86"/>
                  </a:lnTo>
                  <a:lnTo>
                    <a:pt x="4" y="90"/>
                  </a:lnTo>
                  <a:lnTo>
                    <a:pt x="3" y="93"/>
                  </a:lnTo>
                  <a:lnTo>
                    <a:pt x="2" y="97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EBF5F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77" name="Freeform 121">
              <a:extLst>
                <a:ext uri="{FF2B5EF4-FFF2-40B4-BE49-F238E27FC236}">
                  <a16:creationId xmlns:a16="http://schemas.microsoft.com/office/drawing/2014/main" id="{1E0FF405-D6D4-4A29-ABCD-2344BA9CF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242" y="4883937"/>
              <a:ext cx="97223" cy="109675"/>
            </a:xfrm>
            <a:custGeom>
              <a:avLst/>
              <a:gdLst>
                <a:gd name="T0" fmla="*/ 54 w 333"/>
                <a:gd name="T1" fmla="*/ 0 h 391"/>
                <a:gd name="T2" fmla="*/ 44 w 333"/>
                <a:gd name="T3" fmla="*/ 9 h 391"/>
                <a:gd name="T4" fmla="*/ 46 w 333"/>
                <a:gd name="T5" fmla="*/ 29 h 391"/>
                <a:gd name="T6" fmla="*/ 51 w 333"/>
                <a:gd name="T7" fmla="*/ 52 h 391"/>
                <a:gd name="T8" fmla="*/ 52 w 333"/>
                <a:gd name="T9" fmla="*/ 70 h 391"/>
                <a:gd name="T10" fmla="*/ 48 w 333"/>
                <a:gd name="T11" fmla="*/ 77 h 391"/>
                <a:gd name="T12" fmla="*/ 38 w 333"/>
                <a:gd name="T13" fmla="*/ 89 h 391"/>
                <a:gd name="T14" fmla="*/ 29 w 333"/>
                <a:gd name="T15" fmla="*/ 107 h 391"/>
                <a:gd name="T16" fmla="*/ 14 w 333"/>
                <a:gd name="T17" fmla="*/ 126 h 391"/>
                <a:gd name="T18" fmla="*/ 4 w 333"/>
                <a:gd name="T19" fmla="*/ 140 h 391"/>
                <a:gd name="T20" fmla="*/ 0 w 333"/>
                <a:gd name="T21" fmla="*/ 150 h 391"/>
                <a:gd name="T22" fmla="*/ 3 w 333"/>
                <a:gd name="T23" fmla="*/ 163 h 391"/>
                <a:gd name="T24" fmla="*/ 9 w 333"/>
                <a:gd name="T25" fmla="*/ 180 h 391"/>
                <a:gd name="T26" fmla="*/ 19 w 333"/>
                <a:gd name="T27" fmla="*/ 205 h 391"/>
                <a:gd name="T28" fmla="*/ 32 w 333"/>
                <a:gd name="T29" fmla="*/ 234 h 391"/>
                <a:gd name="T30" fmla="*/ 38 w 333"/>
                <a:gd name="T31" fmla="*/ 260 h 391"/>
                <a:gd name="T32" fmla="*/ 40 w 333"/>
                <a:gd name="T33" fmla="*/ 305 h 391"/>
                <a:gd name="T34" fmla="*/ 32 w 333"/>
                <a:gd name="T35" fmla="*/ 332 h 391"/>
                <a:gd name="T36" fmla="*/ 35 w 333"/>
                <a:gd name="T37" fmla="*/ 343 h 391"/>
                <a:gd name="T38" fmla="*/ 41 w 333"/>
                <a:gd name="T39" fmla="*/ 352 h 391"/>
                <a:gd name="T40" fmla="*/ 59 w 333"/>
                <a:gd name="T41" fmla="*/ 366 h 391"/>
                <a:gd name="T42" fmla="*/ 75 w 333"/>
                <a:gd name="T43" fmla="*/ 384 h 391"/>
                <a:gd name="T44" fmla="*/ 87 w 333"/>
                <a:gd name="T45" fmla="*/ 391 h 391"/>
                <a:gd name="T46" fmla="*/ 100 w 333"/>
                <a:gd name="T47" fmla="*/ 385 h 391"/>
                <a:gd name="T48" fmla="*/ 120 w 333"/>
                <a:gd name="T49" fmla="*/ 364 h 391"/>
                <a:gd name="T50" fmla="*/ 142 w 333"/>
                <a:gd name="T51" fmla="*/ 338 h 391"/>
                <a:gd name="T52" fmla="*/ 145 w 333"/>
                <a:gd name="T53" fmla="*/ 332 h 391"/>
                <a:gd name="T54" fmla="*/ 151 w 333"/>
                <a:gd name="T55" fmla="*/ 328 h 391"/>
                <a:gd name="T56" fmla="*/ 171 w 333"/>
                <a:gd name="T57" fmla="*/ 305 h 391"/>
                <a:gd name="T58" fmla="*/ 182 w 333"/>
                <a:gd name="T59" fmla="*/ 295 h 391"/>
                <a:gd name="T60" fmla="*/ 195 w 333"/>
                <a:gd name="T61" fmla="*/ 289 h 391"/>
                <a:gd name="T62" fmla="*/ 212 w 333"/>
                <a:gd name="T63" fmla="*/ 292 h 391"/>
                <a:gd name="T64" fmla="*/ 230 w 333"/>
                <a:gd name="T65" fmla="*/ 292 h 391"/>
                <a:gd name="T66" fmla="*/ 249 w 333"/>
                <a:gd name="T67" fmla="*/ 288 h 391"/>
                <a:gd name="T68" fmla="*/ 278 w 333"/>
                <a:gd name="T69" fmla="*/ 273 h 391"/>
                <a:gd name="T70" fmla="*/ 301 w 333"/>
                <a:gd name="T71" fmla="*/ 254 h 391"/>
                <a:gd name="T72" fmla="*/ 320 w 333"/>
                <a:gd name="T73" fmla="*/ 238 h 391"/>
                <a:gd name="T74" fmla="*/ 327 w 333"/>
                <a:gd name="T75" fmla="*/ 229 h 391"/>
                <a:gd name="T76" fmla="*/ 333 w 333"/>
                <a:gd name="T77" fmla="*/ 217 h 391"/>
                <a:gd name="T78" fmla="*/ 319 w 333"/>
                <a:gd name="T79" fmla="*/ 210 h 391"/>
                <a:gd name="T80" fmla="*/ 306 w 333"/>
                <a:gd name="T81" fmla="*/ 200 h 391"/>
                <a:gd name="T82" fmla="*/ 297 w 333"/>
                <a:gd name="T83" fmla="*/ 188 h 391"/>
                <a:gd name="T84" fmla="*/ 297 w 333"/>
                <a:gd name="T85" fmla="*/ 178 h 391"/>
                <a:gd name="T86" fmla="*/ 294 w 333"/>
                <a:gd name="T87" fmla="*/ 169 h 391"/>
                <a:gd name="T88" fmla="*/ 264 w 333"/>
                <a:gd name="T89" fmla="*/ 156 h 391"/>
                <a:gd name="T90" fmla="*/ 261 w 333"/>
                <a:gd name="T91" fmla="*/ 144 h 391"/>
                <a:gd name="T92" fmla="*/ 261 w 333"/>
                <a:gd name="T93" fmla="*/ 131 h 391"/>
                <a:gd name="T94" fmla="*/ 261 w 333"/>
                <a:gd name="T95" fmla="*/ 118 h 391"/>
                <a:gd name="T96" fmla="*/ 257 w 333"/>
                <a:gd name="T97" fmla="*/ 106 h 391"/>
                <a:gd name="T98" fmla="*/ 234 w 333"/>
                <a:gd name="T99" fmla="*/ 91 h 391"/>
                <a:gd name="T100" fmla="*/ 223 w 333"/>
                <a:gd name="T101" fmla="*/ 80 h 391"/>
                <a:gd name="T102" fmla="*/ 200 w 333"/>
                <a:gd name="T103" fmla="*/ 69 h 391"/>
                <a:gd name="T104" fmla="*/ 175 w 333"/>
                <a:gd name="T105" fmla="*/ 59 h 391"/>
                <a:gd name="T106" fmla="*/ 148 w 333"/>
                <a:gd name="T107" fmla="*/ 48 h 391"/>
                <a:gd name="T108" fmla="*/ 120 w 333"/>
                <a:gd name="T109" fmla="*/ 38 h 391"/>
                <a:gd name="T110" fmla="*/ 91 w 333"/>
                <a:gd name="T111" fmla="*/ 27 h 391"/>
                <a:gd name="T112" fmla="*/ 81 w 333"/>
                <a:gd name="T113" fmla="*/ 17 h 391"/>
                <a:gd name="T114" fmla="*/ 66 w 333"/>
                <a:gd name="T115" fmla="*/ 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3" h="391">
                  <a:moveTo>
                    <a:pt x="66" y="6"/>
                  </a:moveTo>
                  <a:lnTo>
                    <a:pt x="54" y="0"/>
                  </a:lnTo>
                  <a:lnTo>
                    <a:pt x="46" y="3"/>
                  </a:lnTo>
                  <a:lnTo>
                    <a:pt x="44" y="9"/>
                  </a:lnTo>
                  <a:lnTo>
                    <a:pt x="44" y="15"/>
                  </a:lnTo>
                  <a:lnTo>
                    <a:pt x="46" y="29"/>
                  </a:lnTo>
                  <a:lnTo>
                    <a:pt x="48" y="40"/>
                  </a:lnTo>
                  <a:lnTo>
                    <a:pt x="51" y="52"/>
                  </a:lnTo>
                  <a:lnTo>
                    <a:pt x="52" y="65"/>
                  </a:lnTo>
                  <a:lnTo>
                    <a:pt x="52" y="70"/>
                  </a:lnTo>
                  <a:lnTo>
                    <a:pt x="52" y="75"/>
                  </a:lnTo>
                  <a:lnTo>
                    <a:pt x="48" y="77"/>
                  </a:lnTo>
                  <a:lnTo>
                    <a:pt x="46" y="79"/>
                  </a:lnTo>
                  <a:lnTo>
                    <a:pt x="38" y="89"/>
                  </a:lnTo>
                  <a:lnTo>
                    <a:pt x="33" y="98"/>
                  </a:lnTo>
                  <a:lnTo>
                    <a:pt x="29" y="107"/>
                  </a:lnTo>
                  <a:lnTo>
                    <a:pt x="21" y="117"/>
                  </a:lnTo>
                  <a:lnTo>
                    <a:pt x="14" y="126"/>
                  </a:lnTo>
                  <a:lnTo>
                    <a:pt x="8" y="135"/>
                  </a:lnTo>
                  <a:lnTo>
                    <a:pt x="4" y="140"/>
                  </a:lnTo>
                  <a:lnTo>
                    <a:pt x="3" y="145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3" y="163"/>
                  </a:lnTo>
                  <a:lnTo>
                    <a:pt x="6" y="171"/>
                  </a:lnTo>
                  <a:lnTo>
                    <a:pt x="9" y="180"/>
                  </a:lnTo>
                  <a:lnTo>
                    <a:pt x="11" y="189"/>
                  </a:lnTo>
                  <a:lnTo>
                    <a:pt x="19" y="205"/>
                  </a:lnTo>
                  <a:lnTo>
                    <a:pt x="27" y="221"/>
                  </a:lnTo>
                  <a:lnTo>
                    <a:pt x="32" y="234"/>
                  </a:lnTo>
                  <a:lnTo>
                    <a:pt x="36" y="246"/>
                  </a:lnTo>
                  <a:lnTo>
                    <a:pt x="38" y="260"/>
                  </a:lnTo>
                  <a:lnTo>
                    <a:pt x="40" y="275"/>
                  </a:lnTo>
                  <a:lnTo>
                    <a:pt x="40" y="305"/>
                  </a:lnTo>
                  <a:lnTo>
                    <a:pt x="36" y="319"/>
                  </a:lnTo>
                  <a:lnTo>
                    <a:pt x="32" y="332"/>
                  </a:lnTo>
                  <a:lnTo>
                    <a:pt x="32" y="338"/>
                  </a:lnTo>
                  <a:lnTo>
                    <a:pt x="35" y="343"/>
                  </a:lnTo>
                  <a:lnTo>
                    <a:pt x="37" y="347"/>
                  </a:lnTo>
                  <a:lnTo>
                    <a:pt x="41" y="352"/>
                  </a:lnTo>
                  <a:lnTo>
                    <a:pt x="49" y="359"/>
                  </a:lnTo>
                  <a:lnTo>
                    <a:pt x="59" y="366"/>
                  </a:lnTo>
                  <a:lnTo>
                    <a:pt x="68" y="375"/>
                  </a:lnTo>
                  <a:lnTo>
                    <a:pt x="75" y="384"/>
                  </a:lnTo>
                  <a:lnTo>
                    <a:pt x="81" y="388"/>
                  </a:lnTo>
                  <a:lnTo>
                    <a:pt x="87" y="391"/>
                  </a:lnTo>
                  <a:lnTo>
                    <a:pt x="95" y="388"/>
                  </a:lnTo>
                  <a:lnTo>
                    <a:pt x="100" y="385"/>
                  </a:lnTo>
                  <a:lnTo>
                    <a:pt x="111" y="375"/>
                  </a:lnTo>
                  <a:lnTo>
                    <a:pt x="120" y="364"/>
                  </a:lnTo>
                  <a:lnTo>
                    <a:pt x="131" y="351"/>
                  </a:lnTo>
                  <a:lnTo>
                    <a:pt x="142" y="338"/>
                  </a:lnTo>
                  <a:lnTo>
                    <a:pt x="144" y="335"/>
                  </a:lnTo>
                  <a:lnTo>
                    <a:pt x="145" y="332"/>
                  </a:lnTo>
                  <a:lnTo>
                    <a:pt x="148" y="331"/>
                  </a:lnTo>
                  <a:lnTo>
                    <a:pt x="151" y="328"/>
                  </a:lnTo>
                  <a:lnTo>
                    <a:pt x="161" y="316"/>
                  </a:lnTo>
                  <a:lnTo>
                    <a:pt x="171" y="305"/>
                  </a:lnTo>
                  <a:lnTo>
                    <a:pt x="177" y="300"/>
                  </a:lnTo>
                  <a:lnTo>
                    <a:pt x="182" y="295"/>
                  </a:lnTo>
                  <a:lnTo>
                    <a:pt x="188" y="292"/>
                  </a:lnTo>
                  <a:lnTo>
                    <a:pt x="195" y="289"/>
                  </a:lnTo>
                  <a:lnTo>
                    <a:pt x="204" y="289"/>
                  </a:lnTo>
                  <a:lnTo>
                    <a:pt x="212" y="292"/>
                  </a:lnTo>
                  <a:lnTo>
                    <a:pt x="222" y="292"/>
                  </a:lnTo>
                  <a:lnTo>
                    <a:pt x="230" y="292"/>
                  </a:lnTo>
                  <a:lnTo>
                    <a:pt x="239" y="291"/>
                  </a:lnTo>
                  <a:lnTo>
                    <a:pt x="249" y="288"/>
                  </a:lnTo>
                  <a:lnTo>
                    <a:pt x="264" y="281"/>
                  </a:lnTo>
                  <a:lnTo>
                    <a:pt x="278" y="273"/>
                  </a:lnTo>
                  <a:lnTo>
                    <a:pt x="290" y="265"/>
                  </a:lnTo>
                  <a:lnTo>
                    <a:pt x="301" y="254"/>
                  </a:lnTo>
                  <a:lnTo>
                    <a:pt x="311" y="245"/>
                  </a:lnTo>
                  <a:lnTo>
                    <a:pt x="320" y="238"/>
                  </a:lnTo>
                  <a:lnTo>
                    <a:pt x="324" y="234"/>
                  </a:lnTo>
                  <a:lnTo>
                    <a:pt x="327" y="229"/>
                  </a:lnTo>
                  <a:lnTo>
                    <a:pt x="331" y="223"/>
                  </a:lnTo>
                  <a:lnTo>
                    <a:pt x="333" y="217"/>
                  </a:lnTo>
                  <a:lnTo>
                    <a:pt x="325" y="213"/>
                  </a:lnTo>
                  <a:lnTo>
                    <a:pt x="319" y="210"/>
                  </a:lnTo>
                  <a:lnTo>
                    <a:pt x="311" y="206"/>
                  </a:lnTo>
                  <a:lnTo>
                    <a:pt x="306" y="200"/>
                  </a:lnTo>
                  <a:lnTo>
                    <a:pt x="300" y="194"/>
                  </a:lnTo>
                  <a:lnTo>
                    <a:pt x="297" y="188"/>
                  </a:lnTo>
                  <a:lnTo>
                    <a:pt x="297" y="183"/>
                  </a:lnTo>
                  <a:lnTo>
                    <a:pt x="297" y="178"/>
                  </a:lnTo>
                  <a:lnTo>
                    <a:pt x="297" y="173"/>
                  </a:lnTo>
                  <a:lnTo>
                    <a:pt x="294" y="169"/>
                  </a:lnTo>
                  <a:lnTo>
                    <a:pt x="278" y="163"/>
                  </a:lnTo>
                  <a:lnTo>
                    <a:pt x="264" y="156"/>
                  </a:lnTo>
                  <a:lnTo>
                    <a:pt x="261" y="150"/>
                  </a:lnTo>
                  <a:lnTo>
                    <a:pt x="261" y="144"/>
                  </a:lnTo>
                  <a:lnTo>
                    <a:pt x="261" y="137"/>
                  </a:lnTo>
                  <a:lnTo>
                    <a:pt x="261" y="131"/>
                  </a:lnTo>
                  <a:lnTo>
                    <a:pt x="261" y="124"/>
                  </a:lnTo>
                  <a:lnTo>
                    <a:pt x="261" y="118"/>
                  </a:lnTo>
                  <a:lnTo>
                    <a:pt x="261" y="112"/>
                  </a:lnTo>
                  <a:lnTo>
                    <a:pt x="257" y="106"/>
                  </a:lnTo>
                  <a:lnTo>
                    <a:pt x="246" y="98"/>
                  </a:lnTo>
                  <a:lnTo>
                    <a:pt x="234" y="91"/>
                  </a:lnTo>
                  <a:lnTo>
                    <a:pt x="228" y="86"/>
                  </a:lnTo>
                  <a:lnTo>
                    <a:pt x="223" y="80"/>
                  </a:lnTo>
                  <a:lnTo>
                    <a:pt x="211" y="74"/>
                  </a:lnTo>
                  <a:lnTo>
                    <a:pt x="200" y="69"/>
                  </a:lnTo>
                  <a:lnTo>
                    <a:pt x="188" y="65"/>
                  </a:lnTo>
                  <a:lnTo>
                    <a:pt x="175" y="59"/>
                  </a:lnTo>
                  <a:lnTo>
                    <a:pt x="161" y="53"/>
                  </a:lnTo>
                  <a:lnTo>
                    <a:pt x="148" y="48"/>
                  </a:lnTo>
                  <a:lnTo>
                    <a:pt x="135" y="43"/>
                  </a:lnTo>
                  <a:lnTo>
                    <a:pt x="120" y="38"/>
                  </a:lnTo>
                  <a:lnTo>
                    <a:pt x="106" y="33"/>
                  </a:lnTo>
                  <a:lnTo>
                    <a:pt x="91" y="27"/>
                  </a:lnTo>
                  <a:lnTo>
                    <a:pt x="86" y="22"/>
                  </a:lnTo>
                  <a:lnTo>
                    <a:pt x="81" y="17"/>
                  </a:lnTo>
                  <a:lnTo>
                    <a:pt x="75" y="11"/>
                  </a:lnTo>
                  <a:lnTo>
                    <a:pt x="66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78" name="Freeform 122">
              <a:extLst>
                <a:ext uri="{FF2B5EF4-FFF2-40B4-BE49-F238E27FC236}">
                  <a16:creationId xmlns:a16="http://schemas.microsoft.com/office/drawing/2014/main" id="{2CEA30ED-C375-4B98-BF61-AA6B4B12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316" y="4856801"/>
              <a:ext cx="12731" cy="9045"/>
            </a:xfrm>
            <a:custGeom>
              <a:avLst/>
              <a:gdLst>
                <a:gd name="T0" fmla="*/ 34 w 46"/>
                <a:gd name="T1" fmla="*/ 0 h 29"/>
                <a:gd name="T2" fmla="*/ 24 w 46"/>
                <a:gd name="T3" fmla="*/ 6 h 29"/>
                <a:gd name="T4" fmla="*/ 16 w 46"/>
                <a:gd name="T5" fmla="*/ 11 h 29"/>
                <a:gd name="T6" fmla="*/ 7 w 46"/>
                <a:gd name="T7" fmla="*/ 17 h 29"/>
                <a:gd name="T8" fmla="*/ 0 w 46"/>
                <a:gd name="T9" fmla="*/ 26 h 29"/>
                <a:gd name="T10" fmla="*/ 5 w 46"/>
                <a:gd name="T11" fmla="*/ 28 h 29"/>
                <a:gd name="T12" fmla="*/ 8 w 46"/>
                <a:gd name="T13" fmla="*/ 29 h 29"/>
                <a:gd name="T14" fmla="*/ 13 w 46"/>
                <a:gd name="T15" fmla="*/ 29 h 29"/>
                <a:gd name="T16" fmla="*/ 19 w 46"/>
                <a:gd name="T17" fmla="*/ 29 h 29"/>
                <a:gd name="T18" fmla="*/ 28 w 46"/>
                <a:gd name="T19" fmla="*/ 29 h 29"/>
                <a:gd name="T20" fmla="*/ 36 w 46"/>
                <a:gd name="T21" fmla="*/ 28 h 29"/>
                <a:gd name="T22" fmla="*/ 40 w 46"/>
                <a:gd name="T23" fmla="*/ 27 h 29"/>
                <a:gd name="T24" fmla="*/ 44 w 46"/>
                <a:gd name="T25" fmla="*/ 25 h 29"/>
                <a:gd name="T26" fmla="*/ 45 w 46"/>
                <a:gd name="T27" fmla="*/ 22 h 29"/>
                <a:gd name="T28" fmla="*/ 46 w 46"/>
                <a:gd name="T29" fmla="*/ 18 h 29"/>
                <a:gd name="T30" fmla="*/ 41 w 46"/>
                <a:gd name="T31" fmla="*/ 9 h 29"/>
                <a:gd name="T32" fmla="*/ 34 w 46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9">
                  <a:moveTo>
                    <a:pt x="34" y="0"/>
                  </a:moveTo>
                  <a:lnTo>
                    <a:pt x="24" y="6"/>
                  </a:lnTo>
                  <a:lnTo>
                    <a:pt x="16" y="11"/>
                  </a:lnTo>
                  <a:lnTo>
                    <a:pt x="7" y="17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13" y="29"/>
                  </a:lnTo>
                  <a:lnTo>
                    <a:pt x="19" y="29"/>
                  </a:lnTo>
                  <a:lnTo>
                    <a:pt x="28" y="29"/>
                  </a:lnTo>
                  <a:lnTo>
                    <a:pt x="36" y="28"/>
                  </a:lnTo>
                  <a:lnTo>
                    <a:pt x="40" y="27"/>
                  </a:lnTo>
                  <a:lnTo>
                    <a:pt x="44" y="25"/>
                  </a:lnTo>
                  <a:lnTo>
                    <a:pt x="45" y="22"/>
                  </a:lnTo>
                  <a:lnTo>
                    <a:pt x="46" y="18"/>
                  </a:lnTo>
                  <a:lnTo>
                    <a:pt x="41" y="9"/>
                  </a:lnTo>
                  <a:lnTo>
                    <a:pt x="34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79" name="Freeform 123">
              <a:extLst>
                <a:ext uri="{FF2B5EF4-FFF2-40B4-BE49-F238E27FC236}">
                  <a16:creationId xmlns:a16="http://schemas.microsoft.com/office/drawing/2014/main" id="{8539A565-E0A3-43FC-8B1F-CFD6E1A0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159" y="4824010"/>
              <a:ext cx="55555" cy="37312"/>
            </a:xfrm>
            <a:custGeom>
              <a:avLst/>
              <a:gdLst>
                <a:gd name="T0" fmla="*/ 39 w 195"/>
                <a:gd name="T1" fmla="*/ 2 h 132"/>
                <a:gd name="T2" fmla="*/ 26 w 195"/>
                <a:gd name="T3" fmla="*/ 1 h 132"/>
                <a:gd name="T4" fmla="*/ 18 w 195"/>
                <a:gd name="T5" fmla="*/ 8 h 132"/>
                <a:gd name="T6" fmla="*/ 10 w 195"/>
                <a:gd name="T7" fmla="*/ 19 h 132"/>
                <a:gd name="T8" fmla="*/ 4 w 195"/>
                <a:gd name="T9" fmla="*/ 26 h 132"/>
                <a:gd name="T10" fmla="*/ 1 w 195"/>
                <a:gd name="T11" fmla="*/ 34 h 132"/>
                <a:gd name="T12" fmla="*/ 1 w 195"/>
                <a:gd name="T13" fmla="*/ 41 h 132"/>
                <a:gd name="T14" fmla="*/ 4 w 195"/>
                <a:gd name="T15" fmla="*/ 46 h 132"/>
                <a:gd name="T16" fmla="*/ 13 w 195"/>
                <a:gd name="T17" fmla="*/ 52 h 132"/>
                <a:gd name="T18" fmla="*/ 32 w 195"/>
                <a:gd name="T19" fmla="*/ 61 h 132"/>
                <a:gd name="T20" fmla="*/ 51 w 195"/>
                <a:gd name="T21" fmla="*/ 66 h 132"/>
                <a:gd name="T22" fmla="*/ 62 w 195"/>
                <a:gd name="T23" fmla="*/ 68 h 132"/>
                <a:gd name="T24" fmla="*/ 67 w 195"/>
                <a:gd name="T25" fmla="*/ 73 h 132"/>
                <a:gd name="T26" fmla="*/ 71 w 195"/>
                <a:gd name="T27" fmla="*/ 82 h 132"/>
                <a:gd name="T28" fmla="*/ 72 w 195"/>
                <a:gd name="T29" fmla="*/ 93 h 132"/>
                <a:gd name="T30" fmla="*/ 73 w 195"/>
                <a:gd name="T31" fmla="*/ 107 h 132"/>
                <a:gd name="T32" fmla="*/ 77 w 195"/>
                <a:gd name="T33" fmla="*/ 122 h 132"/>
                <a:gd name="T34" fmla="*/ 82 w 195"/>
                <a:gd name="T35" fmla="*/ 127 h 132"/>
                <a:gd name="T36" fmla="*/ 92 w 195"/>
                <a:gd name="T37" fmla="*/ 132 h 132"/>
                <a:gd name="T38" fmla="*/ 104 w 195"/>
                <a:gd name="T39" fmla="*/ 131 h 132"/>
                <a:gd name="T40" fmla="*/ 118 w 195"/>
                <a:gd name="T41" fmla="*/ 123 h 132"/>
                <a:gd name="T42" fmla="*/ 138 w 195"/>
                <a:gd name="T43" fmla="*/ 118 h 132"/>
                <a:gd name="T44" fmla="*/ 163 w 195"/>
                <a:gd name="T45" fmla="*/ 107 h 132"/>
                <a:gd name="T46" fmla="*/ 181 w 195"/>
                <a:gd name="T47" fmla="*/ 95 h 132"/>
                <a:gd name="T48" fmla="*/ 191 w 195"/>
                <a:gd name="T49" fmla="*/ 90 h 132"/>
                <a:gd name="T50" fmla="*/ 193 w 195"/>
                <a:gd name="T51" fmla="*/ 84 h 132"/>
                <a:gd name="T52" fmla="*/ 193 w 195"/>
                <a:gd name="T53" fmla="*/ 75 h 132"/>
                <a:gd name="T54" fmla="*/ 186 w 195"/>
                <a:gd name="T55" fmla="*/ 68 h 132"/>
                <a:gd name="T56" fmla="*/ 173 w 195"/>
                <a:gd name="T57" fmla="*/ 62 h 132"/>
                <a:gd name="T58" fmla="*/ 158 w 195"/>
                <a:gd name="T59" fmla="*/ 55 h 132"/>
                <a:gd name="T60" fmla="*/ 143 w 195"/>
                <a:gd name="T61" fmla="*/ 41 h 132"/>
                <a:gd name="T62" fmla="*/ 131 w 195"/>
                <a:gd name="T63" fmla="*/ 34 h 132"/>
                <a:gd name="T64" fmla="*/ 120 w 195"/>
                <a:gd name="T65" fmla="*/ 31 h 132"/>
                <a:gd name="T66" fmla="*/ 108 w 195"/>
                <a:gd name="T67" fmla="*/ 31 h 132"/>
                <a:gd name="T68" fmla="*/ 94 w 195"/>
                <a:gd name="T69" fmla="*/ 35 h 132"/>
                <a:gd name="T70" fmla="*/ 82 w 195"/>
                <a:gd name="T71" fmla="*/ 41 h 132"/>
                <a:gd name="T72" fmla="*/ 70 w 195"/>
                <a:gd name="T73" fmla="*/ 42 h 132"/>
                <a:gd name="T74" fmla="*/ 61 w 195"/>
                <a:gd name="T75" fmla="*/ 35 h 132"/>
                <a:gd name="T76" fmla="*/ 53 w 195"/>
                <a:gd name="T77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5" h="132">
                  <a:moveTo>
                    <a:pt x="49" y="6"/>
                  </a:moveTo>
                  <a:lnTo>
                    <a:pt x="39" y="2"/>
                  </a:lnTo>
                  <a:lnTo>
                    <a:pt x="31" y="0"/>
                  </a:lnTo>
                  <a:lnTo>
                    <a:pt x="26" y="1"/>
                  </a:lnTo>
                  <a:lnTo>
                    <a:pt x="22" y="4"/>
                  </a:lnTo>
                  <a:lnTo>
                    <a:pt x="18" y="8"/>
                  </a:lnTo>
                  <a:lnTo>
                    <a:pt x="16" y="13"/>
                  </a:lnTo>
                  <a:lnTo>
                    <a:pt x="10" y="19"/>
                  </a:lnTo>
                  <a:lnTo>
                    <a:pt x="5" y="24"/>
                  </a:lnTo>
                  <a:lnTo>
                    <a:pt x="4" y="26"/>
                  </a:lnTo>
                  <a:lnTo>
                    <a:pt x="1" y="30"/>
                  </a:lnTo>
                  <a:lnTo>
                    <a:pt x="1" y="34"/>
                  </a:lnTo>
                  <a:lnTo>
                    <a:pt x="0" y="37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7" y="49"/>
                  </a:lnTo>
                  <a:lnTo>
                    <a:pt x="13" y="52"/>
                  </a:lnTo>
                  <a:lnTo>
                    <a:pt x="20" y="55"/>
                  </a:lnTo>
                  <a:lnTo>
                    <a:pt x="32" y="61"/>
                  </a:lnTo>
                  <a:lnTo>
                    <a:pt x="44" y="64"/>
                  </a:lnTo>
                  <a:lnTo>
                    <a:pt x="51" y="66"/>
                  </a:lnTo>
                  <a:lnTo>
                    <a:pt x="59" y="67"/>
                  </a:lnTo>
                  <a:lnTo>
                    <a:pt x="62" y="68"/>
                  </a:lnTo>
                  <a:lnTo>
                    <a:pt x="65" y="71"/>
                  </a:lnTo>
                  <a:lnTo>
                    <a:pt x="67" y="73"/>
                  </a:lnTo>
                  <a:lnTo>
                    <a:pt x="70" y="77"/>
                  </a:lnTo>
                  <a:lnTo>
                    <a:pt x="71" y="82"/>
                  </a:lnTo>
                  <a:lnTo>
                    <a:pt x="72" y="88"/>
                  </a:lnTo>
                  <a:lnTo>
                    <a:pt x="72" y="93"/>
                  </a:lnTo>
                  <a:lnTo>
                    <a:pt x="72" y="97"/>
                  </a:lnTo>
                  <a:lnTo>
                    <a:pt x="73" y="107"/>
                  </a:lnTo>
                  <a:lnTo>
                    <a:pt x="76" y="118"/>
                  </a:lnTo>
                  <a:lnTo>
                    <a:pt x="77" y="122"/>
                  </a:lnTo>
                  <a:lnTo>
                    <a:pt x="80" y="124"/>
                  </a:lnTo>
                  <a:lnTo>
                    <a:pt x="82" y="127"/>
                  </a:lnTo>
                  <a:lnTo>
                    <a:pt x="84" y="129"/>
                  </a:lnTo>
                  <a:lnTo>
                    <a:pt x="92" y="132"/>
                  </a:lnTo>
                  <a:lnTo>
                    <a:pt x="99" y="132"/>
                  </a:lnTo>
                  <a:lnTo>
                    <a:pt x="104" y="131"/>
                  </a:lnTo>
                  <a:lnTo>
                    <a:pt x="109" y="127"/>
                  </a:lnTo>
                  <a:lnTo>
                    <a:pt x="118" y="123"/>
                  </a:lnTo>
                  <a:lnTo>
                    <a:pt x="127" y="120"/>
                  </a:lnTo>
                  <a:lnTo>
                    <a:pt x="138" y="118"/>
                  </a:lnTo>
                  <a:lnTo>
                    <a:pt x="151" y="116"/>
                  </a:lnTo>
                  <a:lnTo>
                    <a:pt x="163" y="107"/>
                  </a:lnTo>
                  <a:lnTo>
                    <a:pt x="175" y="99"/>
                  </a:lnTo>
                  <a:lnTo>
                    <a:pt x="181" y="95"/>
                  </a:lnTo>
                  <a:lnTo>
                    <a:pt x="188" y="91"/>
                  </a:lnTo>
                  <a:lnTo>
                    <a:pt x="191" y="90"/>
                  </a:lnTo>
                  <a:lnTo>
                    <a:pt x="192" y="88"/>
                  </a:lnTo>
                  <a:lnTo>
                    <a:pt x="193" y="84"/>
                  </a:lnTo>
                  <a:lnTo>
                    <a:pt x="195" y="80"/>
                  </a:lnTo>
                  <a:lnTo>
                    <a:pt x="193" y="75"/>
                  </a:lnTo>
                  <a:lnTo>
                    <a:pt x="190" y="72"/>
                  </a:lnTo>
                  <a:lnTo>
                    <a:pt x="186" y="68"/>
                  </a:lnTo>
                  <a:lnTo>
                    <a:pt x="181" y="66"/>
                  </a:lnTo>
                  <a:lnTo>
                    <a:pt x="173" y="62"/>
                  </a:lnTo>
                  <a:lnTo>
                    <a:pt x="164" y="60"/>
                  </a:lnTo>
                  <a:lnTo>
                    <a:pt x="158" y="55"/>
                  </a:lnTo>
                  <a:lnTo>
                    <a:pt x="151" y="50"/>
                  </a:lnTo>
                  <a:lnTo>
                    <a:pt x="143" y="41"/>
                  </a:lnTo>
                  <a:lnTo>
                    <a:pt x="135" y="35"/>
                  </a:lnTo>
                  <a:lnTo>
                    <a:pt x="131" y="34"/>
                  </a:lnTo>
                  <a:lnTo>
                    <a:pt x="126" y="33"/>
                  </a:lnTo>
                  <a:lnTo>
                    <a:pt x="120" y="31"/>
                  </a:lnTo>
                  <a:lnTo>
                    <a:pt x="115" y="31"/>
                  </a:lnTo>
                  <a:lnTo>
                    <a:pt x="108" y="31"/>
                  </a:lnTo>
                  <a:lnTo>
                    <a:pt x="100" y="33"/>
                  </a:lnTo>
                  <a:lnTo>
                    <a:pt x="94" y="35"/>
                  </a:lnTo>
                  <a:lnTo>
                    <a:pt x="88" y="37"/>
                  </a:lnTo>
                  <a:lnTo>
                    <a:pt x="82" y="41"/>
                  </a:lnTo>
                  <a:lnTo>
                    <a:pt x="76" y="44"/>
                  </a:lnTo>
                  <a:lnTo>
                    <a:pt x="70" y="42"/>
                  </a:lnTo>
                  <a:lnTo>
                    <a:pt x="65" y="40"/>
                  </a:lnTo>
                  <a:lnTo>
                    <a:pt x="61" y="35"/>
                  </a:lnTo>
                  <a:lnTo>
                    <a:pt x="58" y="30"/>
                  </a:lnTo>
                  <a:lnTo>
                    <a:pt x="53" y="18"/>
                  </a:lnTo>
                  <a:lnTo>
                    <a:pt x="49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0" name="Freeform 124">
              <a:extLst>
                <a:ext uri="{FF2B5EF4-FFF2-40B4-BE49-F238E27FC236}">
                  <a16:creationId xmlns:a16="http://schemas.microsoft.com/office/drawing/2014/main" id="{CBD8D48E-271F-4B7B-9599-4B6CF672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96" y="4830795"/>
              <a:ext cx="17361" cy="18091"/>
            </a:xfrm>
            <a:custGeom>
              <a:avLst/>
              <a:gdLst>
                <a:gd name="T0" fmla="*/ 0 w 59"/>
                <a:gd name="T1" fmla="*/ 5 h 66"/>
                <a:gd name="T2" fmla="*/ 0 w 59"/>
                <a:gd name="T3" fmla="*/ 10 h 66"/>
                <a:gd name="T4" fmla="*/ 0 w 59"/>
                <a:gd name="T5" fmla="*/ 13 h 66"/>
                <a:gd name="T6" fmla="*/ 3 w 59"/>
                <a:gd name="T7" fmla="*/ 19 h 66"/>
                <a:gd name="T8" fmla="*/ 6 w 59"/>
                <a:gd name="T9" fmla="*/ 24 h 66"/>
                <a:gd name="T10" fmla="*/ 8 w 59"/>
                <a:gd name="T11" fmla="*/ 30 h 66"/>
                <a:gd name="T12" fmla="*/ 8 w 59"/>
                <a:gd name="T13" fmla="*/ 37 h 66"/>
                <a:gd name="T14" fmla="*/ 11 w 59"/>
                <a:gd name="T15" fmla="*/ 45 h 66"/>
                <a:gd name="T16" fmla="*/ 16 w 59"/>
                <a:gd name="T17" fmla="*/ 52 h 66"/>
                <a:gd name="T18" fmla="*/ 22 w 59"/>
                <a:gd name="T19" fmla="*/ 59 h 66"/>
                <a:gd name="T20" fmla="*/ 30 w 59"/>
                <a:gd name="T21" fmla="*/ 66 h 66"/>
                <a:gd name="T22" fmla="*/ 37 w 59"/>
                <a:gd name="T23" fmla="*/ 57 h 66"/>
                <a:gd name="T24" fmla="*/ 44 w 59"/>
                <a:gd name="T25" fmla="*/ 50 h 66"/>
                <a:gd name="T26" fmla="*/ 49 w 59"/>
                <a:gd name="T27" fmla="*/ 48 h 66"/>
                <a:gd name="T28" fmla="*/ 54 w 59"/>
                <a:gd name="T29" fmla="*/ 45 h 66"/>
                <a:gd name="T30" fmla="*/ 57 w 59"/>
                <a:gd name="T31" fmla="*/ 44 h 66"/>
                <a:gd name="T32" fmla="*/ 58 w 59"/>
                <a:gd name="T33" fmla="*/ 41 h 66"/>
                <a:gd name="T34" fmla="*/ 59 w 59"/>
                <a:gd name="T35" fmla="*/ 39 h 66"/>
                <a:gd name="T36" fmla="*/ 59 w 59"/>
                <a:gd name="T37" fmla="*/ 37 h 66"/>
                <a:gd name="T38" fmla="*/ 57 w 59"/>
                <a:gd name="T39" fmla="*/ 30 h 66"/>
                <a:gd name="T40" fmla="*/ 52 w 59"/>
                <a:gd name="T41" fmla="*/ 24 h 66"/>
                <a:gd name="T42" fmla="*/ 47 w 59"/>
                <a:gd name="T43" fmla="*/ 16 h 66"/>
                <a:gd name="T44" fmla="*/ 41 w 59"/>
                <a:gd name="T45" fmla="*/ 7 h 66"/>
                <a:gd name="T46" fmla="*/ 39 w 59"/>
                <a:gd name="T47" fmla="*/ 3 h 66"/>
                <a:gd name="T48" fmla="*/ 38 w 59"/>
                <a:gd name="T49" fmla="*/ 1 h 66"/>
                <a:gd name="T50" fmla="*/ 35 w 59"/>
                <a:gd name="T51" fmla="*/ 0 h 66"/>
                <a:gd name="T52" fmla="*/ 31 w 59"/>
                <a:gd name="T53" fmla="*/ 0 h 66"/>
                <a:gd name="T54" fmla="*/ 28 w 59"/>
                <a:gd name="T55" fmla="*/ 1 h 66"/>
                <a:gd name="T56" fmla="*/ 25 w 59"/>
                <a:gd name="T57" fmla="*/ 2 h 66"/>
                <a:gd name="T58" fmla="*/ 13 w 59"/>
                <a:gd name="T59" fmla="*/ 5 h 66"/>
                <a:gd name="T60" fmla="*/ 0 w 59"/>
                <a:gd name="T61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0" y="5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9"/>
                  </a:lnTo>
                  <a:lnTo>
                    <a:pt x="6" y="24"/>
                  </a:lnTo>
                  <a:lnTo>
                    <a:pt x="8" y="30"/>
                  </a:lnTo>
                  <a:lnTo>
                    <a:pt x="8" y="37"/>
                  </a:lnTo>
                  <a:lnTo>
                    <a:pt x="11" y="45"/>
                  </a:lnTo>
                  <a:lnTo>
                    <a:pt x="16" y="52"/>
                  </a:lnTo>
                  <a:lnTo>
                    <a:pt x="22" y="59"/>
                  </a:lnTo>
                  <a:lnTo>
                    <a:pt x="30" y="66"/>
                  </a:lnTo>
                  <a:lnTo>
                    <a:pt x="37" y="57"/>
                  </a:lnTo>
                  <a:lnTo>
                    <a:pt x="44" y="50"/>
                  </a:lnTo>
                  <a:lnTo>
                    <a:pt x="49" y="48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58" y="41"/>
                  </a:lnTo>
                  <a:lnTo>
                    <a:pt x="59" y="39"/>
                  </a:lnTo>
                  <a:lnTo>
                    <a:pt x="59" y="37"/>
                  </a:lnTo>
                  <a:lnTo>
                    <a:pt x="57" y="30"/>
                  </a:lnTo>
                  <a:lnTo>
                    <a:pt x="52" y="24"/>
                  </a:lnTo>
                  <a:lnTo>
                    <a:pt x="47" y="16"/>
                  </a:lnTo>
                  <a:lnTo>
                    <a:pt x="41" y="7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5" y="2"/>
                  </a:lnTo>
                  <a:lnTo>
                    <a:pt x="13" y="5"/>
                  </a:lnTo>
                  <a:lnTo>
                    <a:pt x="0" y="5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1" name="Freeform 125">
              <a:extLst>
                <a:ext uri="{FF2B5EF4-FFF2-40B4-BE49-F238E27FC236}">
                  <a16:creationId xmlns:a16="http://schemas.microsoft.com/office/drawing/2014/main" id="{3D5A8504-610E-4D5E-B601-608A7EDC8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492" y="4807050"/>
              <a:ext cx="40509" cy="14699"/>
            </a:xfrm>
            <a:custGeom>
              <a:avLst/>
              <a:gdLst>
                <a:gd name="T0" fmla="*/ 22 w 142"/>
                <a:gd name="T1" fmla="*/ 0 h 52"/>
                <a:gd name="T2" fmla="*/ 12 w 142"/>
                <a:gd name="T3" fmla="*/ 18 h 52"/>
                <a:gd name="T4" fmla="*/ 0 w 142"/>
                <a:gd name="T5" fmla="*/ 35 h 52"/>
                <a:gd name="T6" fmla="*/ 16 w 142"/>
                <a:gd name="T7" fmla="*/ 39 h 52"/>
                <a:gd name="T8" fmla="*/ 33 w 142"/>
                <a:gd name="T9" fmla="*/ 41 h 52"/>
                <a:gd name="T10" fmla="*/ 62 w 142"/>
                <a:gd name="T11" fmla="*/ 41 h 52"/>
                <a:gd name="T12" fmla="*/ 78 w 142"/>
                <a:gd name="T13" fmla="*/ 47 h 52"/>
                <a:gd name="T14" fmla="*/ 95 w 142"/>
                <a:gd name="T15" fmla="*/ 52 h 52"/>
                <a:gd name="T16" fmla="*/ 103 w 142"/>
                <a:gd name="T17" fmla="*/ 51 h 52"/>
                <a:gd name="T18" fmla="*/ 109 w 142"/>
                <a:gd name="T19" fmla="*/ 50 h 52"/>
                <a:gd name="T20" fmla="*/ 116 w 142"/>
                <a:gd name="T21" fmla="*/ 46 h 52"/>
                <a:gd name="T22" fmla="*/ 122 w 142"/>
                <a:gd name="T23" fmla="*/ 42 h 52"/>
                <a:gd name="T24" fmla="*/ 127 w 142"/>
                <a:gd name="T25" fmla="*/ 40 h 52"/>
                <a:gd name="T26" fmla="*/ 132 w 142"/>
                <a:gd name="T27" fmla="*/ 38 h 52"/>
                <a:gd name="T28" fmla="*/ 137 w 142"/>
                <a:gd name="T29" fmla="*/ 35 h 52"/>
                <a:gd name="T30" fmla="*/ 141 w 142"/>
                <a:gd name="T31" fmla="*/ 31 h 52"/>
                <a:gd name="T32" fmla="*/ 141 w 142"/>
                <a:gd name="T33" fmla="*/ 28 h 52"/>
                <a:gd name="T34" fmla="*/ 142 w 142"/>
                <a:gd name="T35" fmla="*/ 25 h 52"/>
                <a:gd name="T36" fmla="*/ 127 w 142"/>
                <a:gd name="T37" fmla="*/ 22 h 52"/>
                <a:gd name="T38" fmla="*/ 111 w 142"/>
                <a:gd name="T39" fmla="*/ 20 h 52"/>
                <a:gd name="T40" fmla="*/ 103 w 142"/>
                <a:gd name="T41" fmla="*/ 17 h 52"/>
                <a:gd name="T42" fmla="*/ 94 w 142"/>
                <a:gd name="T43" fmla="*/ 13 h 52"/>
                <a:gd name="T44" fmla="*/ 84 w 142"/>
                <a:gd name="T45" fmla="*/ 14 h 52"/>
                <a:gd name="T46" fmla="*/ 76 w 142"/>
                <a:gd name="T47" fmla="*/ 14 h 52"/>
                <a:gd name="T48" fmla="*/ 61 w 142"/>
                <a:gd name="T49" fmla="*/ 12 h 52"/>
                <a:gd name="T50" fmla="*/ 48 w 142"/>
                <a:gd name="T51" fmla="*/ 8 h 52"/>
                <a:gd name="T52" fmla="*/ 35 w 142"/>
                <a:gd name="T53" fmla="*/ 4 h 52"/>
                <a:gd name="T54" fmla="*/ 22 w 142"/>
                <a:gd name="T5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2" h="52">
                  <a:moveTo>
                    <a:pt x="22" y="0"/>
                  </a:moveTo>
                  <a:lnTo>
                    <a:pt x="12" y="18"/>
                  </a:lnTo>
                  <a:lnTo>
                    <a:pt x="0" y="35"/>
                  </a:lnTo>
                  <a:lnTo>
                    <a:pt x="16" y="39"/>
                  </a:lnTo>
                  <a:lnTo>
                    <a:pt x="33" y="41"/>
                  </a:lnTo>
                  <a:lnTo>
                    <a:pt x="62" y="41"/>
                  </a:lnTo>
                  <a:lnTo>
                    <a:pt x="78" y="47"/>
                  </a:lnTo>
                  <a:lnTo>
                    <a:pt x="95" y="52"/>
                  </a:lnTo>
                  <a:lnTo>
                    <a:pt x="103" y="51"/>
                  </a:lnTo>
                  <a:lnTo>
                    <a:pt x="109" y="50"/>
                  </a:lnTo>
                  <a:lnTo>
                    <a:pt x="116" y="46"/>
                  </a:lnTo>
                  <a:lnTo>
                    <a:pt x="122" y="42"/>
                  </a:lnTo>
                  <a:lnTo>
                    <a:pt x="127" y="40"/>
                  </a:lnTo>
                  <a:lnTo>
                    <a:pt x="132" y="38"/>
                  </a:lnTo>
                  <a:lnTo>
                    <a:pt x="137" y="35"/>
                  </a:lnTo>
                  <a:lnTo>
                    <a:pt x="141" y="31"/>
                  </a:lnTo>
                  <a:lnTo>
                    <a:pt x="141" y="28"/>
                  </a:lnTo>
                  <a:lnTo>
                    <a:pt x="142" y="25"/>
                  </a:lnTo>
                  <a:lnTo>
                    <a:pt x="127" y="22"/>
                  </a:lnTo>
                  <a:lnTo>
                    <a:pt x="111" y="20"/>
                  </a:lnTo>
                  <a:lnTo>
                    <a:pt x="103" y="17"/>
                  </a:lnTo>
                  <a:lnTo>
                    <a:pt x="94" y="13"/>
                  </a:lnTo>
                  <a:lnTo>
                    <a:pt x="84" y="14"/>
                  </a:lnTo>
                  <a:lnTo>
                    <a:pt x="76" y="14"/>
                  </a:lnTo>
                  <a:lnTo>
                    <a:pt x="61" y="12"/>
                  </a:lnTo>
                  <a:lnTo>
                    <a:pt x="48" y="8"/>
                  </a:lnTo>
                  <a:lnTo>
                    <a:pt x="35" y="4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2" name="Freeform 126">
              <a:extLst>
                <a:ext uri="{FF2B5EF4-FFF2-40B4-BE49-F238E27FC236}">
                  <a16:creationId xmlns:a16="http://schemas.microsoft.com/office/drawing/2014/main" id="{A317B503-077D-4587-9F8B-25BCFA3EE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260" y="4768608"/>
              <a:ext cx="42824" cy="36181"/>
            </a:xfrm>
            <a:custGeom>
              <a:avLst/>
              <a:gdLst>
                <a:gd name="T0" fmla="*/ 1 w 148"/>
                <a:gd name="T1" fmla="*/ 50 h 128"/>
                <a:gd name="T2" fmla="*/ 10 w 148"/>
                <a:gd name="T3" fmla="*/ 71 h 128"/>
                <a:gd name="T4" fmla="*/ 20 w 148"/>
                <a:gd name="T5" fmla="*/ 92 h 128"/>
                <a:gd name="T6" fmla="*/ 28 w 148"/>
                <a:gd name="T7" fmla="*/ 104 h 128"/>
                <a:gd name="T8" fmla="*/ 33 w 148"/>
                <a:gd name="T9" fmla="*/ 113 h 128"/>
                <a:gd name="T10" fmla="*/ 37 w 148"/>
                <a:gd name="T11" fmla="*/ 119 h 128"/>
                <a:gd name="T12" fmla="*/ 43 w 148"/>
                <a:gd name="T13" fmla="*/ 121 h 128"/>
                <a:gd name="T14" fmla="*/ 48 w 148"/>
                <a:gd name="T15" fmla="*/ 115 h 128"/>
                <a:gd name="T16" fmla="*/ 53 w 148"/>
                <a:gd name="T17" fmla="*/ 106 h 128"/>
                <a:gd name="T18" fmla="*/ 56 w 148"/>
                <a:gd name="T19" fmla="*/ 103 h 128"/>
                <a:gd name="T20" fmla="*/ 64 w 148"/>
                <a:gd name="T21" fmla="*/ 103 h 128"/>
                <a:gd name="T22" fmla="*/ 72 w 148"/>
                <a:gd name="T23" fmla="*/ 105 h 128"/>
                <a:gd name="T24" fmla="*/ 76 w 148"/>
                <a:gd name="T25" fmla="*/ 111 h 128"/>
                <a:gd name="T26" fmla="*/ 81 w 148"/>
                <a:gd name="T27" fmla="*/ 121 h 128"/>
                <a:gd name="T28" fmla="*/ 93 w 148"/>
                <a:gd name="T29" fmla="*/ 127 h 128"/>
                <a:gd name="T30" fmla="*/ 109 w 148"/>
                <a:gd name="T31" fmla="*/ 126 h 128"/>
                <a:gd name="T32" fmla="*/ 133 w 148"/>
                <a:gd name="T33" fmla="*/ 116 h 128"/>
                <a:gd name="T34" fmla="*/ 145 w 148"/>
                <a:gd name="T35" fmla="*/ 100 h 128"/>
                <a:gd name="T36" fmla="*/ 138 w 148"/>
                <a:gd name="T37" fmla="*/ 87 h 128"/>
                <a:gd name="T38" fmla="*/ 132 w 148"/>
                <a:gd name="T39" fmla="*/ 82 h 128"/>
                <a:gd name="T40" fmla="*/ 120 w 148"/>
                <a:gd name="T41" fmla="*/ 78 h 128"/>
                <a:gd name="T42" fmla="*/ 108 w 148"/>
                <a:gd name="T43" fmla="*/ 75 h 128"/>
                <a:gd name="T44" fmla="*/ 103 w 148"/>
                <a:gd name="T45" fmla="*/ 70 h 128"/>
                <a:gd name="T46" fmla="*/ 98 w 148"/>
                <a:gd name="T47" fmla="*/ 61 h 128"/>
                <a:gd name="T48" fmla="*/ 92 w 148"/>
                <a:gd name="T49" fmla="*/ 43 h 128"/>
                <a:gd name="T50" fmla="*/ 83 w 148"/>
                <a:gd name="T51" fmla="*/ 18 h 128"/>
                <a:gd name="T52" fmla="*/ 77 w 148"/>
                <a:gd name="T53" fmla="*/ 4 h 128"/>
                <a:gd name="T54" fmla="*/ 74 w 148"/>
                <a:gd name="T55" fmla="*/ 1 h 128"/>
                <a:gd name="T56" fmla="*/ 67 w 148"/>
                <a:gd name="T57" fmla="*/ 2 h 128"/>
                <a:gd name="T58" fmla="*/ 60 w 148"/>
                <a:gd name="T59" fmla="*/ 12 h 128"/>
                <a:gd name="T60" fmla="*/ 49 w 148"/>
                <a:gd name="T61" fmla="*/ 26 h 128"/>
                <a:gd name="T62" fmla="*/ 34 w 148"/>
                <a:gd name="T63" fmla="*/ 35 h 128"/>
                <a:gd name="T64" fmla="*/ 17 w 148"/>
                <a:gd name="T65" fmla="*/ 38 h 128"/>
                <a:gd name="T66" fmla="*/ 5 w 148"/>
                <a:gd name="T67" fmla="*/ 38 h 128"/>
                <a:gd name="T68" fmla="*/ 0 w 148"/>
                <a:gd name="T69" fmla="*/ 4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128">
                  <a:moveTo>
                    <a:pt x="0" y="44"/>
                  </a:moveTo>
                  <a:lnTo>
                    <a:pt x="1" y="50"/>
                  </a:lnTo>
                  <a:lnTo>
                    <a:pt x="4" y="56"/>
                  </a:lnTo>
                  <a:lnTo>
                    <a:pt x="10" y="71"/>
                  </a:lnTo>
                  <a:lnTo>
                    <a:pt x="16" y="86"/>
                  </a:lnTo>
                  <a:lnTo>
                    <a:pt x="20" y="92"/>
                  </a:lnTo>
                  <a:lnTo>
                    <a:pt x="25" y="97"/>
                  </a:lnTo>
                  <a:lnTo>
                    <a:pt x="28" y="104"/>
                  </a:lnTo>
                  <a:lnTo>
                    <a:pt x="32" y="110"/>
                  </a:lnTo>
                  <a:lnTo>
                    <a:pt x="33" y="113"/>
                  </a:lnTo>
                  <a:lnTo>
                    <a:pt x="34" y="116"/>
                  </a:lnTo>
                  <a:lnTo>
                    <a:pt x="37" y="119"/>
                  </a:lnTo>
                  <a:lnTo>
                    <a:pt x="40" y="121"/>
                  </a:lnTo>
                  <a:lnTo>
                    <a:pt x="43" y="121"/>
                  </a:lnTo>
                  <a:lnTo>
                    <a:pt x="47" y="121"/>
                  </a:lnTo>
                  <a:lnTo>
                    <a:pt x="48" y="115"/>
                  </a:lnTo>
                  <a:lnTo>
                    <a:pt x="50" y="109"/>
                  </a:lnTo>
                  <a:lnTo>
                    <a:pt x="53" y="106"/>
                  </a:lnTo>
                  <a:lnTo>
                    <a:pt x="54" y="104"/>
                  </a:lnTo>
                  <a:lnTo>
                    <a:pt x="56" y="103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9" y="104"/>
                  </a:lnTo>
                  <a:lnTo>
                    <a:pt x="72" y="105"/>
                  </a:lnTo>
                  <a:lnTo>
                    <a:pt x="75" y="109"/>
                  </a:lnTo>
                  <a:lnTo>
                    <a:pt x="76" y="111"/>
                  </a:lnTo>
                  <a:lnTo>
                    <a:pt x="76" y="115"/>
                  </a:lnTo>
                  <a:lnTo>
                    <a:pt x="81" y="121"/>
                  </a:lnTo>
                  <a:lnTo>
                    <a:pt x="87" y="125"/>
                  </a:lnTo>
                  <a:lnTo>
                    <a:pt x="93" y="127"/>
                  </a:lnTo>
                  <a:lnTo>
                    <a:pt x="100" y="128"/>
                  </a:lnTo>
                  <a:lnTo>
                    <a:pt x="109" y="126"/>
                  </a:lnTo>
                  <a:lnTo>
                    <a:pt x="119" y="122"/>
                  </a:lnTo>
                  <a:lnTo>
                    <a:pt x="133" y="116"/>
                  </a:lnTo>
                  <a:lnTo>
                    <a:pt x="148" y="110"/>
                  </a:lnTo>
                  <a:lnTo>
                    <a:pt x="145" y="100"/>
                  </a:lnTo>
                  <a:lnTo>
                    <a:pt x="141" y="90"/>
                  </a:lnTo>
                  <a:lnTo>
                    <a:pt x="138" y="87"/>
                  </a:lnTo>
                  <a:lnTo>
                    <a:pt x="136" y="84"/>
                  </a:lnTo>
                  <a:lnTo>
                    <a:pt x="132" y="82"/>
                  </a:lnTo>
                  <a:lnTo>
                    <a:pt x="129" y="81"/>
                  </a:lnTo>
                  <a:lnTo>
                    <a:pt x="120" y="78"/>
                  </a:lnTo>
                  <a:lnTo>
                    <a:pt x="110" y="76"/>
                  </a:lnTo>
                  <a:lnTo>
                    <a:pt x="108" y="75"/>
                  </a:lnTo>
                  <a:lnTo>
                    <a:pt x="105" y="72"/>
                  </a:lnTo>
                  <a:lnTo>
                    <a:pt x="103" y="70"/>
                  </a:lnTo>
                  <a:lnTo>
                    <a:pt x="100" y="67"/>
                  </a:lnTo>
                  <a:lnTo>
                    <a:pt x="98" y="61"/>
                  </a:lnTo>
                  <a:lnTo>
                    <a:pt x="96" y="55"/>
                  </a:lnTo>
                  <a:lnTo>
                    <a:pt x="92" y="43"/>
                  </a:lnTo>
                  <a:lnTo>
                    <a:pt x="87" y="30"/>
                  </a:lnTo>
                  <a:lnTo>
                    <a:pt x="83" y="18"/>
                  </a:lnTo>
                  <a:lnTo>
                    <a:pt x="80" y="6"/>
                  </a:lnTo>
                  <a:lnTo>
                    <a:pt x="77" y="4"/>
                  </a:lnTo>
                  <a:lnTo>
                    <a:pt x="76" y="2"/>
                  </a:lnTo>
                  <a:lnTo>
                    <a:pt x="74" y="1"/>
                  </a:lnTo>
                  <a:lnTo>
                    <a:pt x="70" y="0"/>
                  </a:lnTo>
                  <a:lnTo>
                    <a:pt x="67" y="2"/>
                  </a:lnTo>
                  <a:lnTo>
                    <a:pt x="66" y="6"/>
                  </a:lnTo>
                  <a:lnTo>
                    <a:pt x="60" y="12"/>
                  </a:lnTo>
                  <a:lnTo>
                    <a:pt x="55" y="18"/>
                  </a:lnTo>
                  <a:lnTo>
                    <a:pt x="49" y="26"/>
                  </a:lnTo>
                  <a:lnTo>
                    <a:pt x="42" y="32"/>
                  </a:lnTo>
                  <a:lnTo>
                    <a:pt x="34" y="35"/>
                  </a:lnTo>
                  <a:lnTo>
                    <a:pt x="25" y="38"/>
                  </a:lnTo>
                  <a:lnTo>
                    <a:pt x="17" y="38"/>
                  </a:lnTo>
                  <a:lnTo>
                    <a:pt x="9" y="38"/>
                  </a:lnTo>
                  <a:lnTo>
                    <a:pt x="5" y="38"/>
                  </a:lnTo>
                  <a:lnTo>
                    <a:pt x="3" y="39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3" name="Freeform 127">
              <a:extLst>
                <a:ext uri="{FF2B5EF4-FFF2-40B4-BE49-F238E27FC236}">
                  <a16:creationId xmlns:a16="http://schemas.microsoft.com/office/drawing/2014/main" id="{4E572F96-CF94-4DEB-999F-7F02545F8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732" y="4727904"/>
              <a:ext cx="37037" cy="28267"/>
            </a:xfrm>
            <a:custGeom>
              <a:avLst/>
              <a:gdLst>
                <a:gd name="T0" fmla="*/ 0 w 130"/>
                <a:gd name="T1" fmla="*/ 57 h 101"/>
                <a:gd name="T2" fmla="*/ 13 w 130"/>
                <a:gd name="T3" fmla="*/ 60 h 101"/>
                <a:gd name="T4" fmla="*/ 25 w 130"/>
                <a:gd name="T5" fmla="*/ 65 h 101"/>
                <a:gd name="T6" fmla="*/ 29 w 130"/>
                <a:gd name="T7" fmla="*/ 68 h 101"/>
                <a:gd name="T8" fmla="*/ 34 w 130"/>
                <a:gd name="T9" fmla="*/ 70 h 101"/>
                <a:gd name="T10" fmla="*/ 39 w 130"/>
                <a:gd name="T11" fmla="*/ 73 h 101"/>
                <a:gd name="T12" fmla="*/ 43 w 130"/>
                <a:gd name="T13" fmla="*/ 76 h 101"/>
                <a:gd name="T14" fmla="*/ 48 w 130"/>
                <a:gd name="T15" fmla="*/ 81 h 101"/>
                <a:gd name="T16" fmla="*/ 53 w 130"/>
                <a:gd name="T17" fmla="*/ 86 h 101"/>
                <a:gd name="T18" fmla="*/ 58 w 130"/>
                <a:gd name="T19" fmla="*/ 90 h 101"/>
                <a:gd name="T20" fmla="*/ 64 w 130"/>
                <a:gd name="T21" fmla="*/ 92 h 101"/>
                <a:gd name="T22" fmla="*/ 70 w 130"/>
                <a:gd name="T23" fmla="*/ 95 h 101"/>
                <a:gd name="T24" fmla="*/ 73 w 130"/>
                <a:gd name="T25" fmla="*/ 97 h 101"/>
                <a:gd name="T26" fmla="*/ 80 w 130"/>
                <a:gd name="T27" fmla="*/ 100 h 101"/>
                <a:gd name="T28" fmla="*/ 84 w 130"/>
                <a:gd name="T29" fmla="*/ 101 h 101"/>
                <a:gd name="T30" fmla="*/ 89 w 130"/>
                <a:gd name="T31" fmla="*/ 100 h 101"/>
                <a:gd name="T32" fmla="*/ 92 w 130"/>
                <a:gd name="T33" fmla="*/ 98 h 101"/>
                <a:gd name="T34" fmla="*/ 94 w 130"/>
                <a:gd name="T35" fmla="*/ 96 h 101"/>
                <a:gd name="T36" fmla="*/ 97 w 130"/>
                <a:gd name="T37" fmla="*/ 92 h 101"/>
                <a:gd name="T38" fmla="*/ 100 w 130"/>
                <a:gd name="T39" fmla="*/ 85 h 101"/>
                <a:gd name="T40" fmla="*/ 104 w 130"/>
                <a:gd name="T41" fmla="*/ 78 h 101"/>
                <a:gd name="T42" fmla="*/ 114 w 130"/>
                <a:gd name="T43" fmla="*/ 67 h 101"/>
                <a:gd name="T44" fmla="*/ 121 w 130"/>
                <a:gd name="T45" fmla="*/ 53 h 101"/>
                <a:gd name="T46" fmla="*/ 125 w 130"/>
                <a:gd name="T47" fmla="*/ 43 h 101"/>
                <a:gd name="T48" fmla="*/ 127 w 130"/>
                <a:gd name="T49" fmla="*/ 35 h 101"/>
                <a:gd name="T50" fmla="*/ 130 w 130"/>
                <a:gd name="T51" fmla="*/ 25 h 101"/>
                <a:gd name="T52" fmla="*/ 130 w 130"/>
                <a:gd name="T53" fmla="*/ 14 h 101"/>
                <a:gd name="T54" fmla="*/ 130 w 130"/>
                <a:gd name="T55" fmla="*/ 11 h 101"/>
                <a:gd name="T56" fmla="*/ 129 w 130"/>
                <a:gd name="T57" fmla="*/ 10 h 101"/>
                <a:gd name="T58" fmla="*/ 126 w 130"/>
                <a:gd name="T59" fmla="*/ 9 h 101"/>
                <a:gd name="T60" fmla="*/ 124 w 130"/>
                <a:gd name="T61" fmla="*/ 7 h 101"/>
                <a:gd name="T62" fmla="*/ 120 w 130"/>
                <a:gd name="T63" fmla="*/ 4 h 101"/>
                <a:gd name="T64" fmla="*/ 115 w 130"/>
                <a:gd name="T65" fmla="*/ 2 h 101"/>
                <a:gd name="T66" fmla="*/ 111 w 130"/>
                <a:gd name="T67" fmla="*/ 2 h 101"/>
                <a:gd name="T68" fmla="*/ 107 w 130"/>
                <a:gd name="T69" fmla="*/ 0 h 101"/>
                <a:gd name="T70" fmla="*/ 95 w 130"/>
                <a:gd name="T71" fmla="*/ 2 h 101"/>
                <a:gd name="T72" fmla="*/ 87 w 130"/>
                <a:gd name="T73" fmla="*/ 2 h 101"/>
                <a:gd name="T74" fmla="*/ 78 w 130"/>
                <a:gd name="T75" fmla="*/ 3 h 101"/>
                <a:gd name="T76" fmla="*/ 69 w 130"/>
                <a:gd name="T77" fmla="*/ 4 h 101"/>
                <a:gd name="T78" fmla="*/ 59 w 130"/>
                <a:gd name="T79" fmla="*/ 4 h 101"/>
                <a:gd name="T80" fmla="*/ 50 w 130"/>
                <a:gd name="T81" fmla="*/ 5 h 101"/>
                <a:gd name="T82" fmla="*/ 44 w 130"/>
                <a:gd name="T83" fmla="*/ 8 h 101"/>
                <a:gd name="T84" fmla="*/ 38 w 130"/>
                <a:gd name="T85" fmla="*/ 11 h 101"/>
                <a:gd name="T86" fmla="*/ 33 w 130"/>
                <a:gd name="T87" fmla="*/ 14 h 101"/>
                <a:gd name="T88" fmla="*/ 29 w 130"/>
                <a:gd name="T89" fmla="*/ 19 h 101"/>
                <a:gd name="T90" fmla="*/ 22 w 130"/>
                <a:gd name="T91" fmla="*/ 27 h 101"/>
                <a:gd name="T92" fmla="*/ 15 w 130"/>
                <a:gd name="T93" fmla="*/ 38 h 101"/>
                <a:gd name="T94" fmla="*/ 7 w 130"/>
                <a:gd name="T95" fmla="*/ 47 h 101"/>
                <a:gd name="T96" fmla="*/ 0 w 130"/>
                <a:gd name="T97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01">
                  <a:moveTo>
                    <a:pt x="0" y="57"/>
                  </a:moveTo>
                  <a:lnTo>
                    <a:pt x="13" y="60"/>
                  </a:lnTo>
                  <a:lnTo>
                    <a:pt x="25" y="65"/>
                  </a:lnTo>
                  <a:lnTo>
                    <a:pt x="29" y="68"/>
                  </a:lnTo>
                  <a:lnTo>
                    <a:pt x="34" y="70"/>
                  </a:lnTo>
                  <a:lnTo>
                    <a:pt x="39" y="73"/>
                  </a:lnTo>
                  <a:lnTo>
                    <a:pt x="43" y="76"/>
                  </a:lnTo>
                  <a:lnTo>
                    <a:pt x="48" y="81"/>
                  </a:lnTo>
                  <a:lnTo>
                    <a:pt x="53" y="86"/>
                  </a:lnTo>
                  <a:lnTo>
                    <a:pt x="58" y="90"/>
                  </a:lnTo>
                  <a:lnTo>
                    <a:pt x="64" y="92"/>
                  </a:lnTo>
                  <a:lnTo>
                    <a:pt x="70" y="95"/>
                  </a:lnTo>
                  <a:lnTo>
                    <a:pt x="73" y="97"/>
                  </a:lnTo>
                  <a:lnTo>
                    <a:pt x="80" y="100"/>
                  </a:lnTo>
                  <a:lnTo>
                    <a:pt x="84" y="101"/>
                  </a:lnTo>
                  <a:lnTo>
                    <a:pt x="89" y="100"/>
                  </a:lnTo>
                  <a:lnTo>
                    <a:pt x="92" y="98"/>
                  </a:lnTo>
                  <a:lnTo>
                    <a:pt x="94" y="96"/>
                  </a:lnTo>
                  <a:lnTo>
                    <a:pt x="97" y="92"/>
                  </a:lnTo>
                  <a:lnTo>
                    <a:pt x="100" y="85"/>
                  </a:lnTo>
                  <a:lnTo>
                    <a:pt x="104" y="78"/>
                  </a:lnTo>
                  <a:lnTo>
                    <a:pt x="114" y="67"/>
                  </a:lnTo>
                  <a:lnTo>
                    <a:pt x="121" y="53"/>
                  </a:lnTo>
                  <a:lnTo>
                    <a:pt x="125" y="43"/>
                  </a:lnTo>
                  <a:lnTo>
                    <a:pt x="127" y="35"/>
                  </a:lnTo>
                  <a:lnTo>
                    <a:pt x="130" y="25"/>
                  </a:lnTo>
                  <a:lnTo>
                    <a:pt x="130" y="14"/>
                  </a:lnTo>
                  <a:lnTo>
                    <a:pt x="130" y="11"/>
                  </a:lnTo>
                  <a:lnTo>
                    <a:pt x="129" y="10"/>
                  </a:lnTo>
                  <a:lnTo>
                    <a:pt x="126" y="9"/>
                  </a:lnTo>
                  <a:lnTo>
                    <a:pt x="124" y="7"/>
                  </a:lnTo>
                  <a:lnTo>
                    <a:pt x="120" y="4"/>
                  </a:lnTo>
                  <a:lnTo>
                    <a:pt x="115" y="2"/>
                  </a:lnTo>
                  <a:lnTo>
                    <a:pt x="111" y="2"/>
                  </a:lnTo>
                  <a:lnTo>
                    <a:pt x="107" y="0"/>
                  </a:lnTo>
                  <a:lnTo>
                    <a:pt x="95" y="2"/>
                  </a:lnTo>
                  <a:lnTo>
                    <a:pt x="87" y="2"/>
                  </a:lnTo>
                  <a:lnTo>
                    <a:pt x="78" y="3"/>
                  </a:lnTo>
                  <a:lnTo>
                    <a:pt x="69" y="4"/>
                  </a:lnTo>
                  <a:lnTo>
                    <a:pt x="59" y="4"/>
                  </a:lnTo>
                  <a:lnTo>
                    <a:pt x="50" y="5"/>
                  </a:lnTo>
                  <a:lnTo>
                    <a:pt x="44" y="8"/>
                  </a:lnTo>
                  <a:lnTo>
                    <a:pt x="38" y="11"/>
                  </a:lnTo>
                  <a:lnTo>
                    <a:pt x="33" y="14"/>
                  </a:lnTo>
                  <a:lnTo>
                    <a:pt x="29" y="19"/>
                  </a:lnTo>
                  <a:lnTo>
                    <a:pt x="22" y="27"/>
                  </a:lnTo>
                  <a:lnTo>
                    <a:pt x="15" y="38"/>
                  </a:lnTo>
                  <a:lnTo>
                    <a:pt x="7" y="47"/>
                  </a:lnTo>
                  <a:lnTo>
                    <a:pt x="0" y="57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4" name="Freeform 128">
              <a:extLst>
                <a:ext uri="{FF2B5EF4-FFF2-40B4-BE49-F238E27FC236}">
                  <a16:creationId xmlns:a16="http://schemas.microsoft.com/office/drawing/2014/main" id="{DACAF9AF-4480-4F07-90A5-CF851CBB9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010" y="4744864"/>
              <a:ext cx="15046" cy="16960"/>
            </a:xfrm>
            <a:custGeom>
              <a:avLst/>
              <a:gdLst>
                <a:gd name="T0" fmla="*/ 0 w 53"/>
                <a:gd name="T1" fmla="*/ 39 h 57"/>
                <a:gd name="T2" fmla="*/ 0 w 53"/>
                <a:gd name="T3" fmla="*/ 57 h 57"/>
                <a:gd name="T4" fmla="*/ 10 w 53"/>
                <a:gd name="T5" fmla="*/ 52 h 57"/>
                <a:gd name="T6" fmla="*/ 19 w 53"/>
                <a:gd name="T7" fmla="*/ 46 h 57"/>
                <a:gd name="T8" fmla="*/ 28 w 53"/>
                <a:gd name="T9" fmla="*/ 41 h 57"/>
                <a:gd name="T10" fmla="*/ 37 w 53"/>
                <a:gd name="T11" fmla="*/ 36 h 57"/>
                <a:gd name="T12" fmla="*/ 41 w 53"/>
                <a:gd name="T13" fmla="*/ 34 h 57"/>
                <a:gd name="T14" fmla="*/ 44 w 53"/>
                <a:gd name="T15" fmla="*/ 30 h 57"/>
                <a:gd name="T16" fmla="*/ 47 w 53"/>
                <a:gd name="T17" fmla="*/ 25 h 57"/>
                <a:gd name="T18" fmla="*/ 49 w 53"/>
                <a:gd name="T19" fmla="*/ 22 h 57"/>
                <a:gd name="T20" fmla="*/ 52 w 53"/>
                <a:gd name="T21" fmla="*/ 12 h 57"/>
                <a:gd name="T22" fmla="*/ 53 w 53"/>
                <a:gd name="T23" fmla="*/ 2 h 57"/>
                <a:gd name="T24" fmla="*/ 50 w 53"/>
                <a:gd name="T25" fmla="*/ 1 h 57"/>
                <a:gd name="T26" fmla="*/ 47 w 53"/>
                <a:gd name="T27" fmla="*/ 0 h 57"/>
                <a:gd name="T28" fmla="*/ 39 w 53"/>
                <a:gd name="T29" fmla="*/ 1 h 57"/>
                <a:gd name="T30" fmla="*/ 33 w 53"/>
                <a:gd name="T31" fmla="*/ 5 h 57"/>
                <a:gd name="T32" fmla="*/ 28 w 53"/>
                <a:gd name="T33" fmla="*/ 9 h 57"/>
                <a:gd name="T34" fmla="*/ 22 w 53"/>
                <a:gd name="T35" fmla="*/ 14 h 57"/>
                <a:gd name="T36" fmla="*/ 14 w 53"/>
                <a:gd name="T37" fmla="*/ 19 h 57"/>
                <a:gd name="T38" fmla="*/ 8 w 53"/>
                <a:gd name="T39" fmla="*/ 24 h 57"/>
                <a:gd name="T40" fmla="*/ 4 w 53"/>
                <a:gd name="T41" fmla="*/ 28 h 57"/>
                <a:gd name="T42" fmla="*/ 3 w 53"/>
                <a:gd name="T43" fmla="*/ 31 h 57"/>
                <a:gd name="T44" fmla="*/ 2 w 53"/>
                <a:gd name="T45" fmla="*/ 35 h 57"/>
                <a:gd name="T46" fmla="*/ 0 w 53"/>
                <a:gd name="T47" fmla="*/ 3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" h="57">
                  <a:moveTo>
                    <a:pt x="0" y="39"/>
                  </a:moveTo>
                  <a:lnTo>
                    <a:pt x="0" y="57"/>
                  </a:lnTo>
                  <a:lnTo>
                    <a:pt x="10" y="52"/>
                  </a:lnTo>
                  <a:lnTo>
                    <a:pt x="19" y="46"/>
                  </a:lnTo>
                  <a:lnTo>
                    <a:pt x="28" y="41"/>
                  </a:lnTo>
                  <a:lnTo>
                    <a:pt x="37" y="36"/>
                  </a:lnTo>
                  <a:lnTo>
                    <a:pt x="41" y="34"/>
                  </a:lnTo>
                  <a:lnTo>
                    <a:pt x="44" y="30"/>
                  </a:lnTo>
                  <a:lnTo>
                    <a:pt x="47" y="25"/>
                  </a:lnTo>
                  <a:lnTo>
                    <a:pt x="49" y="22"/>
                  </a:lnTo>
                  <a:lnTo>
                    <a:pt x="52" y="12"/>
                  </a:lnTo>
                  <a:lnTo>
                    <a:pt x="53" y="2"/>
                  </a:lnTo>
                  <a:lnTo>
                    <a:pt x="50" y="1"/>
                  </a:lnTo>
                  <a:lnTo>
                    <a:pt x="47" y="0"/>
                  </a:lnTo>
                  <a:lnTo>
                    <a:pt x="39" y="1"/>
                  </a:lnTo>
                  <a:lnTo>
                    <a:pt x="33" y="5"/>
                  </a:lnTo>
                  <a:lnTo>
                    <a:pt x="28" y="9"/>
                  </a:lnTo>
                  <a:lnTo>
                    <a:pt x="22" y="14"/>
                  </a:lnTo>
                  <a:lnTo>
                    <a:pt x="14" y="19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3" y="31"/>
                  </a:lnTo>
                  <a:lnTo>
                    <a:pt x="2" y="35"/>
                  </a:lnTo>
                  <a:lnTo>
                    <a:pt x="0" y="39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5" name="Freeform 148">
              <a:extLst>
                <a:ext uri="{FF2B5EF4-FFF2-40B4-BE49-F238E27FC236}">
                  <a16:creationId xmlns:a16="http://schemas.microsoft.com/office/drawing/2014/main" id="{82021DD1-F053-41F4-B571-BF43F79DD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242" y="4883937"/>
              <a:ext cx="97223" cy="109675"/>
            </a:xfrm>
            <a:custGeom>
              <a:avLst/>
              <a:gdLst>
                <a:gd name="T0" fmla="*/ 54 w 333"/>
                <a:gd name="T1" fmla="*/ 0 h 391"/>
                <a:gd name="T2" fmla="*/ 44 w 333"/>
                <a:gd name="T3" fmla="*/ 9 h 391"/>
                <a:gd name="T4" fmla="*/ 46 w 333"/>
                <a:gd name="T5" fmla="*/ 29 h 391"/>
                <a:gd name="T6" fmla="*/ 51 w 333"/>
                <a:gd name="T7" fmla="*/ 52 h 391"/>
                <a:gd name="T8" fmla="*/ 52 w 333"/>
                <a:gd name="T9" fmla="*/ 70 h 391"/>
                <a:gd name="T10" fmla="*/ 48 w 333"/>
                <a:gd name="T11" fmla="*/ 77 h 391"/>
                <a:gd name="T12" fmla="*/ 38 w 333"/>
                <a:gd name="T13" fmla="*/ 89 h 391"/>
                <a:gd name="T14" fmla="*/ 29 w 333"/>
                <a:gd name="T15" fmla="*/ 107 h 391"/>
                <a:gd name="T16" fmla="*/ 14 w 333"/>
                <a:gd name="T17" fmla="*/ 126 h 391"/>
                <a:gd name="T18" fmla="*/ 4 w 333"/>
                <a:gd name="T19" fmla="*/ 140 h 391"/>
                <a:gd name="T20" fmla="*/ 0 w 333"/>
                <a:gd name="T21" fmla="*/ 150 h 391"/>
                <a:gd name="T22" fmla="*/ 3 w 333"/>
                <a:gd name="T23" fmla="*/ 163 h 391"/>
                <a:gd name="T24" fmla="*/ 9 w 333"/>
                <a:gd name="T25" fmla="*/ 180 h 391"/>
                <a:gd name="T26" fmla="*/ 19 w 333"/>
                <a:gd name="T27" fmla="*/ 205 h 391"/>
                <a:gd name="T28" fmla="*/ 32 w 333"/>
                <a:gd name="T29" fmla="*/ 234 h 391"/>
                <a:gd name="T30" fmla="*/ 38 w 333"/>
                <a:gd name="T31" fmla="*/ 260 h 391"/>
                <a:gd name="T32" fmla="*/ 40 w 333"/>
                <a:gd name="T33" fmla="*/ 305 h 391"/>
                <a:gd name="T34" fmla="*/ 32 w 333"/>
                <a:gd name="T35" fmla="*/ 332 h 391"/>
                <a:gd name="T36" fmla="*/ 35 w 333"/>
                <a:gd name="T37" fmla="*/ 343 h 391"/>
                <a:gd name="T38" fmla="*/ 41 w 333"/>
                <a:gd name="T39" fmla="*/ 352 h 391"/>
                <a:gd name="T40" fmla="*/ 59 w 333"/>
                <a:gd name="T41" fmla="*/ 366 h 391"/>
                <a:gd name="T42" fmla="*/ 75 w 333"/>
                <a:gd name="T43" fmla="*/ 384 h 391"/>
                <a:gd name="T44" fmla="*/ 87 w 333"/>
                <a:gd name="T45" fmla="*/ 391 h 391"/>
                <a:gd name="T46" fmla="*/ 100 w 333"/>
                <a:gd name="T47" fmla="*/ 385 h 391"/>
                <a:gd name="T48" fmla="*/ 120 w 333"/>
                <a:gd name="T49" fmla="*/ 364 h 391"/>
                <a:gd name="T50" fmla="*/ 142 w 333"/>
                <a:gd name="T51" fmla="*/ 338 h 391"/>
                <a:gd name="T52" fmla="*/ 145 w 333"/>
                <a:gd name="T53" fmla="*/ 332 h 391"/>
                <a:gd name="T54" fmla="*/ 151 w 333"/>
                <a:gd name="T55" fmla="*/ 328 h 391"/>
                <a:gd name="T56" fmla="*/ 171 w 333"/>
                <a:gd name="T57" fmla="*/ 305 h 391"/>
                <a:gd name="T58" fmla="*/ 182 w 333"/>
                <a:gd name="T59" fmla="*/ 295 h 391"/>
                <a:gd name="T60" fmla="*/ 195 w 333"/>
                <a:gd name="T61" fmla="*/ 289 h 391"/>
                <a:gd name="T62" fmla="*/ 212 w 333"/>
                <a:gd name="T63" fmla="*/ 292 h 391"/>
                <a:gd name="T64" fmla="*/ 230 w 333"/>
                <a:gd name="T65" fmla="*/ 292 h 391"/>
                <a:gd name="T66" fmla="*/ 249 w 333"/>
                <a:gd name="T67" fmla="*/ 288 h 391"/>
                <a:gd name="T68" fmla="*/ 278 w 333"/>
                <a:gd name="T69" fmla="*/ 273 h 391"/>
                <a:gd name="T70" fmla="*/ 301 w 333"/>
                <a:gd name="T71" fmla="*/ 254 h 391"/>
                <a:gd name="T72" fmla="*/ 320 w 333"/>
                <a:gd name="T73" fmla="*/ 238 h 391"/>
                <a:gd name="T74" fmla="*/ 327 w 333"/>
                <a:gd name="T75" fmla="*/ 229 h 391"/>
                <a:gd name="T76" fmla="*/ 333 w 333"/>
                <a:gd name="T77" fmla="*/ 217 h 391"/>
                <a:gd name="T78" fmla="*/ 319 w 333"/>
                <a:gd name="T79" fmla="*/ 210 h 391"/>
                <a:gd name="T80" fmla="*/ 306 w 333"/>
                <a:gd name="T81" fmla="*/ 200 h 391"/>
                <a:gd name="T82" fmla="*/ 297 w 333"/>
                <a:gd name="T83" fmla="*/ 188 h 391"/>
                <a:gd name="T84" fmla="*/ 297 w 333"/>
                <a:gd name="T85" fmla="*/ 178 h 391"/>
                <a:gd name="T86" fmla="*/ 294 w 333"/>
                <a:gd name="T87" fmla="*/ 169 h 391"/>
                <a:gd name="T88" fmla="*/ 264 w 333"/>
                <a:gd name="T89" fmla="*/ 156 h 391"/>
                <a:gd name="T90" fmla="*/ 261 w 333"/>
                <a:gd name="T91" fmla="*/ 144 h 391"/>
                <a:gd name="T92" fmla="*/ 261 w 333"/>
                <a:gd name="T93" fmla="*/ 131 h 391"/>
                <a:gd name="T94" fmla="*/ 261 w 333"/>
                <a:gd name="T95" fmla="*/ 118 h 391"/>
                <a:gd name="T96" fmla="*/ 257 w 333"/>
                <a:gd name="T97" fmla="*/ 106 h 391"/>
                <a:gd name="T98" fmla="*/ 234 w 333"/>
                <a:gd name="T99" fmla="*/ 91 h 391"/>
                <a:gd name="T100" fmla="*/ 223 w 333"/>
                <a:gd name="T101" fmla="*/ 80 h 391"/>
                <a:gd name="T102" fmla="*/ 200 w 333"/>
                <a:gd name="T103" fmla="*/ 69 h 391"/>
                <a:gd name="T104" fmla="*/ 175 w 333"/>
                <a:gd name="T105" fmla="*/ 59 h 391"/>
                <a:gd name="T106" fmla="*/ 148 w 333"/>
                <a:gd name="T107" fmla="*/ 48 h 391"/>
                <a:gd name="T108" fmla="*/ 120 w 333"/>
                <a:gd name="T109" fmla="*/ 38 h 391"/>
                <a:gd name="T110" fmla="*/ 91 w 333"/>
                <a:gd name="T111" fmla="*/ 27 h 391"/>
                <a:gd name="T112" fmla="*/ 81 w 333"/>
                <a:gd name="T113" fmla="*/ 17 h 391"/>
                <a:gd name="T114" fmla="*/ 66 w 333"/>
                <a:gd name="T115" fmla="*/ 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3" h="391">
                  <a:moveTo>
                    <a:pt x="66" y="6"/>
                  </a:moveTo>
                  <a:lnTo>
                    <a:pt x="54" y="0"/>
                  </a:lnTo>
                  <a:lnTo>
                    <a:pt x="46" y="3"/>
                  </a:lnTo>
                  <a:lnTo>
                    <a:pt x="44" y="9"/>
                  </a:lnTo>
                  <a:lnTo>
                    <a:pt x="44" y="15"/>
                  </a:lnTo>
                  <a:lnTo>
                    <a:pt x="46" y="29"/>
                  </a:lnTo>
                  <a:lnTo>
                    <a:pt x="48" y="40"/>
                  </a:lnTo>
                  <a:lnTo>
                    <a:pt x="51" y="52"/>
                  </a:lnTo>
                  <a:lnTo>
                    <a:pt x="52" y="65"/>
                  </a:lnTo>
                  <a:lnTo>
                    <a:pt x="52" y="70"/>
                  </a:lnTo>
                  <a:lnTo>
                    <a:pt x="52" y="75"/>
                  </a:lnTo>
                  <a:lnTo>
                    <a:pt x="48" y="77"/>
                  </a:lnTo>
                  <a:lnTo>
                    <a:pt x="46" y="79"/>
                  </a:lnTo>
                  <a:lnTo>
                    <a:pt x="38" y="89"/>
                  </a:lnTo>
                  <a:lnTo>
                    <a:pt x="33" y="98"/>
                  </a:lnTo>
                  <a:lnTo>
                    <a:pt x="29" y="107"/>
                  </a:lnTo>
                  <a:lnTo>
                    <a:pt x="21" y="117"/>
                  </a:lnTo>
                  <a:lnTo>
                    <a:pt x="14" y="126"/>
                  </a:lnTo>
                  <a:lnTo>
                    <a:pt x="8" y="135"/>
                  </a:lnTo>
                  <a:lnTo>
                    <a:pt x="4" y="140"/>
                  </a:lnTo>
                  <a:lnTo>
                    <a:pt x="3" y="145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3" y="163"/>
                  </a:lnTo>
                  <a:lnTo>
                    <a:pt x="6" y="171"/>
                  </a:lnTo>
                  <a:lnTo>
                    <a:pt x="9" y="180"/>
                  </a:lnTo>
                  <a:lnTo>
                    <a:pt x="11" y="189"/>
                  </a:lnTo>
                  <a:lnTo>
                    <a:pt x="19" y="205"/>
                  </a:lnTo>
                  <a:lnTo>
                    <a:pt x="27" y="221"/>
                  </a:lnTo>
                  <a:lnTo>
                    <a:pt x="32" y="234"/>
                  </a:lnTo>
                  <a:lnTo>
                    <a:pt x="36" y="246"/>
                  </a:lnTo>
                  <a:lnTo>
                    <a:pt x="38" y="260"/>
                  </a:lnTo>
                  <a:lnTo>
                    <a:pt x="40" y="275"/>
                  </a:lnTo>
                  <a:lnTo>
                    <a:pt x="40" y="305"/>
                  </a:lnTo>
                  <a:lnTo>
                    <a:pt x="36" y="319"/>
                  </a:lnTo>
                  <a:lnTo>
                    <a:pt x="32" y="332"/>
                  </a:lnTo>
                  <a:lnTo>
                    <a:pt x="32" y="338"/>
                  </a:lnTo>
                  <a:lnTo>
                    <a:pt x="35" y="343"/>
                  </a:lnTo>
                  <a:lnTo>
                    <a:pt x="37" y="347"/>
                  </a:lnTo>
                  <a:lnTo>
                    <a:pt x="41" y="352"/>
                  </a:lnTo>
                  <a:lnTo>
                    <a:pt x="49" y="359"/>
                  </a:lnTo>
                  <a:lnTo>
                    <a:pt x="59" y="366"/>
                  </a:lnTo>
                  <a:lnTo>
                    <a:pt x="68" y="375"/>
                  </a:lnTo>
                  <a:lnTo>
                    <a:pt x="75" y="384"/>
                  </a:lnTo>
                  <a:lnTo>
                    <a:pt x="81" y="388"/>
                  </a:lnTo>
                  <a:lnTo>
                    <a:pt x="87" y="391"/>
                  </a:lnTo>
                  <a:lnTo>
                    <a:pt x="95" y="388"/>
                  </a:lnTo>
                  <a:lnTo>
                    <a:pt x="100" y="385"/>
                  </a:lnTo>
                  <a:lnTo>
                    <a:pt x="111" y="375"/>
                  </a:lnTo>
                  <a:lnTo>
                    <a:pt x="120" y="364"/>
                  </a:lnTo>
                  <a:lnTo>
                    <a:pt x="131" y="351"/>
                  </a:lnTo>
                  <a:lnTo>
                    <a:pt x="142" y="338"/>
                  </a:lnTo>
                  <a:lnTo>
                    <a:pt x="144" y="335"/>
                  </a:lnTo>
                  <a:lnTo>
                    <a:pt x="145" y="332"/>
                  </a:lnTo>
                  <a:lnTo>
                    <a:pt x="148" y="331"/>
                  </a:lnTo>
                  <a:lnTo>
                    <a:pt x="151" y="328"/>
                  </a:lnTo>
                  <a:lnTo>
                    <a:pt x="161" y="316"/>
                  </a:lnTo>
                  <a:lnTo>
                    <a:pt x="171" y="305"/>
                  </a:lnTo>
                  <a:lnTo>
                    <a:pt x="177" y="300"/>
                  </a:lnTo>
                  <a:lnTo>
                    <a:pt x="182" y="295"/>
                  </a:lnTo>
                  <a:lnTo>
                    <a:pt x="188" y="292"/>
                  </a:lnTo>
                  <a:lnTo>
                    <a:pt x="195" y="289"/>
                  </a:lnTo>
                  <a:lnTo>
                    <a:pt x="204" y="289"/>
                  </a:lnTo>
                  <a:lnTo>
                    <a:pt x="212" y="292"/>
                  </a:lnTo>
                  <a:lnTo>
                    <a:pt x="222" y="292"/>
                  </a:lnTo>
                  <a:lnTo>
                    <a:pt x="230" y="292"/>
                  </a:lnTo>
                  <a:lnTo>
                    <a:pt x="239" y="291"/>
                  </a:lnTo>
                  <a:lnTo>
                    <a:pt x="249" y="288"/>
                  </a:lnTo>
                  <a:lnTo>
                    <a:pt x="264" y="281"/>
                  </a:lnTo>
                  <a:lnTo>
                    <a:pt x="278" y="273"/>
                  </a:lnTo>
                  <a:lnTo>
                    <a:pt x="290" y="265"/>
                  </a:lnTo>
                  <a:lnTo>
                    <a:pt x="301" y="254"/>
                  </a:lnTo>
                  <a:lnTo>
                    <a:pt x="311" y="245"/>
                  </a:lnTo>
                  <a:lnTo>
                    <a:pt x="320" y="238"/>
                  </a:lnTo>
                  <a:lnTo>
                    <a:pt x="324" y="234"/>
                  </a:lnTo>
                  <a:lnTo>
                    <a:pt x="327" y="229"/>
                  </a:lnTo>
                  <a:lnTo>
                    <a:pt x="331" y="223"/>
                  </a:lnTo>
                  <a:lnTo>
                    <a:pt x="333" y="217"/>
                  </a:lnTo>
                  <a:lnTo>
                    <a:pt x="325" y="213"/>
                  </a:lnTo>
                  <a:lnTo>
                    <a:pt x="319" y="210"/>
                  </a:lnTo>
                  <a:lnTo>
                    <a:pt x="311" y="206"/>
                  </a:lnTo>
                  <a:lnTo>
                    <a:pt x="306" y="200"/>
                  </a:lnTo>
                  <a:lnTo>
                    <a:pt x="300" y="194"/>
                  </a:lnTo>
                  <a:lnTo>
                    <a:pt x="297" y="188"/>
                  </a:lnTo>
                  <a:lnTo>
                    <a:pt x="297" y="183"/>
                  </a:lnTo>
                  <a:lnTo>
                    <a:pt x="297" y="178"/>
                  </a:lnTo>
                  <a:lnTo>
                    <a:pt x="297" y="173"/>
                  </a:lnTo>
                  <a:lnTo>
                    <a:pt x="294" y="169"/>
                  </a:lnTo>
                  <a:lnTo>
                    <a:pt x="278" y="163"/>
                  </a:lnTo>
                  <a:lnTo>
                    <a:pt x="264" y="156"/>
                  </a:lnTo>
                  <a:lnTo>
                    <a:pt x="261" y="150"/>
                  </a:lnTo>
                  <a:lnTo>
                    <a:pt x="261" y="144"/>
                  </a:lnTo>
                  <a:lnTo>
                    <a:pt x="261" y="137"/>
                  </a:lnTo>
                  <a:lnTo>
                    <a:pt x="261" y="131"/>
                  </a:lnTo>
                  <a:lnTo>
                    <a:pt x="261" y="124"/>
                  </a:lnTo>
                  <a:lnTo>
                    <a:pt x="261" y="118"/>
                  </a:lnTo>
                  <a:lnTo>
                    <a:pt x="261" y="112"/>
                  </a:lnTo>
                  <a:lnTo>
                    <a:pt x="257" y="106"/>
                  </a:lnTo>
                  <a:lnTo>
                    <a:pt x="246" y="98"/>
                  </a:lnTo>
                  <a:lnTo>
                    <a:pt x="234" y="91"/>
                  </a:lnTo>
                  <a:lnTo>
                    <a:pt x="228" y="86"/>
                  </a:lnTo>
                  <a:lnTo>
                    <a:pt x="223" y="80"/>
                  </a:lnTo>
                  <a:lnTo>
                    <a:pt x="211" y="74"/>
                  </a:lnTo>
                  <a:lnTo>
                    <a:pt x="200" y="69"/>
                  </a:lnTo>
                  <a:lnTo>
                    <a:pt x="188" y="65"/>
                  </a:lnTo>
                  <a:lnTo>
                    <a:pt x="175" y="59"/>
                  </a:lnTo>
                  <a:lnTo>
                    <a:pt x="161" y="53"/>
                  </a:lnTo>
                  <a:lnTo>
                    <a:pt x="148" y="48"/>
                  </a:lnTo>
                  <a:lnTo>
                    <a:pt x="135" y="43"/>
                  </a:lnTo>
                  <a:lnTo>
                    <a:pt x="120" y="38"/>
                  </a:lnTo>
                  <a:lnTo>
                    <a:pt x="106" y="33"/>
                  </a:lnTo>
                  <a:lnTo>
                    <a:pt x="91" y="27"/>
                  </a:lnTo>
                  <a:lnTo>
                    <a:pt x="86" y="22"/>
                  </a:lnTo>
                  <a:lnTo>
                    <a:pt x="81" y="17"/>
                  </a:lnTo>
                  <a:lnTo>
                    <a:pt x="75" y="11"/>
                  </a:lnTo>
                  <a:lnTo>
                    <a:pt x="66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6" name="Freeform 149">
              <a:extLst>
                <a:ext uri="{FF2B5EF4-FFF2-40B4-BE49-F238E27FC236}">
                  <a16:creationId xmlns:a16="http://schemas.microsoft.com/office/drawing/2014/main" id="{F2404758-AD68-4D13-B374-E56A11EB1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316" y="4856801"/>
              <a:ext cx="12731" cy="9045"/>
            </a:xfrm>
            <a:custGeom>
              <a:avLst/>
              <a:gdLst>
                <a:gd name="T0" fmla="*/ 34 w 46"/>
                <a:gd name="T1" fmla="*/ 0 h 29"/>
                <a:gd name="T2" fmla="*/ 24 w 46"/>
                <a:gd name="T3" fmla="*/ 6 h 29"/>
                <a:gd name="T4" fmla="*/ 16 w 46"/>
                <a:gd name="T5" fmla="*/ 11 h 29"/>
                <a:gd name="T6" fmla="*/ 7 w 46"/>
                <a:gd name="T7" fmla="*/ 17 h 29"/>
                <a:gd name="T8" fmla="*/ 0 w 46"/>
                <a:gd name="T9" fmla="*/ 26 h 29"/>
                <a:gd name="T10" fmla="*/ 5 w 46"/>
                <a:gd name="T11" fmla="*/ 28 h 29"/>
                <a:gd name="T12" fmla="*/ 8 w 46"/>
                <a:gd name="T13" fmla="*/ 29 h 29"/>
                <a:gd name="T14" fmla="*/ 13 w 46"/>
                <a:gd name="T15" fmla="*/ 29 h 29"/>
                <a:gd name="T16" fmla="*/ 19 w 46"/>
                <a:gd name="T17" fmla="*/ 29 h 29"/>
                <a:gd name="T18" fmla="*/ 28 w 46"/>
                <a:gd name="T19" fmla="*/ 29 h 29"/>
                <a:gd name="T20" fmla="*/ 36 w 46"/>
                <a:gd name="T21" fmla="*/ 28 h 29"/>
                <a:gd name="T22" fmla="*/ 40 w 46"/>
                <a:gd name="T23" fmla="*/ 27 h 29"/>
                <a:gd name="T24" fmla="*/ 44 w 46"/>
                <a:gd name="T25" fmla="*/ 25 h 29"/>
                <a:gd name="T26" fmla="*/ 45 w 46"/>
                <a:gd name="T27" fmla="*/ 22 h 29"/>
                <a:gd name="T28" fmla="*/ 46 w 46"/>
                <a:gd name="T29" fmla="*/ 18 h 29"/>
                <a:gd name="T30" fmla="*/ 41 w 46"/>
                <a:gd name="T31" fmla="*/ 9 h 29"/>
                <a:gd name="T32" fmla="*/ 34 w 46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9">
                  <a:moveTo>
                    <a:pt x="34" y="0"/>
                  </a:moveTo>
                  <a:lnTo>
                    <a:pt x="24" y="6"/>
                  </a:lnTo>
                  <a:lnTo>
                    <a:pt x="16" y="11"/>
                  </a:lnTo>
                  <a:lnTo>
                    <a:pt x="7" y="17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13" y="29"/>
                  </a:lnTo>
                  <a:lnTo>
                    <a:pt x="19" y="29"/>
                  </a:lnTo>
                  <a:lnTo>
                    <a:pt x="28" y="29"/>
                  </a:lnTo>
                  <a:lnTo>
                    <a:pt x="36" y="28"/>
                  </a:lnTo>
                  <a:lnTo>
                    <a:pt x="40" y="27"/>
                  </a:lnTo>
                  <a:lnTo>
                    <a:pt x="44" y="25"/>
                  </a:lnTo>
                  <a:lnTo>
                    <a:pt x="45" y="22"/>
                  </a:lnTo>
                  <a:lnTo>
                    <a:pt x="46" y="18"/>
                  </a:lnTo>
                  <a:lnTo>
                    <a:pt x="41" y="9"/>
                  </a:lnTo>
                  <a:lnTo>
                    <a:pt x="34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7" name="Freeform 150">
              <a:extLst>
                <a:ext uri="{FF2B5EF4-FFF2-40B4-BE49-F238E27FC236}">
                  <a16:creationId xmlns:a16="http://schemas.microsoft.com/office/drawing/2014/main" id="{9E60C98F-2810-4471-8677-1A31AF21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159" y="4824010"/>
              <a:ext cx="55555" cy="37312"/>
            </a:xfrm>
            <a:custGeom>
              <a:avLst/>
              <a:gdLst>
                <a:gd name="T0" fmla="*/ 39 w 195"/>
                <a:gd name="T1" fmla="*/ 2 h 132"/>
                <a:gd name="T2" fmla="*/ 26 w 195"/>
                <a:gd name="T3" fmla="*/ 1 h 132"/>
                <a:gd name="T4" fmla="*/ 18 w 195"/>
                <a:gd name="T5" fmla="*/ 8 h 132"/>
                <a:gd name="T6" fmla="*/ 10 w 195"/>
                <a:gd name="T7" fmla="*/ 19 h 132"/>
                <a:gd name="T8" fmla="*/ 4 w 195"/>
                <a:gd name="T9" fmla="*/ 26 h 132"/>
                <a:gd name="T10" fmla="*/ 1 w 195"/>
                <a:gd name="T11" fmla="*/ 34 h 132"/>
                <a:gd name="T12" fmla="*/ 1 w 195"/>
                <a:gd name="T13" fmla="*/ 41 h 132"/>
                <a:gd name="T14" fmla="*/ 4 w 195"/>
                <a:gd name="T15" fmla="*/ 46 h 132"/>
                <a:gd name="T16" fmla="*/ 13 w 195"/>
                <a:gd name="T17" fmla="*/ 52 h 132"/>
                <a:gd name="T18" fmla="*/ 32 w 195"/>
                <a:gd name="T19" fmla="*/ 61 h 132"/>
                <a:gd name="T20" fmla="*/ 51 w 195"/>
                <a:gd name="T21" fmla="*/ 66 h 132"/>
                <a:gd name="T22" fmla="*/ 62 w 195"/>
                <a:gd name="T23" fmla="*/ 68 h 132"/>
                <a:gd name="T24" fmla="*/ 67 w 195"/>
                <a:gd name="T25" fmla="*/ 73 h 132"/>
                <a:gd name="T26" fmla="*/ 71 w 195"/>
                <a:gd name="T27" fmla="*/ 82 h 132"/>
                <a:gd name="T28" fmla="*/ 72 w 195"/>
                <a:gd name="T29" fmla="*/ 93 h 132"/>
                <a:gd name="T30" fmla="*/ 73 w 195"/>
                <a:gd name="T31" fmla="*/ 107 h 132"/>
                <a:gd name="T32" fmla="*/ 77 w 195"/>
                <a:gd name="T33" fmla="*/ 122 h 132"/>
                <a:gd name="T34" fmla="*/ 82 w 195"/>
                <a:gd name="T35" fmla="*/ 127 h 132"/>
                <a:gd name="T36" fmla="*/ 92 w 195"/>
                <a:gd name="T37" fmla="*/ 132 h 132"/>
                <a:gd name="T38" fmla="*/ 104 w 195"/>
                <a:gd name="T39" fmla="*/ 131 h 132"/>
                <a:gd name="T40" fmla="*/ 118 w 195"/>
                <a:gd name="T41" fmla="*/ 123 h 132"/>
                <a:gd name="T42" fmla="*/ 138 w 195"/>
                <a:gd name="T43" fmla="*/ 118 h 132"/>
                <a:gd name="T44" fmla="*/ 163 w 195"/>
                <a:gd name="T45" fmla="*/ 107 h 132"/>
                <a:gd name="T46" fmla="*/ 181 w 195"/>
                <a:gd name="T47" fmla="*/ 95 h 132"/>
                <a:gd name="T48" fmla="*/ 191 w 195"/>
                <a:gd name="T49" fmla="*/ 90 h 132"/>
                <a:gd name="T50" fmla="*/ 193 w 195"/>
                <a:gd name="T51" fmla="*/ 84 h 132"/>
                <a:gd name="T52" fmla="*/ 193 w 195"/>
                <a:gd name="T53" fmla="*/ 75 h 132"/>
                <a:gd name="T54" fmla="*/ 186 w 195"/>
                <a:gd name="T55" fmla="*/ 68 h 132"/>
                <a:gd name="T56" fmla="*/ 173 w 195"/>
                <a:gd name="T57" fmla="*/ 62 h 132"/>
                <a:gd name="T58" fmla="*/ 158 w 195"/>
                <a:gd name="T59" fmla="*/ 55 h 132"/>
                <a:gd name="T60" fmla="*/ 143 w 195"/>
                <a:gd name="T61" fmla="*/ 41 h 132"/>
                <a:gd name="T62" fmla="*/ 131 w 195"/>
                <a:gd name="T63" fmla="*/ 34 h 132"/>
                <a:gd name="T64" fmla="*/ 120 w 195"/>
                <a:gd name="T65" fmla="*/ 31 h 132"/>
                <a:gd name="T66" fmla="*/ 108 w 195"/>
                <a:gd name="T67" fmla="*/ 31 h 132"/>
                <a:gd name="T68" fmla="*/ 94 w 195"/>
                <a:gd name="T69" fmla="*/ 35 h 132"/>
                <a:gd name="T70" fmla="*/ 82 w 195"/>
                <a:gd name="T71" fmla="*/ 41 h 132"/>
                <a:gd name="T72" fmla="*/ 70 w 195"/>
                <a:gd name="T73" fmla="*/ 42 h 132"/>
                <a:gd name="T74" fmla="*/ 61 w 195"/>
                <a:gd name="T75" fmla="*/ 35 h 132"/>
                <a:gd name="T76" fmla="*/ 53 w 195"/>
                <a:gd name="T77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5" h="132">
                  <a:moveTo>
                    <a:pt x="49" y="6"/>
                  </a:moveTo>
                  <a:lnTo>
                    <a:pt x="39" y="2"/>
                  </a:lnTo>
                  <a:lnTo>
                    <a:pt x="31" y="0"/>
                  </a:lnTo>
                  <a:lnTo>
                    <a:pt x="26" y="1"/>
                  </a:lnTo>
                  <a:lnTo>
                    <a:pt x="22" y="4"/>
                  </a:lnTo>
                  <a:lnTo>
                    <a:pt x="18" y="8"/>
                  </a:lnTo>
                  <a:lnTo>
                    <a:pt x="16" y="13"/>
                  </a:lnTo>
                  <a:lnTo>
                    <a:pt x="10" y="19"/>
                  </a:lnTo>
                  <a:lnTo>
                    <a:pt x="5" y="24"/>
                  </a:lnTo>
                  <a:lnTo>
                    <a:pt x="4" y="26"/>
                  </a:lnTo>
                  <a:lnTo>
                    <a:pt x="1" y="30"/>
                  </a:lnTo>
                  <a:lnTo>
                    <a:pt x="1" y="34"/>
                  </a:lnTo>
                  <a:lnTo>
                    <a:pt x="0" y="37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7" y="49"/>
                  </a:lnTo>
                  <a:lnTo>
                    <a:pt x="13" y="52"/>
                  </a:lnTo>
                  <a:lnTo>
                    <a:pt x="20" y="55"/>
                  </a:lnTo>
                  <a:lnTo>
                    <a:pt x="32" y="61"/>
                  </a:lnTo>
                  <a:lnTo>
                    <a:pt x="44" y="64"/>
                  </a:lnTo>
                  <a:lnTo>
                    <a:pt x="51" y="66"/>
                  </a:lnTo>
                  <a:lnTo>
                    <a:pt x="59" y="67"/>
                  </a:lnTo>
                  <a:lnTo>
                    <a:pt x="62" y="68"/>
                  </a:lnTo>
                  <a:lnTo>
                    <a:pt x="65" y="71"/>
                  </a:lnTo>
                  <a:lnTo>
                    <a:pt x="67" y="73"/>
                  </a:lnTo>
                  <a:lnTo>
                    <a:pt x="70" y="77"/>
                  </a:lnTo>
                  <a:lnTo>
                    <a:pt x="71" y="82"/>
                  </a:lnTo>
                  <a:lnTo>
                    <a:pt x="72" y="88"/>
                  </a:lnTo>
                  <a:lnTo>
                    <a:pt x="72" y="93"/>
                  </a:lnTo>
                  <a:lnTo>
                    <a:pt x="72" y="97"/>
                  </a:lnTo>
                  <a:lnTo>
                    <a:pt x="73" y="107"/>
                  </a:lnTo>
                  <a:lnTo>
                    <a:pt x="76" y="118"/>
                  </a:lnTo>
                  <a:lnTo>
                    <a:pt x="77" y="122"/>
                  </a:lnTo>
                  <a:lnTo>
                    <a:pt x="80" y="124"/>
                  </a:lnTo>
                  <a:lnTo>
                    <a:pt x="82" y="127"/>
                  </a:lnTo>
                  <a:lnTo>
                    <a:pt x="84" y="129"/>
                  </a:lnTo>
                  <a:lnTo>
                    <a:pt x="92" y="132"/>
                  </a:lnTo>
                  <a:lnTo>
                    <a:pt x="99" y="132"/>
                  </a:lnTo>
                  <a:lnTo>
                    <a:pt x="104" y="131"/>
                  </a:lnTo>
                  <a:lnTo>
                    <a:pt x="109" y="127"/>
                  </a:lnTo>
                  <a:lnTo>
                    <a:pt x="118" y="123"/>
                  </a:lnTo>
                  <a:lnTo>
                    <a:pt x="127" y="120"/>
                  </a:lnTo>
                  <a:lnTo>
                    <a:pt x="138" y="118"/>
                  </a:lnTo>
                  <a:lnTo>
                    <a:pt x="151" y="116"/>
                  </a:lnTo>
                  <a:lnTo>
                    <a:pt x="163" y="107"/>
                  </a:lnTo>
                  <a:lnTo>
                    <a:pt x="175" y="99"/>
                  </a:lnTo>
                  <a:lnTo>
                    <a:pt x="181" y="95"/>
                  </a:lnTo>
                  <a:lnTo>
                    <a:pt x="188" y="91"/>
                  </a:lnTo>
                  <a:lnTo>
                    <a:pt x="191" y="90"/>
                  </a:lnTo>
                  <a:lnTo>
                    <a:pt x="192" y="88"/>
                  </a:lnTo>
                  <a:lnTo>
                    <a:pt x="193" y="84"/>
                  </a:lnTo>
                  <a:lnTo>
                    <a:pt x="195" y="80"/>
                  </a:lnTo>
                  <a:lnTo>
                    <a:pt x="193" y="75"/>
                  </a:lnTo>
                  <a:lnTo>
                    <a:pt x="190" y="72"/>
                  </a:lnTo>
                  <a:lnTo>
                    <a:pt x="186" y="68"/>
                  </a:lnTo>
                  <a:lnTo>
                    <a:pt x="181" y="66"/>
                  </a:lnTo>
                  <a:lnTo>
                    <a:pt x="173" y="62"/>
                  </a:lnTo>
                  <a:lnTo>
                    <a:pt x="164" y="60"/>
                  </a:lnTo>
                  <a:lnTo>
                    <a:pt x="158" y="55"/>
                  </a:lnTo>
                  <a:lnTo>
                    <a:pt x="151" y="50"/>
                  </a:lnTo>
                  <a:lnTo>
                    <a:pt x="143" y="41"/>
                  </a:lnTo>
                  <a:lnTo>
                    <a:pt x="135" y="35"/>
                  </a:lnTo>
                  <a:lnTo>
                    <a:pt x="131" y="34"/>
                  </a:lnTo>
                  <a:lnTo>
                    <a:pt x="126" y="33"/>
                  </a:lnTo>
                  <a:lnTo>
                    <a:pt x="120" y="31"/>
                  </a:lnTo>
                  <a:lnTo>
                    <a:pt x="115" y="31"/>
                  </a:lnTo>
                  <a:lnTo>
                    <a:pt x="108" y="31"/>
                  </a:lnTo>
                  <a:lnTo>
                    <a:pt x="100" y="33"/>
                  </a:lnTo>
                  <a:lnTo>
                    <a:pt x="94" y="35"/>
                  </a:lnTo>
                  <a:lnTo>
                    <a:pt x="88" y="37"/>
                  </a:lnTo>
                  <a:lnTo>
                    <a:pt x="82" y="41"/>
                  </a:lnTo>
                  <a:lnTo>
                    <a:pt x="76" y="44"/>
                  </a:lnTo>
                  <a:lnTo>
                    <a:pt x="70" y="42"/>
                  </a:lnTo>
                  <a:lnTo>
                    <a:pt x="65" y="40"/>
                  </a:lnTo>
                  <a:lnTo>
                    <a:pt x="61" y="35"/>
                  </a:lnTo>
                  <a:lnTo>
                    <a:pt x="58" y="30"/>
                  </a:lnTo>
                  <a:lnTo>
                    <a:pt x="53" y="18"/>
                  </a:lnTo>
                  <a:lnTo>
                    <a:pt x="49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8" name="Freeform 151">
              <a:extLst>
                <a:ext uri="{FF2B5EF4-FFF2-40B4-BE49-F238E27FC236}">
                  <a16:creationId xmlns:a16="http://schemas.microsoft.com/office/drawing/2014/main" id="{7C5DB5A5-7731-4CB9-B3C8-6A0ABE736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96" y="4830795"/>
              <a:ext cx="17361" cy="18091"/>
            </a:xfrm>
            <a:custGeom>
              <a:avLst/>
              <a:gdLst>
                <a:gd name="T0" fmla="*/ 0 w 59"/>
                <a:gd name="T1" fmla="*/ 5 h 66"/>
                <a:gd name="T2" fmla="*/ 0 w 59"/>
                <a:gd name="T3" fmla="*/ 10 h 66"/>
                <a:gd name="T4" fmla="*/ 0 w 59"/>
                <a:gd name="T5" fmla="*/ 13 h 66"/>
                <a:gd name="T6" fmla="*/ 3 w 59"/>
                <a:gd name="T7" fmla="*/ 19 h 66"/>
                <a:gd name="T8" fmla="*/ 6 w 59"/>
                <a:gd name="T9" fmla="*/ 24 h 66"/>
                <a:gd name="T10" fmla="*/ 8 w 59"/>
                <a:gd name="T11" fmla="*/ 30 h 66"/>
                <a:gd name="T12" fmla="*/ 8 w 59"/>
                <a:gd name="T13" fmla="*/ 37 h 66"/>
                <a:gd name="T14" fmla="*/ 11 w 59"/>
                <a:gd name="T15" fmla="*/ 45 h 66"/>
                <a:gd name="T16" fmla="*/ 16 w 59"/>
                <a:gd name="T17" fmla="*/ 52 h 66"/>
                <a:gd name="T18" fmla="*/ 22 w 59"/>
                <a:gd name="T19" fmla="*/ 59 h 66"/>
                <a:gd name="T20" fmla="*/ 30 w 59"/>
                <a:gd name="T21" fmla="*/ 66 h 66"/>
                <a:gd name="T22" fmla="*/ 37 w 59"/>
                <a:gd name="T23" fmla="*/ 57 h 66"/>
                <a:gd name="T24" fmla="*/ 44 w 59"/>
                <a:gd name="T25" fmla="*/ 50 h 66"/>
                <a:gd name="T26" fmla="*/ 49 w 59"/>
                <a:gd name="T27" fmla="*/ 48 h 66"/>
                <a:gd name="T28" fmla="*/ 54 w 59"/>
                <a:gd name="T29" fmla="*/ 45 h 66"/>
                <a:gd name="T30" fmla="*/ 57 w 59"/>
                <a:gd name="T31" fmla="*/ 44 h 66"/>
                <a:gd name="T32" fmla="*/ 58 w 59"/>
                <a:gd name="T33" fmla="*/ 41 h 66"/>
                <a:gd name="T34" fmla="*/ 59 w 59"/>
                <a:gd name="T35" fmla="*/ 39 h 66"/>
                <a:gd name="T36" fmla="*/ 59 w 59"/>
                <a:gd name="T37" fmla="*/ 37 h 66"/>
                <a:gd name="T38" fmla="*/ 57 w 59"/>
                <a:gd name="T39" fmla="*/ 30 h 66"/>
                <a:gd name="T40" fmla="*/ 52 w 59"/>
                <a:gd name="T41" fmla="*/ 24 h 66"/>
                <a:gd name="T42" fmla="*/ 47 w 59"/>
                <a:gd name="T43" fmla="*/ 16 h 66"/>
                <a:gd name="T44" fmla="*/ 41 w 59"/>
                <a:gd name="T45" fmla="*/ 7 h 66"/>
                <a:gd name="T46" fmla="*/ 39 w 59"/>
                <a:gd name="T47" fmla="*/ 3 h 66"/>
                <a:gd name="T48" fmla="*/ 38 w 59"/>
                <a:gd name="T49" fmla="*/ 1 h 66"/>
                <a:gd name="T50" fmla="*/ 35 w 59"/>
                <a:gd name="T51" fmla="*/ 0 h 66"/>
                <a:gd name="T52" fmla="*/ 31 w 59"/>
                <a:gd name="T53" fmla="*/ 0 h 66"/>
                <a:gd name="T54" fmla="*/ 28 w 59"/>
                <a:gd name="T55" fmla="*/ 1 h 66"/>
                <a:gd name="T56" fmla="*/ 25 w 59"/>
                <a:gd name="T57" fmla="*/ 2 h 66"/>
                <a:gd name="T58" fmla="*/ 13 w 59"/>
                <a:gd name="T59" fmla="*/ 5 h 66"/>
                <a:gd name="T60" fmla="*/ 0 w 59"/>
                <a:gd name="T61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0" y="5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9"/>
                  </a:lnTo>
                  <a:lnTo>
                    <a:pt x="6" y="24"/>
                  </a:lnTo>
                  <a:lnTo>
                    <a:pt x="8" y="30"/>
                  </a:lnTo>
                  <a:lnTo>
                    <a:pt x="8" y="37"/>
                  </a:lnTo>
                  <a:lnTo>
                    <a:pt x="11" y="45"/>
                  </a:lnTo>
                  <a:lnTo>
                    <a:pt x="16" y="52"/>
                  </a:lnTo>
                  <a:lnTo>
                    <a:pt x="22" y="59"/>
                  </a:lnTo>
                  <a:lnTo>
                    <a:pt x="30" y="66"/>
                  </a:lnTo>
                  <a:lnTo>
                    <a:pt x="37" y="57"/>
                  </a:lnTo>
                  <a:lnTo>
                    <a:pt x="44" y="50"/>
                  </a:lnTo>
                  <a:lnTo>
                    <a:pt x="49" y="48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58" y="41"/>
                  </a:lnTo>
                  <a:lnTo>
                    <a:pt x="59" y="39"/>
                  </a:lnTo>
                  <a:lnTo>
                    <a:pt x="59" y="37"/>
                  </a:lnTo>
                  <a:lnTo>
                    <a:pt x="57" y="30"/>
                  </a:lnTo>
                  <a:lnTo>
                    <a:pt x="52" y="24"/>
                  </a:lnTo>
                  <a:lnTo>
                    <a:pt x="47" y="16"/>
                  </a:lnTo>
                  <a:lnTo>
                    <a:pt x="41" y="7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5" y="2"/>
                  </a:lnTo>
                  <a:lnTo>
                    <a:pt x="13" y="5"/>
                  </a:lnTo>
                  <a:lnTo>
                    <a:pt x="0" y="5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89" name="Freeform 152">
              <a:extLst>
                <a:ext uri="{FF2B5EF4-FFF2-40B4-BE49-F238E27FC236}">
                  <a16:creationId xmlns:a16="http://schemas.microsoft.com/office/drawing/2014/main" id="{672587FC-211E-4EA7-AC48-BC2175CBC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492" y="4807050"/>
              <a:ext cx="40509" cy="14699"/>
            </a:xfrm>
            <a:custGeom>
              <a:avLst/>
              <a:gdLst>
                <a:gd name="T0" fmla="*/ 22 w 142"/>
                <a:gd name="T1" fmla="*/ 0 h 52"/>
                <a:gd name="T2" fmla="*/ 12 w 142"/>
                <a:gd name="T3" fmla="*/ 18 h 52"/>
                <a:gd name="T4" fmla="*/ 0 w 142"/>
                <a:gd name="T5" fmla="*/ 35 h 52"/>
                <a:gd name="T6" fmla="*/ 16 w 142"/>
                <a:gd name="T7" fmla="*/ 39 h 52"/>
                <a:gd name="T8" fmla="*/ 33 w 142"/>
                <a:gd name="T9" fmla="*/ 41 h 52"/>
                <a:gd name="T10" fmla="*/ 62 w 142"/>
                <a:gd name="T11" fmla="*/ 41 h 52"/>
                <a:gd name="T12" fmla="*/ 78 w 142"/>
                <a:gd name="T13" fmla="*/ 47 h 52"/>
                <a:gd name="T14" fmla="*/ 95 w 142"/>
                <a:gd name="T15" fmla="*/ 52 h 52"/>
                <a:gd name="T16" fmla="*/ 103 w 142"/>
                <a:gd name="T17" fmla="*/ 51 h 52"/>
                <a:gd name="T18" fmla="*/ 109 w 142"/>
                <a:gd name="T19" fmla="*/ 50 h 52"/>
                <a:gd name="T20" fmla="*/ 116 w 142"/>
                <a:gd name="T21" fmla="*/ 46 h 52"/>
                <a:gd name="T22" fmla="*/ 122 w 142"/>
                <a:gd name="T23" fmla="*/ 42 h 52"/>
                <a:gd name="T24" fmla="*/ 127 w 142"/>
                <a:gd name="T25" fmla="*/ 40 h 52"/>
                <a:gd name="T26" fmla="*/ 132 w 142"/>
                <a:gd name="T27" fmla="*/ 38 h 52"/>
                <a:gd name="T28" fmla="*/ 137 w 142"/>
                <a:gd name="T29" fmla="*/ 35 h 52"/>
                <a:gd name="T30" fmla="*/ 141 w 142"/>
                <a:gd name="T31" fmla="*/ 31 h 52"/>
                <a:gd name="T32" fmla="*/ 141 w 142"/>
                <a:gd name="T33" fmla="*/ 28 h 52"/>
                <a:gd name="T34" fmla="*/ 142 w 142"/>
                <a:gd name="T35" fmla="*/ 25 h 52"/>
                <a:gd name="T36" fmla="*/ 127 w 142"/>
                <a:gd name="T37" fmla="*/ 22 h 52"/>
                <a:gd name="T38" fmla="*/ 111 w 142"/>
                <a:gd name="T39" fmla="*/ 20 h 52"/>
                <a:gd name="T40" fmla="*/ 103 w 142"/>
                <a:gd name="T41" fmla="*/ 17 h 52"/>
                <a:gd name="T42" fmla="*/ 94 w 142"/>
                <a:gd name="T43" fmla="*/ 13 h 52"/>
                <a:gd name="T44" fmla="*/ 84 w 142"/>
                <a:gd name="T45" fmla="*/ 14 h 52"/>
                <a:gd name="T46" fmla="*/ 76 w 142"/>
                <a:gd name="T47" fmla="*/ 14 h 52"/>
                <a:gd name="T48" fmla="*/ 61 w 142"/>
                <a:gd name="T49" fmla="*/ 12 h 52"/>
                <a:gd name="T50" fmla="*/ 48 w 142"/>
                <a:gd name="T51" fmla="*/ 8 h 52"/>
                <a:gd name="T52" fmla="*/ 35 w 142"/>
                <a:gd name="T53" fmla="*/ 4 h 52"/>
                <a:gd name="T54" fmla="*/ 22 w 142"/>
                <a:gd name="T5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2" h="52">
                  <a:moveTo>
                    <a:pt x="22" y="0"/>
                  </a:moveTo>
                  <a:lnTo>
                    <a:pt x="12" y="18"/>
                  </a:lnTo>
                  <a:lnTo>
                    <a:pt x="0" y="35"/>
                  </a:lnTo>
                  <a:lnTo>
                    <a:pt x="16" y="39"/>
                  </a:lnTo>
                  <a:lnTo>
                    <a:pt x="33" y="41"/>
                  </a:lnTo>
                  <a:lnTo>
                    <a:pt x="62" y="41"/>
                  </a:lnTo>
                  <a:lnTo>
                    <a:pt x="78" y="47"/>
                  </a:lnTo>
                  <a:lnTo>
                    <a:pt x="95" y="52"/>
                  </a:lnTo>
                  <a:lnTo>
                    <a:pt x="103" y="51"/>
                  </a:lnTo>
                  <a:lnTo>
                    <a:pt x="109" y="50"/>
                  </a:lnTo>
                  <a:lnTo>
                    <a:pt x="116" y="46"/>
                  </a:lnTo>
                  <a:lnTo>
                    <a:pt x="122" y="42"/>
                  </a:lnTo>
                  <a:lnTo>
                    <a:pt x="127" y="40"/>
                  </a:lnTo>
                  <a:lnTo>
                    <a:pt x="132" y="38"/>
                  </a:lnTo>
                  <a:lnTo>
                    <a:pt x="137" y="35"/>
                  </a:lnTo>
                  <a:lnTo>
                    <a:pt x="141" y="31"/>
                  </a:lnTo>
                  <a:lnTo>
                    <a:pt x="141" y="28"/>
                  </a:lnTo>
                  <a:lnTo>
                    <a:pt x="142" y="25"/>
                  </a:lnTo>
                  <a:lnTo>
                    <a:pt x="127" y="22"/>
                  </a:lnTo>
                  <a:lnTo>
                    <a:pt x="111" y="20"/>
                  </a:lnTo>
                  <a:lnTo>
                    <a:pt x="103" y="17"/>
                  </a:lnTo>
                  <a:lnTo>
                    <a:pt x="94" y="13"/>
                  </a:lnTo>
                  <a:lnTo>
                    <a:pt x="84" y="14"/>
                  </a:lnTo>
                  <a:lnTo>
                    <a:pt x="76" y="14"/>
                  </a:lnTo>
                  <a:lnTo>
                    <a:pt x="61" y="12"/>
                  </a:lnTo>
                  <a:lnTo>
                    <a:pt x="48" y="8"/>
                  </a:lnTo>
                  <a:lnTo>
                    <a:pt x="35" y="4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90" name="Freeform 153">
              <a:extLst>
                <a:ext uri="{FF2B5EF4-FFF2-40B4-BE49-F238E27FC236}">
                  <a16:creationId xmlns:a16="http://schemas.microsoft.com/office/drawing/2014/main" id="{A85EC747-BFF7-4003-8488-2A971CCEC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260" y="4768608"/>
              <a:ext cx="42824" cy="36181"/>
            </a:xfrm>
            <a:custGeom>
              <a:avLst/>
              <a:gdLst>
                <a:gd name="T0" fmla="*/ 1 w 148"/>
                <a:gd name="T1" fmla="*/ 50 h 128"/>
                <a:gd name="T2" fmla="*/ 10 w 148"/>
                <a:gd name="T3" fmla="*/ 71 h 128"/>
                <a:gd name="T4" fmla="*/ 20 w 148"/>
                <a:gd name="T5" fmla="*/ 92 h 128"/>
                <a:gd name="T6" fmla="*/ 28 w 148"/>
                <a:gd name="T7" fmla="*/ 104 h 128"/>
                <a:gd name="T8" fmla="*/ 33 w 148"/>
                <a:gd name="T9" fmla="*/ 113 h 128"/>
                <a:gd name="T10" fmla="*/ 37 w 148"/>
                <a:gd name="T11" fmla="*/ 119 h 128"/>
                <a:gd name="T12" fmla="*/ 43 w 148"/>
                <a:gd name="T13" fmla="*/ 121 h 128"/>
                <a:gd name="T14" fmla="*/ 48 w 148"/>
                <a:gd name="T15" fmla="*/ 115 h 128"/>
                <a:gd name="T16" fmla="*/ 53 w 148"/>
                <a:gd name="T17" fmla="*/ 106 h 128"/>
                <a:gd name="T18" fmla="*/ 56 w 148"/>
                <a:gd name="T19" fmla="*/ 103 h 128"/>
                <a:gd name="T20" fmla="*/ 64 w 148"/>
                <a:gd name="T21" fmla="*/ 103 h 128"/>
                <a:gd name="T22" fmla="*/ 72 w 148"/>
                <a:gd name="T23" fmla="*/ 105 h 128"/>
                <a:gd name="T24" fmla="*/ 76 w 148"/>
                <a:gd name="T25" fmla="*/ 111 h 128"/>
                <a:gd name="T26" fmla="*/ 81 w 148"/>
                <a:gd name="T27" fmla="*/ 121 h 128"/>
                <a:gd name="T28" fmla="*/ 93 w 148"/>
                <a:gd name="T29" fmla="*/ 127 h 128"/>
                <a:gd name="T30" fmla="*/ 109 w 148"/>
                <a:gd name="T31" fmla="*/ 126 h 128"/>
                <a:gd name="T32" fmla="*/ 133 w 148"/>
                <a:gd name="T33" fmla="*/ 116 h 128"/>
                <a:gd name="T34" fmla="*/ 145 w 148"/>
                <a:gd name="T35" fmla="*/ 100 h 128"/>
                <a:gd name="T36" fmla="*/ 138 w 148"/>
                <a:gd name="T37" fmla="*/ 87 h 128"/>
                <a:gd name="T38" fmla="*/ 132 w 148"/>
                <a:gd name="T39" fmla="*/ 82 h 128"/>
                <a:gd name="T40" fmla="*/ 120 w 148"/>
                <a:gd name="T41" fmla="*/ 78 h 128"/>
                <a:gd name="T42" fmla="*/ 108 w 148"/>
                <a:gd name="T43" fmla="*/ 75 h 128"/>
                <a:gd name="T44" fmla="*/ 103 w 148"/>
                <a:gd name="T45" fmla="*/ 70 h 128"/>
                <a:gd name="T46" fmla="*/ 98 w 148"/>
                <a:gd name="T47" fmla="*/ 61 h 128"/>
                <a:gd name="T48" fmla="*/ 92 w 148"/>
                <a:gd name="T49" fmla="*/ 43 h 128"/>
                <a:gd name="T50" fmla="*/ 83 w 148"/>
                <a:gd name="T51" fmla="*/ 18 h 128"/>
                <a:gd name="T52" fmla="*/ 77 w 148"/>
                <a:gd name="T53" fmla="*/ 4 h 128"/>
                <a:gd name="T54" fmla="*/ 74 w 148"/>
                <a:gd name="T55" fmla="*/ 1 h 128"/>
                <a:gd name="T56" fmla="*/ 67 w 148"/>
                <a:gd name="T57" fmla="*/ 2 h 128"/>
                <a:gd name="T58" fmla="*/ 60 w 148"/>
                <a:gd name="T59" fmla="*/ 12 h 128"/>
                <a:gd name="T60" fmla="*/ 49 w 148"/>
                <a:gd name="T61" fmla="*/ 26 h 128"/>
                <a:gd name="T62" fmla="*/ 34 w 148"/>
                <a:gd name="T63" fmla="*/ 35 h 128"/>
                <a:gd name="T64" fmla="*/ 17 w 148"/>
                <a:gd name="T65" fmla="*/ 38 h 128"/>
                <a:gd name="T66" fmla="*/ 5 w 148"/>
                <a:gd name="T67" fmla="*/ 38 h 128"/>
                <a:gd name="T68" fmla="*/ 0 w 148"/>
                <a:gd name="T69" fmla="*/ 4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128">
                  <a:moveTo>
                    <a:pt x="0" y="44"/>
                  </a:moveTo>
                  <a:lnTo>
                    <a:pt x="1" y="50"/>
                  </a:lnTo>
                  <a:lnTo>
                    <a:pt x="4" y="56"/>
                  </a:lnTo>
                  <a:lnTo>
                    <a:pt x="10" y="71"/>
                  </a:lnTo>
                  <a:lnTo>
                    <a:pt x="16" y="86"/>
                  </a:lnTo>
                  <a:lnTo>
                    <a:pt x="20" y="92"/>
                  </a:lnTo>
                  <a:lnTo>
                    <a:pt x="25" y="97"/>
                  </a:lnTo>
                  <a:lnTo>
                    <a:pt x="28" y="104"/>
                  </a:lnTo>
                  <a:lnTo>
                    <a:pt x="32" y="110"/>
                  </a:lnTo>
                  <a:lnTo>
                    <a:pt x="33" y="113"/>
                  </a:lnTo>
                  <a:lnTo>
                    <a:pt x="34" y="116"/>
                  </a:lnTo>
                  <a:lnTo>
                    <a:pt x="37" y="119"/>
                  </a:lnTo>
                  <a:lnTo>
                    <a:pt x="40" y="121"/>
                  </a:lnTo>
                  <a:lnTo>
                    <a:pt x="43" y="121"/>
                  </a:lnTo>
                  <a:lnTo>
                    <a:pt x="47" y="121"/>
                  </a:lnTo>
                  <a:lnTo>
                    <a:pt x="48" y="115"/>
                  </a:lnTo>
                  <a:lnTo>
                    <a:pt x="50" y="109"/>
                  </a:lnTo>
                  <a:lnTo>
                    <a:pt x="53" y="106"/>
                  </a:lnTo>
                  <a:lnTo>
                    <a:pt x="54" y="104"/>
                  </a:lnTo>
                  <a:lnTo>
                    <a:pt x="56" y="103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9" y="104"/>
                  </a:lnTo>
                  <a:lnTo>
                    <a:pt x="72" y="105"/>
                  </a:lnTo>
                  <a:lnTo>
                    <a:pt x="75" y="109"/>
                  </a:lnTo>
                  <a:lnTo>
                    <a:pt x="76" y="111"/>
                  </a:lnTo>
                  <a:lnTo>
                    <a:pt x="76" y="115"/>
                  </a:lnTo>
                  <a:lnTo>
                    <a:pt x="81" y="121"/>
                  </a:lnTo>
                  <a:lnTo>
                    <a:pt x="87" y="125"/>
                  </a:lnTo>
                  <a:lnTo>
                    <a:pt x="93" y="127"/>
                  </a:lnTo>
                  <a:lnTo>
                    <a:pt x="100" y="128"/>
                  </a:lnTo>
                  <a:lnTo>
                    <a:pt x="109" y="126"/>
                  </a:lnTo>
                  <a:lnTo>
                    <a:pt x="119" y="122"/>
                  </a:lnTo>
                  <a:lnTo>
                    <a:pt x="133" y="116"/>
                  </a:lnTo>
                  <a:lnTo>
                    <a:pt x="148" y="110"/>
                  </a:lnTo>
                  <a:lnTo>
                    <a:pt x="145" y="100"/>
                  </a:lnTo>
                  <a:lnTo>
                    <a:pt x="141" y="90"/>
                  </a:lnTo>
                  <a:lnTo>
                    <a:pt x="138" y="87"/>
                  </a:lnTo>
                  <a:lnTo>
                    <a:pt x="136" y="84"/>
                  </a:lnTo>
                  <a:lnTo>
                    <a:pt x="132" y="82"/>
                  </a:lnTo>
                  <a:lnTo>
                    <a:pt x="129" y="81"/>
                  </a:lnTo>
                  <a:lnTo>
                    <a:pt x="120" y="78"/>
                  </a:lnTo>
                  <a:lnTo>
                    <a:pt x="110" y="76"/>
                  </a:lnTo>
                  <a:lnTo>
                    <a:pt x="108" y="75"/>
                  </a:lnTo>
                  <a:lnTo>
                    <a:pt x="105" y="72"/>
                  </a:lnTo>
                  <a:lnTo>
                    <a:pt x="103" y="70"/>
                  </a:lnTo>
                  <a:lnTo>
                    <a:pt x="100" y="67"/>
                  </a:lnTo>
                  <a:lnTo>
                    <a:pt x="98" y="61"/>
                  </a:lnTo>
                  <a:lnTo>
                    <a:pt x="96" y="55"/>
                  </a:lnTo>
                  <a:lnTo>
                    <a:pt x="92" y="43"/>
                  </a:lnTo>
                  <a:lnTo>
                    <a:pt x="87" y="30"/>
                  </a:lnTo>
                  <a:lnTo>
                    <a:pt x="83" y="18"/>
                  </a:lnTo>
                  <a:lnTo>
                    <a:pt x="80" y="6"/>
                  </a:lnTo>
                  <a:lnTo>
                    <a:pt x="77" y="4"/>
                  </a:lnTo>
                  <a:lnTo>
                    <a:pt x="76" y="2"/>
                  </a:lnTo>
                  <a:lnTo>
                    <a:pt x="74" y="1"/>
                  </a:lnTo>
                  <a:lnTo>
                    <a:pt x="70" y="0"/>
                  </a:lnTo>
                  <a:lnTo>
                    <a:pt x="67" y="2"/>
                  </a:lnTo>
                  <a:lnTo>
                    <a:pt x="66" y="6"/>
                  </a:lnTo>
                  <a:lnTo>
                    <a:pt x="60" y="12"/>
                  </a:lnTo>
                  <a:lnTo>
                    <a:pt x="55" y="18"/>
                  </a:lnTo>
                  <a:lnTo>
                    <a:pt x="49" y="26"/>
                  </a:lnTo>
                  <a:lnTo>
                    <a:pt x="42" y="32"/>
                  </a:lnTo>
                  <a:lnTo>
                    <a:pt x="34" y="35"/>
                  </a:lnTo>
                  <a:lnTo>
                    <a:pt x="25" y="38"/>
                  </a:lnTo>
                  <a:lnTo>
                    <a:pt x="17" y="38"/>
                  </a:lnTo>
                  <a:lnTo>
                    <a:pt x="9" y="38"/>
                  </a:lnTo>
                  <a:lnTo>
                    <a:pt x="5" y="38"/>
                  </a:lnTo>
                  <a:lnTo>
                    <a:pt x="3" y="39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91" name="Freeform 154">
              <a:extLst>
                <a:ext uri="{FF2B5EF4-FFF2-40B4-BE49-F238E27FC236}">
                  <a16:creationId xmlns:a16="http://schemas.microsoft.com/office/drawing/2014/main" id="{D486FDF5-2ABE-4A8B-A6CA-2317D44DE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732" y="4727904"/>
              <a:ext cx="37037" cy="28267"/>
            </a:xfrm>
            <a:custGeom>
              <a:avLst/>
              <a:gdLst>
                <a:gd name="T0" fmla="*/ 0 w 130"/>
                <a:gd name="T1" fmla="*/ 57 h 101"/>
                <a:gd name="T2" fmla="*/ 13 w 130"/>
                <a:gd name="T3" fmla="*/ 60 h 101"/>
                <a:gd name="T4" fmla="*/ 25 w 130"/>
                <a:gd name="T5" fmla="*/ 65 h 101"/>
                <a:gd name="T6" fmla="*/ 29 w 130"/>
                <a:gd name="T7" fmla="*/ 68 h 101"/>
                <a:gd name="T8" fmla="*/ 34 w 130"/>
                <a:gd name="T9" fmla="*/ 70 h 101"/>
                <a:gd name="T10" fmla="*/ 39 w 130"/>
                <a:gd name="T11" fmla="*/ 73 h 101"/>
                <a:gd name="T12" fmla="*/ 43 w 130"/>
                <a:gd name="T13" fmla="*/ 76 h 101"/>
                <a:gd name="T14" fmla="*/ 48 w 130"/>
                <a:gd name="T15" fmla="*/ 81 h 101"/>
                <a:gd name="T16" fmla="*/ 53 w 130"/>
                <a:gd name="T17" fmla="*/ 86 h 101"/>
                <a:gd name="T18" fmla="*/ 58 w 130"/>
                <a:gd name="T19" fmla="*/ 90 h 101"/>
                <a:gd name="T20" fmla="*/ 64 w 130"/>
                <a:gd name="T21" fmla="*/ 92 h 101"/>
                <a:gd name="T22" fmla="*/ 70 w 130"/>
                <a:gd name="T23" fmla="*/ 95 h 101"/>
                <a:gd name="T24" fmla="*/ 73 w 130"/>
                <a:gd name="T25" fmla="*/ 97 h 101"/>
                <a:gd name="T26" fmla="*/ 80 w 130"/>
                <a:gd name="T27" fmla="*/ 100 h 101"/>
                <a:gd name="T28" fmla="*/ 84 w 130"/>
                <a:gd name="T29" fmla="*/ 101 h 101"/>
                <a:gd name="T30" fmla="*/ 89 w 130"/>
                <a:gd name="T31" fmla="*/ 100 h 101"/>
                <a:gd name="T32" fmla="*/ 92 w 130"/>
                <a:gd name="T33" fmla="*/ 98 h 101"/>
                <a:gd name="T34" fmla="*/ 94 w 130"/>
                <a:gd name="T35" fmla="*/ 96 h 101"/>
                <a:gd name="T36" fmla="*/ 97 w 130"/>
                <a:gd name="T37" fmla="*/ 92 h 101"/>
                <a:gd name="T38" fmla="*/ 100 w 130"/>
                <a:gd name="T39" fmla="*/ 85 h 101"/>
                <a:gd name="T40" fmla="*/ 104 w 130"/>
                <a:gd name="T41" fmla="*/ 78 h 101"/>
                <a:gd name="T42" fmla="*/ 114 w 130"/>
                <a:gd name="T43" fmla="*/ 67 h 101"/>
                <a:gd name="T44" fmla="*/ 121 w 130"/>
                <a:gd name="T45" fmla="*/ 53 h 101"/>
                <a:gd name="T46" fmla="*/ 125 w 130"/>
                <a:gd name="T47" fmla="*/ 43 h 101"/>
                <a:gd name="T48" fmla="*/ 127 w 130"/>
                <a:gd name="T49" fmla="*/ 35 h 101"/>
                <a:gd name="T50" fmla="*/ 130 w 130"/>
                <a:gd name="T51" fmla="*/ 25 h 101"/>
                <a:gd name="T52" fmla="*/ 130 w 130"/>
                <a:gd name="T53" fmla="*/ 14 h 101"/>
                <a:gd name="T54" fmla="*/ 130 w 130"/>
                <a:gd name="T55" fmla="*/ 11 h 101"/>
                <a:gd name="T56" fmla="*/ 129 w 130"/>
                <a:gd name="T57" fmla="*/ 10 h 101"/>
                <a:gd name="T58" fmla="*/ 126 w 130"/>
                <a:gd name="T59" fmla="*/ 9 h 101"/>
                <a:gd name="T60" fmla="*/ 124 w 130"/>
                <a:gd name="T61" fmla="*/ 7 h 101"/>
                <a:gd name="T62" fmla="*/ 120 w 130"/>
                <a:gd name="T63" fmla="*/ 4 h 101"/>
                <a:gd name="T64" fmla="*/ 115 w 130"/>
                <a:gd name="T65" fmla="*/ 2 h 101"/>
                <a:gd name="T66" fmla="*/ 111 w 130"/>
                <a:gd name="T67" fmla="*/ 2 h 101"/>
                <a:gd name="T68" fmla="*/ 107 w 130"/>
                <a:gd name="T69" fmla="*/ 0 h 101"/>
                <a:gd name="T70" fmla="*/ 95 w 130"/>
                <a:gd name="T71" fmla="*/ 2 h 101"/>
                <a:gd name="T72" fmla="*/ 87 w 130"/>
                <a:gd name="T73" fmla="*/ 2 h 101"/>
                <a:gd name="T74" fmla="*/ 78 w 130"/>
                <a:gd name="T75" fmla="*/ 3 h 101"/>
                <a:gd name="T76" fmla="*/ 69 w 130"/>
                <a:gd name="T77" fmla="*/ 4 h 101"/>
                <a:gd name="T78" fmla="*/ 59 w 130"/>
                <a:gd name="T79" fmla="*/ 4 h 101"/>
                <a:gd name="T80" fmla="*/ 50 w 130"/>
                <a:gd name="T81" fmla="*/ 5 h 101"/>
                <a:gd name="T82" fmla="*/ 44 w 130"/>
                <a:gd name="T83" fmla="*/ 8 h 101"/>
                <a:gd name="T84" fmla="*/ 38 w 130"/>
                <a:gd name="T85" fmla="*/ 11 h 101"/>
                <a:gd name="T86" fmla="*/ 33 w 130"/>
                <a:gd name="T87" fmla="*/ 14 h 101"/>
                <a:gd name="T88" fmla="*/ 29 w 130"/>
                <a:gd name="T89" fmla="*/ 19 h 101"/>
                <a:gd name="T90" fmla="*/ 22 w 130"/>
                <a:gd name="T91" fmla="*/ 27 h 101"/>
                <a:gd name="T92" fmla="*/ 15 w 130"/>
                <a:gd name="T93" fmla="*/ 38 h 101"/>
                <a:gd name="T94" fmla="*/ 7 w 130"/>
                <a:gd name="T95" fmla="*/ 47 h 101"/>
                <a:gd name="T96" fmla="*/ 0 w 130"/>
                <a:gd name="T97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01">
                  <a:moveTo>
                    <a:pt x="0" y="57"/>
                  </a:moveTo>
                  <a:lnTo>
                    <a:pt x="13" y="60"/>
                  </a:lnTo>
                  <a:lnTo>
                    <a:pt x="25" y="65"/>
                  </a:lnTo>
                  <a:lnTo>
                    <a:pt x="29" y="68"/>
                  </a:lnTo>
                  <a:lnTo>
                    <a:pt x="34" y="70"/>
                  </a:lnTo>
                  <a:lnTo>
                    <a:pt x="39" y="73"/>
                  </a:lnTo>
                  <a:lnTo>
                    <a:pt x="43" y="76"/>
                  </a:lnTo>
                  <a:lnTo>
                    <a:pt x="48" y="81"/>
                  </a:lnTo>
                  <a:lnTo>
                    <a:pt x="53" y="86"/>
                  </a:lnTo>
                  <a:lnTo>
                    <a:pt x="58" y="90"/>
                  </a:lnTo>
                  <a:lnTo>
                    <a:pt x="64" y="92"/>
                  </a:lnTo>
                  <a:lnTo>
                    <a:pt x="70" y="95"/>
                  </a:lnTo>
                  <a:lnTo>
                    <a:pt x="73" y="97"/>
                  </a:lnTo>
                  <a:lnTo>
                    <a:pt x="80" y="100"/>
                  </a:lnTo>
                  <a:lnTo>
                    <a:pt x="84" y="101"/>
                  </a:lnTo>
                  <a:lnTo>
                    <a:pt x="89" y="100"/>
                  </a:lnTo>
                  <a:lnTo>
                    <a:pt x="92" y="98"/>
                  </a:lnTo>
                  <a:lnTo>
                    <a:pt x="94" y="96"/>
                  </a:lnTo>
                  <a:lnTo>
                    <a:pt x="97" y="92"/>
                  </a:lnTo>
                  <a:lnTo>
                    <a:pt x="100" y="85"/>
                  </a:lnTo>
                  <a:lnTo>
                    <a:pt x="104" y="78"/>
                  </a:lnTo>
                  <a:lnTo>
                    <a:pt x="114" y="67"/>
                  </a:lnTo>
                  <a:lnTo>
                    <a:pt x="121" y="53"/>
                  </a:lnTo>
                  <a:lnTo>
                    <a:pt x="125" y="43"/>
                  </a:lnTo>
                  <a:lnTo>
                    <a:pt x="127" y="35"/>
                  </a:lnTo>
                  <a:lnTo>
                    <a:pt x="130" y="25"/>
                  </a:lnTo>
                  <a:lnTo>
                    <a:pt x="130" y="14"/>
                  </a:lnTo>
                  <a:lnTo>
                    <a:pt x="130" y="11"/>
                  </a:lnTo>
                  <a:lnTo>
                    <a:pt x="129" y="10"/>
                  </a:lnTo>
                  <a:lnTo>
                    <a:pt x="126" y="9"/>
                  </a:lnTo>
                  <a:lnTo>
                    <a:pt x="124" y="7"/>
                  </a:lnTo>
                  <a:lnTo>
                    <a:pt x="120" y="4"/>
                  </a:lnTo>
                  <a:lnTo>
                    <a:pt x="115" y="2"/>
                  </a:lnTo>
                  <a:lnTo>
                    <a:pt x="111" y="2"/>
                  </a:lnTo>
                  <a:lnTo>
                    <a:pt x="107" y="0"/>
                  </a:lnTo>
                  <a:lnTo>
                    <a:pt x="95" y="2"/>
                  </a:lnTo>
                  <a:lnTo>
                    <a:pt x="87" y="2"/>
                  </a:lnTo>
                  <a:lnTo>
                    <a:pt x="78" y="3"/>
                  </a:lnTo>
                  <a:lnTo>
                    <a:pt x="69" y="4"/>
                  </a:lnTo>
                  <a:lnTo>
                    <a:pt x="59" y="4"/>
                  </a:lnTo>
                  <a:lnTo>
                    <a:pt x="50" y="5"/>
                  </a:lnTo>
                  <a:lnTo>
                    <a:pt x="44" y="8"/>
                  </a:lnTo>
                  <a:lnTo>
                    <a:pt x="38" y="11"/>
                  </a:lnTo>
                  <a:lnTo>
                    <a:pt x="33" y="14"/>
                  </a:lnTo>
                  <a:lnTo>
                    <a:pt x="29" y="19"/>
                  </a:lnTo>
                  <a:lnTo>
                    <a:pt x="22" y="27"/>
                  </a:lnTo>
                  <a:lnTo>
                    <a:pt x="15" y="38"/>
                  </a:lnTo>
                  <a:lnTo>
                    <a:pt x="7" y="47"/>
                  </a:lnTo>
                  <a:lnTo>
                    <a:pt x="0" y="57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92" name="Freeform 155">
              <a:extLst>
                <a:ext uri="{FF2B5EF4-FFF2-40B4-BE49-F238E27FC236}">
                  <a16:creationId xmlns:a16="http://schemas.microsoft.com/office/drawing/2014/main" id="{73C4F9FA-E2A4-4209-91DF-D15A1D1E5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010" y="4744864"/>
              <a:ext cx="15046" cy="16960"/>
            </a:xfrm>
            <a:custGeom>
              <a:avLst/>
              <a:gdLst>
                <a:gd name="T0" fmla="*/ 0 w 53"/>
                <a:gd name="T1" fmla="*/ 39 h 57"/>
                <a:gd name="T2" fmla="*/ 0 w 53"/>
                <a:gd name="T3" fmla="*/ 57 h 57"/>
                <a:gd name="T4" fmla="*/ 10 w 53"/>
                <a:gd name="T5" fmla="*/ 52 h 57"/>
                <a:gd name="T6" fmla="*/ 19 w 53"/>
                <a:gd name="T7" fmla="*/ 46 h 57"/>
                <a:gd name="T8" fmla="*/ 28 w 53"/>
                <a:gd name="T9" fmla="*/ 41 h 57"/>
                <a:gd name="T10" fmla="*/ 37 w 53"/>
                <a:gd name="T11" fmla="*/ 36 h 57"/>
                <a:gd name="T12" fmla="*/ 41 w 53"/>
                <a:gd name="T13" fmla="*/ 34 h 57"/>
                <a:gd name="T14" fmla="*/ 44 w 53"/>
                <a:gd name="T15" fmla="*/ 30 h 57"/>
                <a:gd name="T16" fmla="*/ 47 w 53"/>
                <a:gd name="T17" fmla="*/ 25 h 57"/>
                <a:gd name="T18" fmla="*/ 49 w 53"/>
                <a:gd name="T19" fmla="*/ 22 h 57"/>
                <a:gd name="T20" fmla="*/ 52 w 53"/>
                <a:gd name="T21" fmla="*/ 12 h 57"/>
                <a:gd name="T22" fmla="*/ 53 w 53"/>
                <a:gd name="T23" fmla="*/ 2 h 57"/>
                <a:gd name="T24" fmla="*/ 50 w 53"/>
                <a:gd name="T25" fmla="*/ 1 h 57"/>
                <a:gd name="T26" fmla="*/ 47 w 53"/>
                <a:gd name="T27" fmla="*/ 0 h 57"/>
                <a:gd name="T28" fmla="*/ 39 w 53"/>
                <a:gd name="T29" fmla="*/ 1 h 57"/>
                <a:gd name="T30" fmla="*/ 33 w 53"/>
                <a:gd name="T31" fmla="*/ 5 h 57"/>
                <a:gd name="T32" fmla="*/ 28 w 53"/>
                <a:gd name="T33" fmla="*/ 9 h 57"/>
                <a:gd name="T34" fmla="*/ 22 w 53"/>
                <a:gd name="T35" fmla="*/ 14 h 57"/>
                <a:gd name="T36" fmla="*/ 14 w 53"/>
                <a:gd name="T37" fmla="*/ 19 h 57"/>
                <a:gd name="T38" fmla="*/ 8 w 53"/>
                <a:gd name="T39" fmla="*/ 24 h 57"/>
                <a:gd name="T40" fmla="*/ 4 w 53"/>
                <a:gd name="T41" fmla="*/ 28 h 57"/>
                <a:gd name="T42" fmla="*/ 3 w 53"/>
                <a:gd name="T43" fmla="*/ 31 h 57"/>
                <a:gd name="T44" fmla="*/ 2 w 53"/>
                <a:gd name="T45" fmla="*/ 35 h 57"/>
                <a:gd name="T46" fmla="*/ 0 w 53"/>
                <a:gd name="T47" fmla="*/ 3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" h="57">
                  <a:moveTo>
                    <a:pt x="0" y="39"/>
                  </a:moveTo>
                  <a:lnTo>
                    <a:pt x="0" y="57"/>
                  </a:lnTo>
                  <a:lnTo>
                    <a:pt x="10" y="52"/>
                  </a:lnTo>
                  <a:lnTo>
                    <a:pt x="19" y="46"/>
                  </a:lnTo>
                  <a:lnTo>
                    <a:pt x="28" y="41"/>
                  </a:lnTo>
                  <a:lnTo>
                    <a:pt x="37" y="36"/>
                  </a:lnTo>
                  <a:lnTo>
                    <a:pt x="41" y="34"/>
                  </a:lnTo>
                  <a:lnTo>
                    <a:pt x="44" y="30"/>
                  </a:lnTo>
                  <a:lnTo>
                    <a:pt x="47" y="25"/>
                  </a:lnTo>
                  <a:lnTo>
                    <a:pt x="49" y="22"/>
                  </a:lnTo>
                  <a:lnTo>
                    <a:pt x="52" y="12"/>
                  </a:lnTo>
                  <a:lnTo>
                    <a:pt x="53" y="2"/>
                  </a:lnTo>
                  <a:lnTo>
                    <a:pt x="50" y="1"/>
                  </a:lnTo>
                  <a:lnTo>
                    <a:pt x="47" y="0"/>
                  </a:lnTo>
                  <a:lnTo>
                    <a:pt x="39" y="1"/>
                  </a:lnTo>
                  <a:lnTo>
                    <a:pt x="33" y="5"/>
                  </a:lnTo>
                  <a:lnTo>
                    <a:pt x="28" y="9"/>
                  </a:lnTo>
                  <a:lnTo>
                    <a:pt x="22" y="14"/>
                  </a:lnTo>
                  <a:lnTo>
                    <a:pt x="14" y="19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3" y="31"/>
                  </a:lnTo>
                  <a:lnTo>
                    <a:pt x="2" y="35"/>
                  </a:lnTo>
                  <a:lnTo>
                    <a:pt x="0" y="39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grpSp>
          <p:nvGrpSpPr>
            <p:cNvPr id="393" name="Group 392"/>
            <p:cNvGrpSpPr>
              <a:grpSpLocks noChangeAspect="1"/>
            </p:cNvGrpSpPr>
            <p:nvPr/>
          </p:nvGrpSpPr>
          <p:grpSpPr>
            <a:xfrm>
              <a:off x="5635871" y="5286376"/>
              <a:ext cx="501277" cy="83072"/>
              <a:chOff x="1393825" y="3697965"/>
              <a:chExt cx="14087128" cy="2334536"/>
            </a:xfrm>
            <a:solidFill>
              <a:srgbClr val="D1E8F7"/>
            </a:solidFill>
          </p:grpSpPr>
          <p:sp>
            <p:nvSpPr>
              <p:cNvPr id="767" name="Freeform 7"/>
              <p:cNvSpPr>
                <a:spLocks/>
              </p:cNvSpPr>
              <p:nvPr/>
            </p:nvSpPr>
            <p:spPr bwMode="auto">
              <a:xfrm>
                <a:off x="9905658" y="3697965"/>
                <a:ext cx="4683119" cy="1722436"/>
              </a:xfrm>
              <a:custGeom>
                <a:avLst/>
                <a:gdLst>
                  <a:gd name="T0" fmla="*/ 11675 w 11803"/>
                  <a:gd name="T1" fmla="*/ 2224 h 4339"/>
                  <a:gd name="T2" fmla="*/ 11792 w 11803"/>
                  <a:gd name="T3" fmla="*/ 2124 h 4339"/>
                  <a:gd name="T4" fmla="*/ 11608 w 11803"/>
                  <a:gd name="T5" fmla="*/ 1928 h 4339"/>
                  <a:gd name="T6" fmla="*/ 11526 w 11803"/>
                  <a:gd name="T7" fmla="*/ 1477 h 4339"/>
                  <a:gd name="T8" fmla="*/ 11598 w 11803"/>
                  <a:gd name="T9" fmla="*/ 1090 h 4339"/>
                  <a:gd name="T10" fmla="*/ 11413 w 11803"/>
                  <a:gd name="T11" fmla="*/ 1039 h 4339"/>
                  <a:gd name="T12" fmla="*/ 10913 w 11803"/>
                  <a:gd name="T13" fmla="*/ 997 h 4339"/>
                  <a:gd name="T14" fmla="*/ 10535 w 11803"/>
                  <a:gd name="T15" fmla="*/ 766 h 4339"/>
                  <a:gd name="T16" fmla="*/ 10164 w 11803"/>
                  <a:gd name="T17" fmla="*/ 717 h 4339"/>
                  <a:gd name="T18" fmla="*/ 9357 w 11803"/>
                  <a:gd name="T19" fmla="*/ 505 h 4339"/>
                  <a:gd name="T20" fmla="*/ 8697 w 11803"/>
                  <a:gd name="T21" fmla="*/ 514 h 4339"/>
                  <a:gd name="T22" fmla="*/ 8180 w 11803"/>
                  <a:gd name="T23" fmla="*/ 405 h 4339"/>
                  <a:gd name="T24" fmla="*/ 8145 w 11803"/>
                  <a:gd name="T25" fmla="*/ 552 h 4339"/>
                  <a:gd name="T26" fmla="*/ 7827 w 11803"/>
                  <a:gd name="T27" fmla="*/ 450 h 4339"/>
                  <a:gd name="T28" fmla="*/ 7269 w 11803"/>
                  <a:gd name="T29" fmla="*/ 352 h 4339"/>
                  <a:gd name="T30" fmla="*/ 6595 w 11803"/>
                  <a:gd name="T31" fmla="*/ 247 h 4339"/>
                  <a:gd name="T32" fmla="*/ 6106 w 11803"/>
                  <a:gd name="T33" fmla="*/ 183 h 4339"/>
                  <a:gd name="T34" fmla="*/ 5282 w 11803"/>
                  <a:gd name="T35" fmla="*/ 264 h 4339"/>
                  <a:gd name="T36" fmla="*/ 4604 w 11803"/>
                  <a:gd name="T37" fmla="*/ 180 h 4339"/>
                  <a:gd name="T38" fmla="*/ 3985 w 11803"/>
                  <a:gd name="T39" fmla="*/ 304 h 4339"/>
                  <a:gd name="T40" fmla="*/ 2952 w 11803"/>
                  <a:gd name="T41" fmla="*/ 180 h 4339"/>
                  <a:gd name="T42" fmla="*/ 2061 w 11803"/>
                  <a:gd name="T43" fmla="*/ 167 h 4339"/>
                  <a:gd name="T44" fmla="*/ 1160 w 11803"/>
                  <a:gd name="T45" fmla="*/ 27 h 4339"/>
                  <a:gd name="T46" fmla="*/ 804 w 11803"/>
                  <a:gd name="T47" fmla="*/ 631 h 4339"/>
                  <a:gd name="T48" fmla="*/ 1 w 11803"/>
                  <a:gd name="T49" fmla="*/ 1138 h 4339"/>
                  <a:gd name="T50" fmla="*/ 549 w 11803"/>
                  <a:gd name="T51" fmla="*/ 1690 h 4339"/>
                  <a:gd name="T52" fmla="*/ 811 w 11803"/>
                  <a:gd name="T53" fmla="*/ 2289 h 4339"/>
                  <a:gd name="T54" fmla="*/ 609 w 11803"/>
                  <a:gd name="T55" fmla="*/ 2803 h 4339"/>
                  <a:gd name="T56" fmla="*/ 512 w 11803"/>
                  <a:gd name="T57" fmla="*/ 3187 h 4339"/>
                  <a:gd name="T58" fmla="*/ 501 w 11803"/>
                  <a:gd name="T59" fmla="*/ 3365 h 4339"/>
                  <a:gd name="T60" fmla="*/ 675 w 11803"/>
                  <a:gd name="T61" fmla="*/ 3724 h 4339"/>
                  <a:gd name="T62" fmla="*/ 454 w 11803"/>
                  <a:gd name="T63" fmla="*/ 4007 h 4339"/>
                  <a:gd name="T64" fmla="*/ 524 w 11803"/>
                  <a:gd name="T65" fmla="*/ 4126 h 4339"/>
                  <a:gd name="T66" fmla="*/ 1107 w 11803"/>
                  <a:gd name="T67" fmla="*/ 4132 h 4339"/>
                  <a:gd name="T68" fmla="*/ 1395 w 11803"/>
                  <a:gd name="T69" fmla="*/ 4008 h 4339"/>
                  <a:gd name="T70" fmla="*/ 1773 w 11803"/>
                  <a:gd name="T71" fmla="*/ 4006 h 4339"/>
                  <a:gd name="T72" fmla="*/ 2134 w 11803"/>
                  <a:gd name="T73" fmla="*/ 4187 h 4339"/>
                  <a:gd name="T74" fmla="*/ 2504 w 11803"/>
                  <a:gd name="T75" fmla="*/ 4203 h 4339"/>
                  <a:gd name="T76" fmla="*/ 2535 w 11803"/>
                  <a:gd name="T77" fmla="*/ 4063 h 4339"/>
                  <a:gd name="T78" fmla="*/ 2855 w 11803"/>
                  <a:gd name="T79" fmla="*/ 4215 h 4339"/>
                  <a:gd name="T80" fmla="*/ 3431 w 11803"/>
                  <a:gd name="T81" fmla="*/ 3943 h 4339"/>
                  <a:gd name="T82" fmla="*/ 3323 w 11803"/>
                  <a:gd name="T83" fmla="*/ 3904 h 4339"/>
                  <a:gd name="T84" fmla="*/ 3615 w 11803"/>
                  <a:gd name="T85" fmla="*/ 3849 h 4339"/>
                  <a:gd name="T86" fmla="*/ 3692 w 11803"/>
                  <a:gd name="T87" fmla="*/ 3882 h 4339"/>
                  <a:gd name="T88" fmla="*/ 4252 w 11803"/>
                  <a:gd name="T89" fmla="*/ 4032 h 4339"/>
                  <a:gd name="T90" fmla="*/ 4679 w 11803"/>
                  <a:gd name="T91" fmla="*/ 4045 h 4339"/>
                  <a:gd name="T92" fmla="*/ 5552 w 11803"/>
                  <a:gd name="T93" fmla="*/ 3883 h 4339"/>
                  <a:gd name="T94" fmla="*/ 6028 w 11803"/>
                  <a:gd name="T95" fmla="*/ 4134 h 4339"/>
                  <a:gd name="T96" fmla="*/ 6453 w 11803"/>
                  <a:gd name="T97" fmla="*/ 4049 h 4339"/>
                  <a:gd name="T98" fmla="*/ 6907 w 11803"/>
                  <a:gd name="T99" fmla="*/ 4226 h 4339"/>
                  <a:gd name="T100" fmla="*/ 7493 w 11803"/>
                  <a:gd name="T101" fmla="*/ 4096 h 4339"/>
                  <a:gd name="T102" fmla="*/ 7456 w 11803"/>
                  <a:gd name="T103" fmla="*/ 4282 h 4339"/>
                  <a:gd name="T104" fmla="*/ 7822 w 11803"/>
                  <a:gd name="T105" fmla="*/ 4271 h 4339"/>
                  <a:gd name="T106" fmla="*/ 8314 w 11803"/>
                  <a:gd name="T107" fmla="*/ 4072 h 4339"/>
                  <a:gd name="T108" fmla="*/ 8954 w 11803"/>
                  <a:gd name="T109" fmla="*/ 3978 h 4339"/>
                  <a:gd name="T110" fmla="*/ 9666 w 11803"/>
                  <a:gd name="T111" fmla="*/ 3869 h 4339"/>
                  <a:gd name="T112" fmla="*/ 10082 w 11803"/>
                  <a:gd name="T113" fmla="*/ 3695 h 4339"/>
                  <a:gd name="T114" fmla="*/ 10215 w 11803"/>
                  <a:gd name="T115" fmla="*/ 3350 h 4339"/>
                  <a:gd name="T116" fmla="*/ 10350 w 11803"/>
                  <a:gd name="T117" fmla="*/ 3259 h 4339"/>
                  <a:gd name="T118" fmla="*/ 10719 w 11803"/>
                  <a:gd name="T119" fmla="*/ 2604 h 4339"/>
                  <a:gd name="T120" fmla="*/ 11072 w 11803"/>
                  <a:gd name="T121" fmla="*/ 2403 h 4339"/>
                  <a:gd name="T122" fmla="*/ 11497 w 11803"/>
                  <a:gd name="T123" fmla="*/ 2332 h 4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03" h="4339">
                    <a:moveTo>
                      <a:pt x="11499" y="2097"/>
                    </a:moveTo>
                    <a:lnTo>
                      <a:pt x="11509" y="2088"/>
                    </a:lnTo>
                    <a:lnTo>
                      <a:pt x="11516" y="2084"/>
                    </a:lnTo>
                    <a:lnTo>
                      <a:pt x="11521" y="2081"/>
                    </a:lnTo>
                    <a:lnTo>
                      <a:pt x="11526" y="2081"/>
                    </a:lnTo>
                    <a:lnTo>
                      <a:pt x="11536" y="2087"/>
                    </a:lnTo>
                    <a:lnTo>
                      <a:pt x="11551" y="2095"/>
                    </a:lnTo>
                    <a:lnTo>
                      <a:pt x="11559" y="2098"/>
                    </a:lnTo>
                    <a:lnTo>
                      <a:pt x="11568" y="2103"/>
                    </a:lnTo>
                    <a:lnTo>
                      <a:pt x="11570" y="2106"/>
                    </a:lnTo>
                    <a:lnTo>
                      <a:pt x="11573" y="2109"/>
                    </a:lnTo>
                    <a:lnTo>
                      <a:pt x="11575" y="2114"/>
                    </a:lnTo>
                    <a:lnTo>
                      <a:pt x="11575" y="2120"/>
                    </a:lnTo>
                    <a:lnTo>
                      <a:pt x="11582" y="2115"/>
                    </a:lnTo>
                    <a:lnTo>
                      <a:pt x="11586" y="2112"/>
                    </a:lnTo>
                    <a:lnTo>
                      <a:pt x="11587" y="2110"/>
                    </a:lnTo>
                    <a:lnTo>
                      <a:pt x="11590" y="2113"/>
                    </a:lnTo>
                    <a:lnTo>
                      <a:pt x="11593" y="2117"/>
                    </a:lnTo>
                    <a:lnTo>
                      <a:pt x="11598" y="2123"/>
                    </a:lnTo>
                    <a:lnTo>
                      <a:pt x="11603" y="2130"/>
                    </a:lnTo>
                    <a:lnTo>
                      <a:pt x="11604" y="2135"/>
                    </a:lnTo>
                    <a:lnTo>
                      <a:pt x="11604" y="2140"/>
                    </a:lnTo>
                    <a:lnTo>
                      <a:pt x="11602" y="2145"/>
                    </a:lnTo>
                    <a:lnTo>
                      <a:pt x="11596" y="2153"/>
                    </a:lnTo>
                    <a:lnTo>
                      <a:pt x="11591" y="2164"/>
                    </a:lnTo>
                    <a:lnTo>
                      <a:pt x="11606" y="2161"/>
                    </a:lnTo>
                    <a:lnTo>
                      <a:pt x="11620" y="2158"/>
                    </a:lnTo>
                    <a:lnTo>
                      <a:pt x="11620" y="2159"/>
                    </a:lnTo>
                    <a:lnTo>
                      <a:pt x="11626" y="2161"/>
                    </a:lnTo>
                    <a:lnTo>
                      <a:pt x="11633" y="2163"/>
                    </a:lnTo>
                    <a:lnTo>
                      <a:pt x="11636" y="2166"/>
                    </a:lnTo>
                    <a:lnTo>
                      <a:pt x="11640" y="2170"/>
                    </a:lnTo>
                    <a:lnTo>
                      <a:pt x="11642" y="2175"/>
                    </a:lnTo>
                    <a:lnTo>
                      <a:pt x="11644" y="2181"/>
                    </a:lnTo>
                    <a:lnTo>
                      <a:pt x="11645" y="2189"/>
                    </a:lnTo>
                    <a:lnTo>
                      <a:pt x="11646" y="2196"/>
                    </a:lnTo>
                    <a:lnTo>
                      <a:pt x="11646" y="2212"/>
                    </a:lnTo>
                    <a:lnTo>
                      <a:pt x="11646" y="2227"/>
                    </a:lnTo>
                    <a:lnTo>
                      <a:pt x="11646" y="2241"/>
                    </a:lnTo>
                    <a:lnTo>
                      <a:pt x="11648" y="2254"/>
                    </a:lnTo>
                    <a:lnTo>
                      <a:pt x="11650" y="2255"/>
                    </a:lnTo>
                    <a:lnTo>
                      <a:pt x="11651" y="2255"/>
                    </a:lnTo>
                    <a:lnTo>
                      <a:pt x="11652" y="2252"/>
                    </a:lnTo>
                    <a:lnTo>
                      <a:pt x="11653" y="2250"/>
                    </a:lnTo>
                    <a:lnTo>
                      <a:pt x="11656" y="2241"/>
                    </a:lnTo>
                    <a:lnTo>
                      <a:pt x="11655" y="2233"/>
                    </a:lnTo>
                    <a:lnTo>
                      <a:pt x="11655" y="2230"/>
                    </a:lnTo>
                    <a:lnTo>
                      <a:pt x="11655" y="2228"/>
                    </a:lnTo>
                    <a:lnTo>
                      <a:pt x="11656" y="2227"/>
                    </a:lnTo>
                    <a:lnTo>
                      <a:pt x="11658" y="2226"/>
                    </a:lnTo>
                    <a:lnTo>
                      <a:pt x="11663" y="2224"/>
                    </a:lnTo>
                    <a:lnTo>
                      <a:pt x="11669" y="2224"/>
                    </a:lnTo>
                    <a:lnTo>
                      <a:pt x="11675" y="2224"/>
                    </a:lnTo>
                    <a:lnTo>
                      <a:pt x="11680" y="2226"/>
                    </a:lnTo>
                    <a:lnTo>
                      <a:pt x="11685" y="2228"/>
                    </a:lnTo>
                    <a:lnTo>
                      <a:pt x="11686" y="2229"/>
                    </a:lnTo>
                    <a:lnTo>
                      <a:pt x="11686" y="2234"/>
                    </a:lnTo>
                    <a:lnTo>
                      <a:pt x="11689" y="2238"/>
                    </a:lnTo>
                    <a:lnTo>
                      <a:pt x="11690" y="2241"/>
                    </a:lnTo>
                    <a:lnTo>
                      <a:pt x="11694" y="2244"/>
                    </a:lnTo>
                    <a:lnTo>
                      <a:pt x="11697" y="2245"/>
                    </a:lnTo>
                    <a:lnTo>
                      <a:pt x="11701" y="2245"/>
                    </a:lnTo>
                    <a:lnTo>
                      <a:pt x="11705" y="2245"/>
                    </a:lnTo>
                    <a:lnTo>
                      <a:pt x="11708" y="2245"/>
                    </a:lnTo>
                    <a:lnTo>
                      <a:pt x="11716" y="2243"/>
                    </a:lnTo>
                    <a:lnTo>
                      <a:pt x="11722" y="2239"/>
                    </a:lnTo>
                    <a:lnTo>
                      <a:pt x="11723" y="2237"/>
                    </a:lnTo>
                    <a:lnTo>
                      <a:pt x="11724" y="2235"/>
                    </a:lnTo>
                    <a:lnTo>
                      <a:pt x="11724" y="2233"/>
                    </a:lnTo>
                    <a:lnTo>
                      <a:pt x="11723" y="2230"/>
                    </a:lnTo>
                    <a:lnTo>
                      <a:pt x="11707" y="2224"/>
                    </a:lnTo>
                    <a:lnTo>
                      <a:pt x="11689" y="2217"/>
                    </a:lnTo>
                    <a:lnTo>
                      <a:pt x="11678" y="2210"/>
                    </a:lnTo>
                    <a:lnTo>
                      <a:pt x="11677" y="2207"/>
                    </a:lnTo>
                    <a:lnTo>
                      <a:pt x="11680" y="2203"/>
                    </a:lnTo>
                    <a:lnTo>
                      <a:pt x="11686" y="2194"/>
                    </a:lnTo>
                    <a:lnTo>
                      <a:pt x="11693" y="2184"/>
                    </a:lnTo>
                    <a:lnTo>
                      <a:pt x="11695" y="2178"/>
                    </a:lnTo>
                    <a:lnTo>
                      <a:pt x="11696" y="2173"/>
                    </a:lnTo>
                    <a:lnTo>
                      <a:pt x="11694" y="2170"/>
                    </a:lnTo>
                    <a:lnTo>
                      <a:pt x="11691" y="2167"/>
                    </a:lnTo>
                    <a:lnTo>
                      <a:pt x="11688" y="2164"/>
                    </a:lnTo>
                    <a:lnTo>
                      <a:pt x="11684" y="2159"/>
                    </a:lnTo>
                    <a:lnTo>
                      <a:pt x="11681" y="2152"/>
                    </a:lnTo>
                    <a:lnTo>
                      <a:pt x="11681" y="2147"/>
                    </a:lnTo>
                    <a:lnTo>
                      <a:pt x="11684" y="2142"/>
                    </a:lnTo>
                    <a:lnTo>
                      <a:pt x="11688" y="2135"/>
                    </a:lnTo>
                    <a:lnTo>
                      <a:pt x="11691" y="2129"/>
                    </a:lnTo>
                    <a:lnTo>
                      <a:pt x="11696" y="2123"/>
                    </a:lnTo>
                    <a:lnTo>
                      <a:pt x="11701" y="2118"/>
                    </a:lnTo>
                    <a:lnTo>
                      <a:pt x="11706" y="2114"/>
                    </a:lnTo>
                    <a:lnTo>
                      <a:pt x="11710" y="2113"/>
                    </a:lnTo>
                    <a:lnTo>
                      <a:pt x="11717" y="2114"/>
                    </a:lnTo>
                    <a:lnTo>
                      <a:pt x="11727" y="2119"/>
                    </a:lnTo>
                    <a:lnTo>
                      <a:pt x="11737" y="2126"/>
                    </a:lnTo>
                    <a:lnTo>
                      <a:pt x="11746" y="2134"/>
                    </a:lnTo>
                    <a:lnTo>
                      <a:pt x="11756" y="2141"/>
                    </a:lnTo>
                    <a:lnTo>
                      <a:pt x="11765" y="2147"/>
                    </a:lnTo>
                    <a:lnTo>
                      <a:pt x="11768" y="2148"/>
                    </a:lnTo>
                    <a:lnTo>
                      <a:pt x="11772" y="2150"/>
                    </a:lnTo>
                    <a:lnTo>
                      <a:pt x="11776" y="2150"/>
                    </a:lnTo>
                    <a:lnTo>
                      <a:pt x="11778" y="2148"/>
                    </a:lnTo>
                    <a:lnTo>
                      <a:pt x="11783" y="2141"/>
                    </a:lnTo>
                    <a:lnTo>
                      <a:pt x="11787" y="2133"/>
                    </a:lnTo>
                    <a:lnTo>
                      <a:pt x="11789" y="2128"/>
                    </a:lnTo>
                    <a:lnTo>
                      <a:pt x="11792" y="2124"/>
                    </a:lnTo>
                    <a:lnTo>
                      <a:pt x="11795" y="2121"/>
                    </a:lnTo>
                    <a:lnTo>
                      <a:pt x="11800" y="2119"/>
                    </a:lnTo>
                    <a:lnTo>
                      <a:pt x="11801" y="2118"/>
                    </a:lnTo>
                    <a:lnTo>
                      <a:pt x="11803" y="2117"/>
                    </a:lnTo>
                    <a:lnTo>
                      <a:pt x="11803" y="2115"/>
                    </a:lnTo>
                    <a:lnTo>
                      <a:pt x="11801" y="2114"/>
                    </a:lnTo>
                    <a:lnTo>
                      <a:pt x="11798" y="2110"/>
                    </a:lnTo>
                    <a:lnTo>
                      <a:pt x="11792" y="2107"/>
                    </a:lnTo>
                    <a:lnTo>
                      <a:pt x="11779" y="2101"/>
                    </a:lnTo>
                    <a:lnTo>
                      <a:pt x="11772" y="2096"/>
                    </a:lnTo>
                    <a:lnTo>
                      <a:pt x="11760" y="2085"/>
                    </a:lnTo>
                    <a:lnTo>
                      <a:pt x="11749" y="2075"/>
                    </a:lnTo>
                    <a:lnTo>
                      <a:pt x="11739" y="2068"/>
                    </a:lnTo>
                    <a:lnTo>
                      <a:pt x="11729" y="2060"/>
                    </a:lnTo>
                    <a:lnTo>
                      <a:pt x="11721" y="2053"/>
                    </a:lnTo>
                    <a:lnTo>
                      <a:pt x="11713" y="2043"/>
                    </a:lnTo>
                    <a:lnTo>
                      <a:pt x="11710" y="2037"/>
                    </a:lnTo>
                    <a:lnTo>
                      <a:pt x="11706" y="2030"/>
                    </a:lnTo>
                    <a:lnTo>
                      <a:pt x="11704" y="2021"/>
                    </a:lnTo>
                    <a:lnTo>
                      <a:pt x="11701" y="2011"/>
                    </a:lnTo>
                    <a:lnTo>
                      <a:pt x="11699" y="2003"/>
                    </a:lnTo>
                    <a:lnTo>
                      <a:pt x="11695" y="1994"/>
                    </a:lnTo>
                    <a:lnTo>
                      <a:pt x="11689" y="1987"/>
                    </a:lnTo>
                    <a:lnTo>
                      <a:pt x="11684" y="1980"/>
                    </a:lnTo>
                    <a:lnTo>
                      <a:pt x="11678" y="1972"/>
                    </a:lnTo>
                    <a:lnTo>
                      <a:pt x="11673" y="1965"/>
                    </a:lnTo>
                    <a:lnTo>
                      <a:pt x="11668" y="1958"/>
                    </a:lnTo>
                    <a:lnTo>
                      <a:pt x="11664" y="1948"/>
                    </a:lnTo>
                    <a:lnTo>
                      <a:pt x="11663" y="1938"/>
                    </a:lnTo>
                    <a:lnTo>
                      <a:pt x="11663" y="1929"/>
                    </a:lnTo>
                    <a:lnTo>
                      <a:pt x="11664" y="1921"/>
                    </a:lnTo>
                    <a:lnTo>
                      <a:pt x="11668" y="1913"/>
                    </a:lnTo>
                    <a:lnTo>
                      <a:pt x="11679" y="1899"/>
                    </a:lnTo>
                    <a:lnTo>
                      <a:pt x="11690" y="1885"/>
                    </a:lnTo>
                    <a:lnTo>
                      <a:pt x="11691" y="1883"/>
                    </a:lnTo>
                    <a:lnTo>
                      <a:pt x="11693" y="1880"/>
                    </a:lnTo>
                    <a:lnTo>
                      <a:pt x="11691" y="1879"/>
                    </a:lnTo>
                    <a:lnTo>
                      <a:pt x="11690" y="1878"/>
                    </a:lnTo>
                    <a:lnTo>
                      <a:pt x="11685" y="1877"/>
                    </a:lnTo>
                    <a:lnTo>
                      <a:pt x="11678" y="1878"/>
                    </a:lnTo>
                    <a:lnTo>
                      <a:pt x="11670" y="1882"/>
                    </a:lnTo>
                    <a:lnTo>
                      <a:pt x="11662" y="1885"/>
                    </a:lnTo>
                    <a:lnTo>
                      <a:pt x="11659" y="1889"/>
                    </a:lnTo>
                    <a:lnTo>
                      <a:pt x="11656" y="1891"/>
                    </a:lnTo>
                    <a:lnTo>
                      <a:pt x="11653" y="1895"/>
                    </a:lnTo>
                    <a:lnTo>
                      <a:pt x="11651" y="1900"/>
                    </a:lnTo>
                    <a:lnTo>
                      <a:pt x="11648" y="1905"/>
                    </a:lnTo>
                    <a:lnTo>
                      <a:pt x="11645" y="1911"/>
                    </a:lnTo>
                    <a:lnTo>
                      <a:pt x="11641" y="1915"/>
                    </a:lnTo>
                    <a:lnTo>
                      <a:pt x="11637" y="1918"/>
                    </a:lnTo>
                    <a:lnTo>
                      <a:pt x="11629" y="1923"/>
                    </a:lnTo>
                    <a:lnTo>
                      <a:pt x="11619" y="1927"/>
                    </a:lnTo>
                    <a:lnTo>
                      <a:pt x="11608" y="1928"/>
                    </a:lnTo>
                    <a:lnTo>
                      <a:pt x="11597" y="1928"/>
                    </a:lnTo>
                    <a:lnTo>
                      <a:pt x="11586" y="1927"/>
                    </a:lnTo>
                    <a:lnTo>
                      <a:pt x="11575" y="1926"/>
                    </a:lnTo>
                    <a:lnTo>
                      <a:pt x="11563" y="1921"/>
                    </a:lnTo>
                    <a:lnTo>
                      <a:pt x="11553" y="1916"/>
                    </a:lnTo>
                    <a:lnTo>
                      <a:pt x="11543" y="1909"/>
                    </a:lnTo>
                    <a:lnTo>
                      <a:pt x="11535" y="1900"/>
                    </a:lnTo>
                    <a:lnTo>
                      <a:pt x="11527" y="1890"/>
                    </a:lnTo>
                    <a:lnTo>
                      <a:pt x="11521" y="1880"/>
                    </a:lnTo>
                    <a:lnTo>
                      <a:pt x="11517" y="1869"/>
                    </a:lnTo>
                    <a:lnTo>
                      <a:pt x="11516" y="1857"/>
                    </a:lnTo>
                    <a:lnTo>
                      <a:pt x="11520" y="1840"/>
                    </a:lnTo>
                    <a:lnTo>
                      <a:pt x="11526" y="1816"/>
                    </a:lnTo>
                    <a:lnTo>
                      <a:pt x="11532" y="1795"/>
                    </a:lnTo>
                    <a:lnTo>
                      <a:pt x="11536" y="1786"/>
                    </a:lnTo>
                    <a:lnTo>
                      <a:pt x="11530" y="1778"/>
                    </a:lnTo>
                    <a:lnTo>
                      <a:pt x="11526" y="1769"/>
                    </a:lnTo>
                    <a:lnTo>
                      <a:pt x="11524" y="1761"/>
                    </a:lnTo>
                    <a:lnTo>
                      <a:pt x="11521" y="1751"/>
                    </a:lnTo>
                    <a:lnTo>
                      <a:pt x="11515" y="1750"/>
                    </a:lnTo>
                    <a:lnTo>
                      <a:pt x="11510" y="1748"/>
                    </a:lnTo>
                    <a:lnTo>
                      <a:pt x="11505" y="1746"/>
                    </a:lnTo>
                    <a:lnTo>
                      <a:pt x="11502" y="1742"/>
                    </a:lnTo>
                    <a:lnTo>
                      <a:pt x="11494" y="1735"/>
                    </a:lnTo>
                    <a:lnTo>
                      <a:pt x="11491" y="1726"/>
                    </a:lnTo>
                    <a:lnTo>
                      <a:pt x="11487" y="1716"/>
                    </a:lnTo>
                    <a:lnTo>
                      <a:pt x="11486" y="1707"/>
                    </a:lnTo>
                    <a:lnTo>
                      <a:pt x="11484" y="1696"/>
                    </a:lnTo>
                    <a:lnTo>
                      <a:pt x="11484" y="1685"/>
                    </a:lnTo>
                    <a:lnTo>
                      <a:pt x="11486" y="1676"/>
                    </a:lnTo>
                    <a:lnTo>
                      <a:pt x="11487" y="1670"/>
                    </a:lnTo>
                    <a:lnTo>
                      <a:pt x="11489" y="1663"/>
                    </a:lnTo>
                    <a:lnTo>
                      <a:pt x="11492" y="1657"/>
                    </a:lnTo>
                    <a:lnTo>
                      <a:pt x="11499" y="1647"/>
                    </a:lnTo>
                    <a:lnTo>
                      <a:pt x="11508" y="1637"/>
                    </a:lnTo>
                    <a:lnTo>
                      <a:pt x="11516" y="1628"/>
                    </a:lnTo>
                    <a:lnTo>
                      <a:pt x="11525" y="1619"/>
                    </a:lnTo>
                    <a:lnTo>
                      <a:pt x="11533" y="1608"/>
                    </a:lnTo>
                    <a:lnTo>
                      <a:pt x="11540" y="1594"/>
                    </a:lnTo>
                    <a:lnTo>
                      <a:pt x="11543" y="1581"/>
                    </a:lnTo>
                    <a:lnTo>
                      <a:pt x="11544" y="1564"/>
                    </a:lnTo>
                    <a:lnTo>
                      <a:pt x="11544" y="1545"/>
                    </a:lnTo>
                    <a:lnTo>
                      <a:pt x="11543" y="1530"/>
                    </a:lnTo>
                    <a:lnTo>
                      <a:pt x="11543" y="1526"/>
                    </a:lnTo>
                    <a:lnTo>
                      <a:pt x="11541" y="1523"/>
                    </a:lnTo>
                    <a:lnTo>
                      <a:pt x="11538" y="1521"/>
                    </a:lnTo>
                    <a:lnTo>
                      <a:pt x="11535" y="1518"/>
                    </a:lnTo>
                    <a:lnTo>
                      <a:pt x="11528" y="1516"/>
                    </a:lnTo>
                    <a:lnTo>
                      <a:pt x="11525" y="1511"/>
                    </a:lnTo>
                    <a:lnTo>
                      <a:pt x="11524" y="1502"/>
                    </a:lnTo>
                    <a:lnTo>
                      <a:pt x="11525" y="1490"/>
                    </a:lnTo>
                    <a:lnTo>
                      <a:pt x="11525" y="1479"/>
                    </a:lnTo>
                    <a:lnTo>
                      <a:pt x="11526" y="1477"/>
                    </a:lnTo>
                    <a:lnTo>
                      <a:pt x="11531" y="1450"/>
                    </a:lnTo>
                    <a:lnTo>
                      <a:pt x="11535" y="1423"/>
                    </a:lnTo>
                    <a:lnTo>
                      <a:pt x="11540" y="1396"/>
                    </a:lnTo>
                    <a:lnTo>
                      <a:pt x="11546" y="1369"/>
                    </a:lnTo>
                    <a:lnTo>
                      <a:pt x="11547" y="1362"/>
                    </a:lnTo>
                    <a:lnTo>
                      <a:pt x="11548" y="1356"/>
                    </a:lnTo>
                    <a:lnTo>
                      <a:pt x="11548" y="1351"/>
                    </a:lnTo>
                    <a:lnTo>
                      <a:pt x="11547" y="1347"/>
                    </a:lnTo>
                    <a:lnTo>
                      <a:pt x="11544" y="1343"/>
                    </a:lnTo>
                    <a:lnTo>
                      <a:pt x="11542" y="1342"/>
                    </a:lnTo>
                    <a:lnTo>
                      <a:pt x="11538" y="1340"/>
                    </a:lnTo>
                    <a:lnTo>
                      <a:pt x="11535" y="1338"/>
                    </a:lnTo>
                    <a:lnTo>
                      <a:pt x="11526" y="1336"/>
                    </a:lnTo>
                    <a:lnTo>
                      <a:pt x="11516" y="1332"/>
                    </a:lnTo>
                    <a:lnTo>
                      <a:pt x="11513" y="1330"/>
                    </a:lnTo>
                    <a:lnTo>
                      <a:pt x="11508" y="1326"/>
                    </a:lnTo>
                    <a:lnTo>
                      <a:pt x="11504" y="1321"/>
                    </a:lnTo>
                    <a:lnTo>
                      <a:pt x="11502" y="1315"/>
                    </a:lnTo>
                    <a:lnTo>
                      <a:pt x="11499" y="1308"/>
                    </a:lnTo>
                    <a:lnTo>
                      <a:pt x="11499" y="1302"/>
                    </a:lnTo>
                    <a:lnTo>
                      <a:pt x="11500" y="1297"/>
                    </a:lnTo>
                    <a:lnTo>
                      <a:pt x="11502" y="1292"/>
                    </a:lnTo>
                    <a:lnTo>
                      <a:pt x="11504" y="1287"/>
                    </a:lnTo>
                    <a:lnTo>
                      <a:pt x="11506" y="1283"/>
                    </a:lnTo>
                    <a:lnTo>
                      <a:pt x="11508" y="1278"/>
                    </a:lnTo>
                    <a:lnTo>
                      <a:pt x="11509" y="1272"/>
                    </a:lnTo>
                    <a:lnTo>
                      <a:pt x="11497" y="1272"/>
                    </a:lnTo>
                    <a:lnTo>
                      <a:pt x="11483" y="1271"/>
                    </a:lnTo>
                    <a:lnTo>
                      <a:pt x="11481" y="1271"/>
                    </a:lnTo>
                    <a:lnTo>
                      <a:pt x="11478" y="1270"/>
                    </a:lnTo>
                    <a:lnTo>
                      <a:pt x="11477" y="1269"/>
                    </a:lnTo>
                    <a:lnTo>
                      <a:pt x="11476" y="1267"/>
                    </a:lnTo>
                    <a:lnTo>
                      <a:pt x="11476" y="1265"/>
                    </a:lnTo>
                    <a:lnTo>
                      <a:pt x="11477" y="1263"/>
                    </a:lnTo>
                    <a:lnTo>
                      <a:pt x="11478" y="1259"/>
                    </a:lnTo>
                    <a:lnTo>
                      <a:pt x="11482" y="1254"/>
                    </a:lnTo>
                    <a:lnTo>
                      <a:pt x="11525" y="1205"/>
                    </a:lnTo>
                    <a:lnTo>
                      <a:pt x="11531" y="1198"/>
                    </a:lnTo>
                    <a:lnTo>
                      <a:pt x="11536" y="1190"/>
                    </a:lnTo>
                    <a:lnTo>
                      <a:pt x="11540" y="1183"/>
                    </a:lnTo>
                    <a:lnTo>
                      <a:pt x="11543" y="1174"/>
                    </a:lnTo>
                    <a:lnTo>
                      <a:pt x="11548" y="1159"/>
                    </a:lnTo>
                    <a:lnTo>
                      <a:pt x="11552" y="1144"/>
                    </a:lnTo>
                    <a:lnTo>
                      <a:pt x="11557" y="1130"/>
                    </a:lnTo>
                    <a:lnTo>
                      <a:pt x="11562" y="1118"/>
                    </a:lnTo>
                    <a:lnTo>
                      <a:pt x="11565" y="1112"/>
                    </a:lnTo>
                    <a:lnTo>
                      <a:pt x="11570" y="1108"/>
                    </a:lnTo>
                    <a:lnTo>
                      <a:pt x="11576" y="1105"/>
                    </a:lnTo>
                    <a:lnTo>
                      <a:pt x="11582" y="1102"/>
                    </a:lnTo>
                    <a:lnTo>
                      <a:pt x="11587" y="1100"/>
                    </a:lnTo>
                    <a:lnTo>
                      <a:pt x="11592" y="1097"/>
                    </a:lnTo>
                    <a:lnTo>
                      <a:pt x="11596" y="1094"/>
                    </a:lnTo>
                    <a:lnTo>
                      <a:pt x="11598" y="1090"/>
                    </a:lnTo>
                    <a:lnTo>
                      <a:pt x="11602" y="1081"/>
                    </a:lnTo>
                    <a:lnTo>
                      <a:pt x="11603" y="1070"/>
                    </a:lnTo>
                    <a:lnTo>
                      <a:pt x="11602" y="1048"/>
                    </a:lnTo>
                    <a:lnTo>
                      <a:pt x="11601" y="1028"/>
                    </a:lnTo>
                    <a:lnTo>
                      <a:pt x="11604" y="1002"/>
                    </a:lnTo>
                    <a:lnTo>
                      <a:pt x="11607" y="977"/>
                    </a:lnTo>
                    <a:lnTo>
                      <a:pt x="11607" y="971"/>
                    </a:lnTo>
                    <a:lnTo>
                      <a:pt x="11606" y="966"/>
                    </a:lnTo>
                    <a:lnTo>
                      <a:pt x="11603" y="962"/>
                    </a:lnTo>
                    <a:lnTo>
                      <a:pt x="11599" y="958"/>
                    </a:lnTo>
                    <a:lnTo>
                      <a:pt x="11595" y="954"/>
                    </a:lnTo>
                    <a:lnTo>
                      <a:pt x="11588" y="953"/>
                    </a:lnTo>
                    <a:lnTo>
                      <a:pt x="11581" y="951"/>
                    </a:lnTo>
                    <a:lnTo>
                      <a:pt x="11571" y="951"/>
                    </a:lnTo>
                    <a:lnTo>
                      <a:pt x="11570" y="951"/>
                    </a:lnTo>
                    <a:lnTo>
                      <a:pt x="11569" y="959"/>
                    </a:lnTo>
                    <a:lnTo>
                      <a:pt x="11565" y="969"/>
                    </a:lnTo>
                    <a:lnTo>
                      <a:pt x="11559" y="981"/>
                    </a:lnTo>
                    <a:lnTo>
                      <a:pt x="11553" y="993"/>
                    </a:lnTo>
                    <a:lnTo>
                      <a:pt x="11537" y="1017"/>
                    </a:lnTo>
                    <a:lnTo>
                      <a:pt x="11526" y="1036"/>
                    </a:lnTo>
                    <a:lnTo>
                      <a:pt x="11520" y="1045"/>
                    </a:lnTo>
                    <a:lnTo>
                      <a:pt x="11515" y="1052"/>
                    </a:lnTo>
                    <a:lnTo>
                      <a:pt x="11510" y="1058"/>
                    </a:lnTo>
                    <a:lnTo>
                      <a:pt x="11506" y="1063"/>
                    </a:lnTo>
                    <a:lnTo>
                      <a:pt x="11502" y="1067"/>
                    </a:lnTo>
                    <a:lnTo>
                      <a:pt x="11497" y="1068"/>
                    </a:lnTo>
                    <a:lnTo>
                      <a:pt x="11493" y="1069"/>
                    </a:lnTo>
                    <a:lnTo>
                      <a:pt x="11488" y="1070"/>
                    </a:lnTo>
                    <a:lnTo>
                      <a:pt x="11469" y="1068"/>
                    </a:lnTo>
                    <a:lnTo>
                      <a:pt x="11444" y="1066"/>
                    </a:lnTo>
                    <a:lnTo>
                      <a:pt x="11444" y="1067"/>
                    </a:lnTo>
                    <a:lnTo>
                      <a:pt x="11440" y="1068"/>
                    </a:lnTo>
                    <a:lnTo>
                      <a:pt x="11439" y="1073"/>
                    </a:lnTo>
                    <a:lnTo>
                      <a:pt x="11438" y="1079"/>
                    </a:lnTo>
                    <a:lnTo>
                      <a:pt x="11438" y="1086"/>
                    </a:lnTo>
                    <a:lnTo>
                      <a:pt x="11437" y="1100"/>
                    </a:lnTo>
                    <a:lnTo>
                      <a:pt x="11434" y="1110"/>
                    </a:lnTo>
                    <a:lnTo>
                      <a:pt x="11432" y="1112"/>
                    </a:lnTo>
                    <a:lnTo>
                      <a:pt x="11429" y="1112"/>
                    </a:lnTo>
                    <a:lnTo>
                      <a:pt x="11426" y="1111"/>
                    </a:lnTo>
                    <a:lnTo>
                      <a:pt x="11422" y="1108"/>
                    </a:lnTo>
                    <a:lnTo>
                      <a:pt x="11416" y="1102"/>
                    </a:lnTo>
                    <a:lnTo>
                      <a:pt x="11411" y="1096"/>
                    </a:lnTo>
                    <a:lnTo>
                      <a:pt x="11406" y="1091"/>
                    </a:lnTo>
                    <a:lnTo>
                      <a:pt x="11404" y="1085"/>
                    </a:lnTo>
                    <a:lnTo>
                      <a:pt x="11402" y="1081"/>
                    </a:lnTo>
                    <a:lnTo>
                      <a:pt x="11401" y="1077"/>
                    </a:lnTo>
                    <a:lnTo>
                      <a:pt x="11402" y="1068"/>
                    </a:lnTo>
                    <a:lnTo>
                      <a:pt x="11406" y="1059"/>
                    </a:lnTo>
                    <a:lnTo>
                      <a:pt x="11410" y="1051"/>
                    </a:lnTo>
                    <a:lnTo>
                      <a:pt x="11412" y="1043"/>
                    </a:lnTo>
                    <a:lnTo>
                      <a:pt x="11413" y="1039"/>
                    </a:lnTo>
                    <a:lnTo>
                      <a:pt x="11415" y="1035"/>
                    </a:lnTo>
                    <a:lnTo>
                      <a:pt x="11415" y="1030"/>
                    </a:lnTo>
                    <a:lnTo>
                      <a:pt x="11413" y="1025"/>
                    </a:lnTo>
                    <a:lnTo>
                      <a:pt x="11410" y="1026"/>
                    </a:lnTo>
                    <a:lnTo>
                      <a:pt x="11405" y="1028"/>
                    </a:lnTo>
                    <a:lnTo>
                      <a:pt x="11401" y="1031"/>
                    </a:lnTo>
                    <a:lnTo>
                      <a:pt x="11396" y="1035"/>
                    </a:lnTo>
                    <a:lnTo>
                      <a:pt x="11389" y="1045"/>
                    </a:lnTo>
                    <a:lnTo>
                      <a:pt x="11380" y="1057"/>
                    </a:lnTo>
                    <a:lnTo>
                      <a:pt x="11372" y="1070"/>
                    </a:lnTo>
                    <a:lnTo>
                      <a:pt x="11363" y="1083"/>
                    </a:lnTo>
                    <a:lnTo>
                      <a:pt x="11355" y="1092"/>
                    </a:lnTo>
                    <a:lnTo>
                      <a:pt x="11347" y="1100"/>
                    </a:lnTo>
                    <a:lnTo>
                      <a:pt x="11331" y="1108"/>
                    </a:lnTo>
                    <a:lnTo>
                      <a:pt x="11318" y="1117"/>
                    </a:lnTo>
                    <a:lnTo>
                      <a:pt x="11305" y="1124"/>
                    </a:lnTo>
                    <a:lnTo>
                      <a:pt x="11291" y="1129"/>
                    </a:lnTo>
                    <a:lnTo>
                      <a:pt x="11276" y="1133"/>
                    </a:lnTo>
                    <a:lnTo>
                      <a:pt x="11260" y="1133"/>
                    </a:lnTo>
                    <a:lnTo>
                      <a:pt x="11253" y="1133"/>
                    </a:lnTo>
                    <a:lnTo>
                      <a:pt x="11243" y="1132"/>
                    </a:lnTo>
                    <a:lnTo>
                      <a:pt x="11235" y="1129"/>
                    </a:lnTo>
                    <a:lnTo>
                      <a:pt x="11225" y="1127"/>
                    </a:lnTo>
                    <a:lnTo>
                      <a:pt x="11215" y="1123"/>
                    </a:lnTo>
                    <a:lnTo>
                      <a:pt x="11205" y="1118"/>
                    </a:lnTo>
                    <a:lnTo>
                      <a:pt x="11196" y="1112"/>
                    </a:lnTo>
                    <a:lnTo>
                      <a:pt x="11186" y="1106"/>
                    </a:lnTo>
                    <a:lnTo>
                      <a:pt x="11177" y="1100"/>
                    </a:lnTo>
                    <a:lnTo>
                      <a:pt x="11169" y="1095"/>
                    </a:lnTo>
                    <a:lnTo>
                      <a:pt x="11160" y="1091"/>
                    </a:lnTo>
                    <a:lnTo>
                      <a:pt x="11153" y="1090"/>
                    </a:lnTo>
                    <a:lnTo>
                      <a:pt x="11123" y="1091"/>
                    </a:lnTo>
                    <a:lnTo>
                      <a:pt x="11095" y="1094"/>
                    </a:lnTo>
                    <a:lnTo>
                      <a:pt x="11081" y="1094"/>
                    </a:lnTo>
                    <a:lnTo>
                      <a:pt x="11067" y="1092"/>
                    </a:lnTo>
                    <a:lnTo>
                      <a:pt x="11052" y="1090"/>
                    </a:lnTo>
                    <a:lnTo>
                      <a:pt x="11038" y="1086"/>
                    </a:lnTo>
                    <a:lnTo>
                      <a:pt x="11024" y="1084"/>
                    </a:lnTo>
                    <a:lnTo>
                      <a:pt x="11011" y="1081"/>
                    </a:lnTo>
                    <a:lnTo>
                      <a:pt x="10996" y="1077"/>
                    </a:lnTo>
                    <a:lnTo>
                      <a:pt x="10983" y="1072"/>
                    </a:lnTo>
                    <a:lnTo>
                      <a:pt x="10969" y="1064"/>
                    </a:lnTo>
                    <a:lnTo>
                      <a:pt x="10958" y="1056"/>
                    </a:lnTo>
                    <a:lnTo>
                      <a:pt x="10953" y="1051"/>
                    </a:lnTo>
                    <a:lnTo>
                      <a:pt x="10950" y="1046"/>
                    </a:lnTo>
                    <a:lnTo>
                      <a:pt x="10947" y="1040"/>
                    </a:lnTo>
                    <a:lnTo>
                      <a:pt x="10945" y="1034"/>
                    </a:lnTo>
                    <a:lnTo>
                      <a:pt x="10942" y="1028"/>
                    </a:lnTo>
                    <a:lnTo>
                      <a:pt x="10940" y="1023"/>
                    </a:lnTo>
                    <a:lnTo>
                      <a:pt x="10936" y="1018"/>
                    </a:lnTo>
                    <a:lnTo>
                      <a:pt x="10932" y="1013"/>
                    </a:lnTo>
                    <a:lnTo>
                      <a:pt x="10923" y="1004"/>
                    </a:lnTo>
                    <a:lnTo>
                      <a:pt x="10913" y="997"/>
                    </a:lnTo>
                    <a:lnTo>
                      <a:pt x="10902" y="988"/>
                    </a:lnTo>
                    <a:lnTo>
                      <a:pt x="10893" y="980"/>
                    </a:lnTo>
                    <a:lnTo>
                      <a:pt x="10890" y="975"/>
                    </a:lnTo>
                    <a:lnTo>
                      <a:pt x="10886" y="970"/>
                    </a:lnTo>
                    <a:lnTo>
                      <a:pt x="10883" y="964"/>
                    </a:lnTo>
                    <a:lnTo>
                      <a:pt x="10881" y="957"/>
                    </a:lnTo>
                    <a:lnTo>
                      <a:pt x="10880" y="952"/>
                    </a:lnTo>
                    <a:lnTo>
                      <a:pt x="10879" y="947"/>
                    </a:lnTo>
                    <a:lnTo>
                      <a:pt x="10876" y="943"/>
                    </a:lnTo>
                    <a:lnTo>
                      <a:pt x="10874" y="939"/>
                    </a:lnTo>
                    <a:lnTo>
                      <a:pt x="10871" y="938"/>
                    </a:lnTo>
                    <a:lnTo>
                      <a:pt x="10869" y="937"/>
                    </a:lnTo>
                    <a:lnTo>
                      <a:pt x="10865" y="936"/>
                    </a:lnTo>
                    <a:lnTo>
                      <a:pt x="10861" y="936"/>
                    </a:lnTo>
                    <a:lnTo>
                      <a:pt x="10854" y="938"/>
                    </a:lnTo>
                    <a:lnTo>
                      <a:pt x="10846" y="943"/>
                    </a:lnTo>
                    <a:lnTo>
                      <a:pt x="10836" y="948"/>
                    </a:lnTo>
                    <a:lnTo>
                      <a:pt x="10827" y="955"/>
                    </a:lnTo>
                    <a:lnTo>
                      <a:pt x="10806" y="971"/>
                    </a:lnTo>
                    <a:lnTo>
                      <a:pt x="10787" y="987"/>
                    </a:lnTo>
                    <a:lnTo>
                      <a:pt x="10777" y="993"/>
                    </a:lnTo>
                    <a:lnTo>
                      <a:pt x="10768" y="999"/>
                    </a:lnTo>
                    <a:lnTo>
                      <a:pt x="10760" y="1002"/>
                    </a:lnTo>
                    <a:lnTo>
                      <a:pt x="10752" y="1003"/>
                    </a:lnTo>
                    <a:lnTo>
                      <a:pt x="10744" y="1003"/>
                    </a:lnTo>
                    <a:lnTo>
                      <a:pt x="10737" y="1002"/>
                    </a:lnTo>
                    <a:lnTo>
                      <a:pt x="10729" y="1001"/>
                    </a:lnTo>
                    <a:lnTo>
                      <a:pt x="10723" y="997"/>
                    </a:lnTo>
                    <a:lnTo>
                      <a:pt x="10711" y="991"/>
                    </a:lnTo>
                    <a:lnTo>
                      <a:pt x="10700" y="982"/>
                    </a:lnTo>
                    <a:lnTo>
                      <a:pt x="10680" y="962"/>
                    </a:lnTo>
                    <a:lnTo>
                      <a:pt x="10661" y="941"/>
                    </a:lnTo>
                    <a:lnTo>
                      <a:pt x="10634" y="916"/>
                    </a:lnTo>
                    <a:lnTo>
                      <a:pt x="10608" y="895"/>
                    </a:lnTo>
                    <a:lnTo>
                      <a:pt x="10595" y="886"/>
                    </a:lnTo>
                    <a:lnTo>
                      <a:pt x="10581" y="878"/>
                    </a:lnTo>
                    <a:lnTo>
                      <a:pt x="10566" y="872"/>
                    </a:lnTo>
                    <a:lnTo>
                      <a:pt x="10551" y="866"/>
                    </a:lnTo>
                    <a:lnTo>
                      <a:pt x="10544" y="865"/>
                    </a:lnTo>
                    <a:lnTo>
                      <a:pt x="10540" y="862"/>
                    </a:lnTo>
                    <a:lnTo>
                      <a:pt x="10536" y="859"/>
                    </a:lnTo>
                    <a:lnTo>
                      <a:pt x="10532" y="855"/>
                    </a:lnTo>
                    <a:lnTo>
                      <a:pt x="10530" y="850"/>
                    </a:lnTo>
                    <a:lnTo>
                      <a:pt x="10527" y="845"/>
                    </a:lnTo>
                    <a:lnTo>
                      <a:pt x="10525" y="840"/>
                    </a:lnTo>
                    <a:lnTo>
                      <a:pt x="10524" y="834"/>
                    </a:lnTo>
                    <a:lnTo>
                      <a:pt x="10522" y="823"/>
                    </a:lnTo>
                    <a:lnTo>
                      <a:pt x="10522" y="811"/>
                    </a:lnTo>
                    <a:lnTo>
                      <a:pt x="10525" y="799"/>
                    </a:lnTo>
                    <a:lnTo>
                      <a:pt x="10528" y="789"/>
                    </a:lnTo>
                    <a:lnTo>
                      <a:pt x="10532" y="779"/>
                    </a:lnTo>
                    <a:lnTo>
                      <a:pt x="10533" y="772"/>
                    </a:lnTo>
                    <a:lnTo>
                      <a:pt x="10535" y="766"/>
                    </a:lnTo>
                    <a:lnTo>
                      <a:pt x="10533" y="761"/>
                    </a:lnTo>
                    <a:lnTo>
                      <a:pt x="10532" y="758"/>
                    </a:lnTo>
                    <a:lnTo>
                      <a:pt x="10530" y="756"/>
                    </a:lnTo>
                    <a:lnTo>
                      <a:pt x="10526" y="755"/>
                    </a:lnTo>
                    <a:lnTo>
                      <a:pt x="10521" y="755"/>
                    </a:lnTo>
                    <a:lnTo>
                      <a:pt x="10511" y="756"/>
                    </a:lnTo>
                    <a:lnTo>
                      <a:pt x="10499" y="760"/>
                    </a:lnTo>
                    <a:lnTo>
                      <a:pt x="10487" y="766"/>
                    </a:lnTo>
                    <a:lnTo>
                      <a:pt x="10476" y="771"/>
                    </a:lnTo>
                    <a:lnTo>
                      <a:pt x="10446" y="785"/>
                    </a:lnTo>
                    <a:lnTo>
                      <a:pt x="10417" y="799"/>
                    </a:lnTo>
                    <a:lnTo>
                      <a:pt x="10402" y="804"/>
                    </a:lnTo>
                    <a:lnTo>
                      <a:pt x="10387" y="807"/>
                    </a:lnTo>
                    <a:lnTo>
                      <a:pt x="10371" y="810"/>
                    </a:lnTo>
                    <a:lnTo>
                      <a:pt x="10353" y="809"/>
                    </a:lnTo>
                    <a:lnTo>
                      <a:pt x="10351" y="809"/>
                    </a:lnTo>
                    <a:lnTo>
                      <a:pt x="10349" y="807"/>
                    </a:lnTo>
                    <a:lnTo>
                      <a:pt x="10347" y="806"/>
                    </a:lnTo>
                    <a:lnTo>
                      <a:pt x="10347" y="804"/>
                    </a:lnTo>
                    <a:lnTo>
                      <a:pt x="10346" y="799"/>
                    </a:lnTo>
                    <a:lnTo>
                      <a:pt x="10347" y="794"/>
                    </a:lnTo>
                    <a:lnTo>
                      <a:pt x="10353" y="779"/>
                    </a:lnTo>
                    <a:lnTo>
                      <a:pt x="10363" y="763"/>
                    </a:lnTo>
                    <a:lnTo>
                      <a:pt x="10384" y="730"/>
                    </a:lnTo>
                    <a:lnTo>
                      <a:pt x="10398" y="709"/>
                    </a:lnTo>
                    <a:lnTo>
                      <a:pt x="10398" y="706"/>
                    </a:lnTo>
                    <a:lnTo>
                      <a:pt x="10398" y="703"/>
                    </a:lnTo>
                    <a:lnTo>
                      <a:pt x="10396" y="701"/>
                    </a:lnTo>
                    <a:lnTo>
                      <a:pt x="10395" y="700"/>
                    </a:lnTo>
                    <a:lnTo>
                      <a:pt x="10389" y="700"/>
                    </a:lnTo>
                    <a:lnTo>
                      <a:pt x="10382" y="701"/>
                    </a:lnTo>
                    <a:lnTo>
                      <a:pt x="10374" y="703"/>
                    </a:lnTo>
                    <a:lnTo>
                      <a:pt x="10367" y="706"/>
                    </a:lnTo>
                    <a:lnTo>
                      <a:pt x="10361" y="709"/>
                    </a:lnTo>
                    <a:lnTo>
                      <a:pt x="10357" y="712"/>
                    </a:lnTo>
                    <a:lnTo>
                      <a:pt x="10345" y="724"/>
                    </a:lnTo>
                    <a:lnTo>
                      <a:pt x="10333" y="739"/>
                    </a:lnTo>
                    <a:lnTo>
                      <a:pt x="10319" y="751"/>
                    </a:lnTo>
                    <a:lnTo>
                      <a:pt x="10304" y="763"/>
                    </a:lnTo>
                    <a:lnTo>
                      <a:pt x="10296" y="771"/>
                    </a:lnTo>
                    <a:lnTo>
                      <a:pt x="10287" y="777"/>
                    </a:lnTo>
                    <a:lnTo>
                      <a:pt x="10279" y="780"/>
                    </a:lnTo>
                    <a:lnTo>
                      <a:pt x="10270" y="782"/>
                    </a:lnTo>
                    <a:lnTo>
                      <a:pt x="10262" y="783"/>
                    </a:lnTo>
                    <a:lnTo>
                      <a:pt x="10252" y="782"/>
                    </a:lnTo>
                    <a:lnTo>
                      <a:pt x="10243" y="779"/>
                    </a:lnTo>
                    <a:lnTo>
                      <a:pt x="10235" y="776"/>
                    </a:lnTo>
                    <a:lnTo>
                      <a:pt x="10226" y="771"/>
                    </a:lnTo>
                    <a:lnTo>
                      <a:pt x="10216" y="766"/>
                    </a:lnTo>
                    <a:lnTo>
                      <a:pt x="10208" y="758"/>
                    </a:lnTo>
                    <a:lnTo>
                      <a:pt x="10199" y="751"/>
                    </a:lnTo>
                    <a:lnTo>
                      <a:pt x="10181" y="735"/>
                    </a:lnTo>
                    <a:lnTo>
                      <a:pt x="10164" y="717"/>
                    </a:lnTo>
                    <a:lnTo>
                      <a:pt x="10131" y="679"/>
                    </a:lnTo>
                    <a:lnTo>
                      <a:pt x="10100" y="645"/>
                    </a:lnTo>
                    <a:lnTo>
                      <a:pt x="10087" y="631"/>
                    </a:lnTo>
                    <a:lnTo>
                      <a:pt x="10073" y="623"/>
                    </a:lnTo>
                    <a:lnTo>
                      <a:pt x="10067" y="619"/>
                    </a:lnTo>
                    <a:lnTo>
                      <a:pt x="10061" y="618"/>
                    </a:lnTo>
                    <a:lnTo>
                      <a:pt x="10056" y="618"/>
                    </a:lnTo>
                    <a:lnTo>
                      <a:pt x="10050" y="619"/>
                    </a:lnTo>
                    <a:lnTo>
                      <a:pt x="10045" y="620"/>
                    </a:lnTo>
                    <a:lnTo>
                      <a:pt x="10039" y="621"/>
                    </a:lnTo>
                    <a:lnTo>
                      <a:pt x="10033" y="621"/>
                    </a:lnTo>
                    <a:lnTo>
                      <a:pt x="10027" y="621"/>
                    </a:lnTo>
                    <a:lnTo>
                      <a:pt x="10014" y="618"/>
                    </a:lnTo>
                    <a:lnTo>
                      <a:pt x="10002" y="614"/>
                    </a:lnTo>
                    <a:lnTo>
                      <a:pt x="9990" y="609"/>
                    </a:lnTo>
                    <a:lnTo>
                      <a:pt x="9978" y="604"/>
                    </a:lnTo>
                    <a:lnTo>
                      <a:pt x="9965" y="601"/>
                    </a:lnTo>
                    <a:lnTo>
                      <a:pt x="9952" y="599"/>
                    </a:lnTo>
                    <a:lnTo>
                      <a:pt x="9925" y="598"/>
                    </a:lnTo>
                    <a:lnTo>
                      <a:pt x="9901" y="597"/>
                    </a:lnTo>
                    <a:lnTo>
                      <a:pt x="9877" y="594"/>
                    </a:lnTo>
                    <a:lnTo>
                      <a:pt x="9855" y="590"/>
                    </a:lnTo>
                    <a:lnTo>
                      <a:pt x="9833" y="585"/>
                    </a:lnTo>
                    <a:lnTo>
                      <a:pt x="9810" y="579"/>
                    </a:lnTo>
                    <a:lnTo>
                      <a:pt x="9787" y="570"/>
                    </a:lnTo>
                    <a:lnTo>
                      <a:pt x="9762" y="560"/>
                    </a:lnTo>
                    <a:lnTo>
                      <a:pt x="9750" y="554"/>
                    </a:lnTo>
                    <a:lnTo>
                      <a:pt x="9738" y="549"/>
                    </a:lnTo>
                    <a:lnTo>
                      <a:pt x="9727" y="542"/>
                    </a:lnTo>
                    <a:lnTo>
                      <a:pt x="9716" y="534"/>
                    </a:lnTo>
                    <a:lnTo>
                      <a:pt x="9696" y="521"/>
                    </a:lnTo>
                    <a:lnTo>
                      <a:pt x="9675" y="506"/>
                    </a:lnTo>
                    <a:lnTo>
                      <a:pt x="9657" y="493"/>
                    </a:lnTo>
                    <a:lnTo>
                      <a:pt x="9637" y="482"/>
                    </a:lnTo>
                    <a:lnTo>
                      <a:pt x="9626" y="477"/>
                    </a:lnTo>
                    <a:lnTo>
                      <a:pt x="9617" y="473"/>
                    </a:lnTo>
                    <a:lnTo>
                      <a:pt x="9606" y="470"/>
                    </a:lnTo>
                    <a:lnTo>
                      <a:pt x="9595" y="468"/>
                    </a:lnTo>
                    <a:lnTo>
                      <a:pt x="9587" y="475"/>
                    </a:lnTo>
                    <a:lnTo>
                      <a:pt x="9571" y="487"/>
                    </a:lnTo>
                    <a:lnTo>
                      <a:pt x="9562" y="494"/>
                    </a:lnTo>
                    <a:lnTo>
                      <a:pt x="9551" y="501"/>
                    </a:lnTo>
                    <a:lnTo>
                      <a:pt x="9541" y="506"/>
                    </a:lnTo>
                    <a:lnTo>
                      <a:pt x="9531" y="511"/>
                    </a:lnTo>
                    <a:lnTo>
                      <a:pt x="9517" y="516"/>
                    </a:lnTo>
                    <a:lnTo>
                      <a:pt x="9503" y="520"/>
                    </a:lnTo>
                    <a:lnTo>
                      <a:pt x="9487" y="522"/>
                    </a:lnTo>
                    <a:lnTo>
                      <a:pt x="9471" y="522"/>
                    </a:lnTo>
                    <a:lnTo>
                      <a:pt x="9453" y="522"/>
                    </a:lnTo>
                    <a:lnTo>
                      <a:pt x="9434" y="520"/>
                    </a:lnTo>
                    <a:lnTo>
                      <a:pt x="9415" y="517"/>
                    </a:lnTo>
                    <a:lnTo>
                      <a:pt x="9395" y="514"/>
                    </a:lnTo>
                    <a:lnTo>
                      <a:pt x="9357" y="505"/>
                    </a:lnTo>
                    <a:lnTo>
                      <a:pt x="9320" y="495"/>
                    </a:lnTo>
                    <a:lnTo>
                      <a:pt x="9286" y="487"/>
                    </a:lnTo>
                    <a:lnTo>
                      <a:pt x="9258" y="481"/>
                    </a:lnTo>
                    <a:lnTo>
                      <a:pt x="9242" y="476"/>
                    </a:lnTo>
                    <a:lnTo>
                      <a:pt x="9218" y="467"/>
                    </a:lnTo>
                    <a:lnTo>
                      <a:pt x="9187" y="456"/>
                    </a:lnTo>
                    <a:lnTo>
                      <a:pt x="9154" y="445"/>
                    </a:lnTo>
                    <a:lnTo>
                      <a:pt x="9122" y="433"/>
                    </a:lnTo>
                    <a:lnTo>
                      <a:pt x="9094" y="424"/>
                    </a:lnTo>
                    <a:lnTo>
                      <a:pt x="9074" y="418"/>
                    </a:lnTo>
                    <a:lnTo>
                      <a:pt x="9065" y="417"/>
                    </a:lnTo>
                    <a:lnTo>
                      <a:pt x="9054" y="424"/>
                    </a:lnTo>
                    <a:lnTo>
                      <a:pt x="9043" y="430"/>
                    </a:lnTo>
                    <a:lnTo>
                      <a:pt x="9036" y="432"/>
                    </a:lnTo>
                    <a:lnTo>
                      <a:pt x="9030" y="432"/>
                    </a:lnTo>
                    <a:lnTo>
                      <a:pt x="9024" y="429"/>
                    </a:lnTo>
                    <a:lnTo>
                      <a:pt x="9019" y="424"/>
                    </a:lnTo>
                    <a:lnTo>
                      <a:pt x="9012" y="416"/>
                    </a:lnTo>
                    <a:lnTo>
                      <a:pt x="9006" y="410"/>
                    </a:lnTo>
                    <a:lnTo>
                      <a:pt x="9002" y="407"/>
                    </a:lnTo>
                    <a:lnTo>
                      <a:pt x="8998" y="406"/>
                    </a:lnTo>
                    <a:lnTo>
                      <a:pt x="8994" y="405"/>
                    </a:lnTo>
                    <a:lnTo>
                      <a:pt x="8987" y="405"/>
                    </a:lnTo>
                    <a:lnTo>
                      <a:pt x="8986" y="406"/>
                    </a:lnTo>
                    <a:lnTo>
                      <a:pt x="8983" y="407"/>
                    </a:lnTo>
                    <a:lnTo>
                      <a:pt x="8979" y="411"/>
                    </a:lnTo>
                    <a:lnTo>
                      <a:pt x="8975" y="415"/>
                    </a:lnTo>
                    <a:lnTo>
                      <a:pt x="8970" y="419"/>
                    </a:lnTo>
                    <a:lnTo>
                      <a:pt x="8963" y="429"/>
                    </a:lnTo>
                    <a:lnTo>
                      <a:pt x="8958" y="435"/>
                    </a:lnTo>
                    <a:lnTo>
                      <a:pt x="8952" y="457"/>
                    </a:lnTo>
                    <a:lnTo>
                      <a:pt x="8947" y="475"/>
                    </a:lnTo>
                    <a:lnTo>
                      <a:pt x="8945" y="482"/>
                    </a:lnTo>
                    <a:lnTo>
                      <a:pt x="8942" y="489"/>
                    </a:lnTo>
                    <a:lnTo>
                      <a:pt x="8940" y="494"/>
                    </a:lnTo>
                    <a:lnTo>
                      <a:pt x="8936" y="500"/>
                    </a:lnTo>
                    <a:lnTo>
                      <a:pt x="8931" y="504"/>
                    </a:lnTo>
                    <a:lnTo>
                      <a:pt x="8926" y="508"/>
                    </a:lnTo>
                    <a:lnTo>
                      <a:pt x="8920" y="511"/>
                    </a:lnTo>
                    <a:lnTo>
                      <a:pt x="8913" y="515"/>
                    </a:lnTo>
                    <a:lnTo>
                      <a:pt x="8894" y="521"/>
                    </a:lnTo>
                    <a:lnTo>
                      <a:pt x="8871" y="526"/>
                    </a:lnTo>
                    <a:lnTo>
                      <a:pt x="8854" y="528"/>
                    </a:lnTo>
                    <a:lnTo>
                      <a:pt x="8837" y="531"/>
                    </a:lnTo>
                    <a:lnTo>
                      <a:pt x="8820" y="532"/>
                    </a:lnTo>
                    <a:lnTo>
                      <a:pt x="8803" y="532"/>
                    </a:lnTo>
                    <a:lnTo>
                      <a:pt x="8786" y="532"/>
                    </a:lnTo>
                    <a:lnTo>
                      <a:pt x="8768" y="531"/>
                    </a:lnTo>
                    <a:lnTo>
                      <a:pt x="8751" y="530"/>
                    </a:lnTo>
                    <a:lnTo>
                      <a:pt x="8734" y="526"/>
                    </a:lnTo>
                    <a:lnTo>
                      <a:pt x="8721" y="523"/>
                    </a:lnTo>
                    <a:lnTo>
                      <a:pt x="8708" y="519"/>
                    </a:lnTo>
                    <a:lnTo>
                      <a:pt x="8697" y="514"/>
                    </a:lnTo>
                    <a:lnTo>
                      <a:pt x="8689" y="508"/>
                    </a:lnTo>
                    <a:lnTo>
                      <a:pt x="8674" y="495"/>
                    </a:lnTo>
                    <a:lnTo>
                      <a:pt x="8662" y="482"/>
                    </a:lnTo>
                    <a:lnTo>
                      <a:pt x="8656" y="476"/>
                    </a:lnTo>
                    <a:lnTo>
                      <a:pt x="8651" y="470"/>
                    </a:lnTo>
                    <a:lnTo>
                      <a:pt x="8645" y="465"/>
                    </a:lnTo>
                    <a:lnTo>
                      <a:pt x="8637" y="460"/>
                    </a:lnTo>
                    <a:lnTo>
                      <a:pt x="8631" y="457"/>
                    </a:lnTo>
                    <a:lnTo>
                      <a:pt x="8623" y="455"/>
                    </a:lnTo>
                    <a:lnTo>
                      <a:pt x="8613" y="455"/>
                    </a:lnTo>
                    <a:lnTo>
                      <a:pt x="8602" y="456"/>
                    </a:lnTo>
                    <a:lnTo>
                      <a:pt x="8588" y="459"/>
                    </a:lnTo>
                    <a:lnTo>
                      <a:pt x="8575" y="460"/>
                    </a:lnTo>
                    <a:lnTo>
                      <a:pt x="8562" y="461"/>
                    </a:lnTo>
                    <a:lnTo>
                      <a:pt x="8548" y="460"/>
                    </a:lnTo>
                    <a:lnTo>
                      <a:pt x="8535" y="460"/>
                    </a:lnTo>
                    <a:lnTo>
                      <a:pt x="8521" y="457"/>
                    </a:lnTo>
                    <a:lnTo>
                      <a:pt x="8508" y="455"/>
                    </a:lnTo>
                    <a:lnTo>
                      <a:pt x="8494" y="452"/>
                    </a:lnTo>
                    <a:lnTo>
                      <a:pt x="8466" y="445"/>
                    </a:lnTo>
                    <a:lnTo>
                      <a:pt x="8439" y="435"/>
                    </a:lnTo>
                    <a:lnTo>
                      <a:pt x="8412" y="426"/>
                    </a:lnTo>
                    <a:lnTo>
                      <a:pt x="8384" y="415"/>
                    </a:lnTo>
                    <a:lnTo>
                      <a:pt x="8329" y="391"/>
                    </a:lnTo>
                    <a:lnTo>
                      <a:pt x="8274" y="369"/>
                    </a:lnTo>
                    <a:lnTo>
                      <a:pt x="8246" y="361"/>
                    </a:lnTo>
                    <a:lnTo>
                      <a:pt x="8218" y="353"/>
                    </a:lnTo>
                    <a:lnTo>
                      <a:pt x="8204" y="351"/>
                    </a:lnTo>
                    <a:lnTo>
                      <a:pt x="8191" y="348"/>
                    </a:lnTo>
                    <a:lnTo>
                      <a:pt x="8176" y="347"/>
                    </a:lnTo>
                    <a:lnTo>
                      <a:pt x="8162" y="346"/>
                    </a:lnTo>
                    <a:lnTo>
                      <a:pt x="8148" y="345"/>
                    </a:lnTo>
                    <a:lnTo>
                      <a:pt x="8133" y="342"/>
                    </a:lnTo>
                    <a:lnTo>
                      <a:pt x="8117" y="340"/>
                    </a:lnTo>
                    <a:lnTo>
                      <a:pt x="8101" y="336"/>
                    </a:lnTo>
                    <a:lnTo>
                      <a:pt x="8087" y="333"/>
                    </a:lnTo>
                    <a:lnTo>
                      <a:pt x="8072" y="329"/>
                    </a:lnTo>
                    <a:lnTo>
                      <a:pt x="8058" y="326"/>
                    </a:lnTo>
                    <a:lnTo>
                      <a:pt x="8047" y="326"/>
                    </a:lnTo>
                    <a:lnTo>
                      <a:pt x="8049" y="346"/>
                    </a:lnTo>
                    <a:lnTo>
                      <a:pt x="8050" y="363"/>
                    </a:lnTo>
                    <a:lnTo>
                      <a:pt x="8054" y="375"/>
                    </a:lnTo>
                    <a:lnTo>
                      <a:pt x="8058" y="386"/>
                    </a:lnTo>
                    <a:lnTo>
                      <a:pt x="8065" y="394"/>
                    </a:lnTo>
                    <a:lnTo>
                      <a:pt x="8072" y="399"/>
                    </a:lnTo>
                    <a:lnTo>
                      <a:pt x="8079" y="402"/>
                    </a:lnTo>
                    <a:lnTo>
                      <a:pt x="8088" y="404"/>
                    </a:lnTo>
                    <a:lnTo>
                      <a:pt x="8109" y="404"/>
                    </a:lnTo>
                    <a:lnTo>
                      <a:pt x="8131" y="402"/>
                    </a:lnTo>
                    <a:lnTo>
                      <a:pt x="8142" y="401"/>
                    </a:lnTo>
                    <a:lnTo>
                      <a:pt x="8154" y="401"/>
                    </a:lnTo>
                    <a:lnTo>
                      <a:pt x="8166" y="402"/>
                    </a:lnTo>
                    <a:lnTo>
                      <a:pt x="8180" y="405"/>
                    </a:lnTo>
                    <a:lnTo>
                      <a:pt x="8180" y="406"/>
                    </a:lnTo>
                    <a:lnTo>
                      <a:pt x="8178" y="411"/>
                    </a:lnTo>
                    <a:lnTo>
                      <a:pt x="8177" y="423"/>
                    </a:lnTo>
                    <a:lnTo>
                      <a:pt x="8177" y="430"/>
                    </a:lnTo>
                    <a:lnTo>
                      <a:pt x="8178" y="439"/>
                    </a:lnTo>
                    <a:lnTo>
                      <a:pt x="8181" y="449"/>
                    </a:lnTo>
                    <a:lnTo>
                      <a:pt x="8185" y="459"/>
                    </a:lnTo>
                    <a:lnTo>
                      <a:pt x="8189" y="466"/>
                    </a:lnTo>
                    <a:lnTo>
                      <a:pt x="8197" y="472"/>
                    </a:lnTo>
                    <a:lnTo>
                      <a:pt x="8204" y="476"/>
                    </a:lnTo>
                    <a:lnTo>
                      <a:pt x="8211" y="478"/>
                    </a:lnTo>
                    <a:lnTo>
                      <a:pt x="8224" y="481"/>
                    </a:lnTo>
                    <a:lnTo>
                      <a:pt x="8229" y="482"/>
                    </a:lnTo>
                    <a:lnTo>
                      <a:pt x="8243" y="486"/>
                    </a:lnTo>
                    <a:lnTo>
                      <a:pt x="8263" y="494"/>
                    </a:lnTo>
                    <a:lnTo>
                      <a:pt x="8274" y="498"/>
                    </a:lnTo>
                    <a:lnTo>
                      <a:pt x="8286" y="501"/>
                    </a:lnTo>
                    <a:lnTo>
                      <a:pt x="8298" y="504"/>
                    </a:lnTo>
                    <a:lnTo>
                      <a:pt x="8312" y="504"/>
                    </a:lnTo>
                    <a:lnTo>
                      <a:pt x="8320" y="504"/>
                    </a:lnTo>
                    <a:lnTo>
                      <a:pt x="8327" y="505"/>
                    </a:lnTo>
                    <a:lnTo>
                      <a:pt x="8331" y="508"/>
                    </a:lnTo>
                    <a:lnTo>
                      <a:pt x="8334" y="510"/>
                    </a:lnTo>
                    <a:lnTo>
                      <a:pt x="8336" y="514"/>
                    </a:lnTo>
                    <a:lnTo>
                      <a:pt x="8338" y="517"/>
                    </a:lnTo>
                    <a:lnTo>
                      <a:pt x="8336" y="522"/>
                    </a:lnTo>
                    <a:lnTo>
                      <a:pt x="8335" y="527"/>
                    </a:lnTo>
                    <a:lnTo>
                      <a:pt x="8330" y="537"/>
                    </a:lnTo>
                    <a:lnTo>
                      <a:pt x="8322" y="547"/>
                    </a:lnTo>
                    <a:lnTo>
                      <a:pt x="8317" y="552"/>
                    </a:lnTo>
                    <a:lnTo>
                      <a:pt x="8312" y="555"/>
                    </a:lnTo>
                    <a:lnTo>
                      <a:pt x="8307" y="559"/>
                    </a:lnTo>
                    <a:lnTo>
                      <a:pt x="8302" y="561"/>
                    </a:lnTo>
                    <a:lnTo>
                      <a:pt x="8295" y="569"/>
                    </a:lnTo>
                    <a:lnTo>
                      <a:pt x="8279" y="581"/>
                    </a:lnTo>
                    <a:lnTo>
                      <a:pt x="8254" y="597"/>
                    </a:lnTo>
                    <a:lnTo>
                      <a:pt x="8227" y="613"/>
                    </a:lnTo>
                    <a:lnTo>
                      <a:pt x="8214" y="620"/>
                    </a:lnTo>
                    <a:lnTo>
                      <a:pt x="8200" y="627"/>
                    </a:lnTo>
                    <a:lnTo>
                      <a:pt x="8187" y="632"/>
                    </a:lnTo>
                    <a:lnTo>
                      <a:pt x="8175" y="636"/>
                    </a:lnTo>
                    <a:lnTo>
                      <a:pt x="8164" y="638"/>
                    </a:lnTo>
                    <a:lnTo>
                      <a:pt x="8155" y="638"/>
                    </a:lnTo>
                    <a:lnTo>
                      <a:pt x="8151" y="637"/>
                    </a:lnTo>
                    <a:lnTo>
                      <a:pt x="8149" y="636"/>
                    </a:lnTo>
                    <a:lnTo>
                      <a:pt x="8147" y="634"/>
                    </a:lnTo>
                    <a:lnTo>
                      <a:pt x="8145" y="630"/>
                    </a:lnTo>
                    <a:lnTo>
                      <a:pt x="8143" y="623"/>
                    </a:lnTo>
                    <a:lnTo>
                      <a:pt x="8142" y="613"/>
                    </a:lnTo>
                    <a:lnTo>
                      <a:pt x="8142" y="603"/>
                    </a:lnTo>
                    <a:lnTo>
                      <a:pt x="8143" y="593"/>
                    </a:lnTo>
                    <a:lnTo>
                      <a:pt x="8144" y="572"/>
                    </a:lnTo>
                    <a:lnTo>
                      <a:pt x="8145" y="552"/>
                    </a:lnTo>
                    <a:lnTo>
                      <a:pt x="8145" y="543"/>
                    </a:lnTo>
                    <a:lnTo>
                      <a:pt x="8144" y="534"/>
                    </a:lnTo>
                    <a:lnTo>
                      <a:pt x="8142" y="528"/>
                    </a:lnTo>
                    <a:lnTo>
                      <a:pt x="8138" y="523"/>
                    </a:lnTo>
                    <a:lnTo>
                      <a:pt x="8136" y="521"/>
                    </a:lnTo>
                    <a:lnTo>
                      <a:pt x="8133" y="520"/>
                    </a:lnTo>
                    <a:lnTo>
                      <a:pt x="8129" y="520"/>
                    </a:lnTo>
                    <a:lnTo>
                      <a:pt x="8126" y="520"/>
                    </a:lnTo>
                    <a:lnTo>
                      <a:pt x="8117" y="521"/>
                    </a:lnTo>
                    <a:lnTo>
                      <a:pt x="8105" y="525"/>
                    </a:lnTo>
                    <a:lnTo>
                      <a:pt x="8095" y="528"/>
                    </a:lnTo>
                    <a:lnTo>
                      <a:pt x="8084" y="532"/>
                    </a:lnTo>
                    <a:lnTo>
                      <a:pt x="8074" y="534"/>
                    </a:lnTo>
                    <a:lnTo>
                      <a:pt x="8065" y="536"/>
                    </a:lnTo>
                    <a:lnTo>
                      <a:pt x="8055" y="536"/>
                    </a:lnTo>
                    <a:lnTo>
                      <a:pt x="8046" y="536"/>
                    </a:lnTo>
                    <a:lnTo>
                      <a:pt x="8038" y="534"/>
                    </a:lnTo>
                    <a:lnTo>
                      <a:pt x="8029" y="532"/>
                    </a:lnTo>
                    <a:lnTo>
                      <a:pt x="8021" y="530"/>
                    </a:lnTo>
                    <a:lnTo>
                      <a:pt x="8013" y="526"/>
                    </a:lnTo>
                    <a:lnTo>
                      <a:pt x="8007" y="521"/>
                    </a:lnTo>
                    <a:lnTo>
                      <a:pt x="8000" y="516"/>
                    </a:lnTo>
                    <a:lnTo>
                      <a:pt x="7994" y="511"/>
                    </a:lnTo>
                    <a:lnTo>
                      <a:pt x="7987" y="505"/>
                    </a:lnTo>
                    <a:lnTo>
                      <a:pt x="7983" y="499"/>
                    </a:lnTo>
                    <a:lnTo>
                      <a:pt x="7978" y="492"/>
                    </a:lnTo>
                    <a:lnTo>
                      <a:pt x="7969" y="476"/>
                    </a:lnTo>
                    <a:lnTo>
                      <a:pt x="7962" y="460"/>
                    </a:lnTo>
                    <a:lnTo>
                      <a:pt x="7957" y="441"/>
                    </a:lnTo>
                    <a:lnTo>
                      <a:pt x="7954" y="423"/>
                    </a:lnTo>
                    <a:lnTo>
                      <a:pt x="7953" y="404"/>
                    </a:lnTo>
                    <a:lnTo>
                      <a:pt x="7953" y="384"/>
                    </a:lnTo>
                    <a:lnTo>
                      <a:pt x="7956" y="364"/>
                    </a:lnTo>
                    <a:lnTo>
                      <a:pt x="7961" y="346"/>
                    </a:lnTo>
                    <a:lnTo>
                      <a:pt x="7962" y="339"/>
                    </a:lnTo>
                    <a:lnTo>
                      <a:pt x="7963" y="326"/>
                    </a:lnTo>
                    <a:lnTo>
                      <a:pt x="7964" y="315"/>
                    </a:lnTo>
                    <a:lnTo>
                      <a:pt x="7963" y="309"/>
                    </a:lnTo>
                    <a:lnTo>
                      <a:pt x="7958" y="322"/>
                    </a:lnTo>
                    <a:lnTo>
                      <a:pt x="7953" y="334"/>
                    </a:lnTo>
                    <a:lnTo>
                      <a:pt x="7947" y="345"/>
                    </a:lnTo>
                    <a:lnTo>
                      <a:pt x="7940" y="357"/>
                    </a:lnTo>
                    <a:lnTo>
                      <a:pt x="7932" y="368"/>
                    </a:lnTo>
                    <a:lnTo>
                      <a:pt x="7924" y="378"/>
                    </a:lnTo>
                    <a:lnTo>
                      <a:pt x="7915" y="389"/>
                    </a:lnTo>
                    <a:lnTo>
                      <a:pt x="7905" y="399"/>
                    </a:lnTo>
                    <a:lnTo>
                      <a:pt x="7896" y="407"/>
                    </a:lnTo>
                    <a:lnTo>
                      <a:pt x="7886" y="416"/>
                    </a:lnTo>
                    <a:lnTo>
                      <a:pt x="7875" y="424"/>
                    </a:lnTo>
                    <a:lnTo>
                      <a:pt x="7864" y="432"/>
                    </a:lnTo>
                    <a:lnTo>
                      <a:pt x="7852" y="438"/>
                    </a:lnTo>
                    <a:lnTo>
                      <a:pt x="7839" y="444"/>
                    </a:lnTo>
                    <a:lnTo>
                      <a:pt x="7827" y="450"/>
                    </a:lnTo>
                    <a:lnTo>
                      <a:pt x="7815" y="454"/>
                    </a:lnTo>
                    <a:lnTo>
                      <a:pt x="7803" y="457"/>
                    </a:lnTo>
                    <a:lnTo>
                      <a:pt x="7789" y="461"/>
                    </a:lnTo>
                    <a:lnTo>
                      <a:pt x="7777" y="462"/>
                    </a:lnTo>
                    <a:lnTo>
                      <a:pt x="7763" y="464"/>
                    </a:lnTo>
                    <a:lnTo>
                      <a:pt x="7751" y="464"/>
                    </a:lnTo>
                    <a:lnTo>
                      <a:pt x="7739" y="462"/>
                    </a:lnTo>
                    <a:lnTo>
                      <a:pt x="7726" y="460"/>
                    </a:lnTo>
                    <a:lnTo>
                      <a:pt x="7713" y="456"/>
                    </a:lnTo>
                    <a:lnTo>
                      <a:pt x="7701" y="452"/>
                    </a:lnTo>
                    <a:lnTo>
                      <a:pt x="7689" y="446"/>
                    </a:lnTo>
                    <a:lnTo>
                      <a:pt x="7678" y="439"/>
                    </a:lnTo>
                    <a:lnTo>
                      <a:pt x="7666" y="430"/>
                    </a:lnTo>
                    <a:lnTo>
                      <a:pt x="7655" y="421"/>
                    </a:lnTo>
                    <a:lnTo>
                      <a:pt x="7645" y="410"/>
                    </a:lnTo>
                    <a:lnTo>
                      <a:pt x="7634" y="397"/>
                    </a:lnTo>
                    <a:lnTo>
                      <a:pt x="7624" y="384"/>
                    </a:lnTo>
                    <a:lnTo>
                      <a:pt x="7620" y="377"/>
                    </a:lnTo>
                    <a:lnTo>
                      <a:pt x="7619" y="369"/>
                    </a:lnTo>
                    <a:lnTo>
                      <a:pt x="7619" y="363"/>
                    </a:lnTo>
                    <a:lnTo>
                      <a:pt x="7620" y="357"/>
                    </a:lnTo>
                    <a:lnTo>
                      <a:pt x="7621" y="351"/>
                    </a:lnTo>
                    <a:lnTo>
                      <a:pt x="7625" y="345"/>
                    </a:lnTo>
                    <a:lnTo>
                      <a:pt x="7629" y="340"/>
                    </a:lnTo>
                    <a:lnTo>
                      <a:pt x="7634" y="334"/>
                    </a:lnTo>
                    <a:lnTo>
                      <a:pt x="7642" y="324"/>
                    </a:lnTo>
                    <a:lnTo>
                      <a:pt x="7652" y="314"/>
                    </a:lnTo>
                    <a:lnTo>
                      <a:pt x="7656" y="309"/>
                    </a:lnTo>
                    <a:lnTo>
                      <a:pt x="7658" y="306"/>
                    </a:lnTo>
                    <a:lnTo>
                      <a:pt x="7659" y="301"/>
                    </a:lnTo>
                    <a:lnTo>
                      <a:pt x="7661" y="296"/>
                    </a:lnTo>
                    <a:lnTo>
                      <a:pt x="7612" y="298"/>
                    </a:lnTo>
                    <a:lnTo>
                      <a:pt x="7606" y="318"/>
                    </a:lnTo>
                    <a:lnTo>
                      <a:pt x="7602" y="333"/>
                    </a:lnTo>
                    <a:lnTo>
                      <a:pt x="7597" y="345"/>
                    </a:lnTo>
                    <a:lnTo>
                      <a:pt x="7592" y="353"/>
                    </a:lnTo>
                    <a:lnTo>
                      <a:pt x="7587" y="360"/>
                    </a:lnTo>
                    <a:lnTo>
                      <a:pt x="7582" y="363"/>
                    </a:lnTo>
                    <a:lnTo>
                      <a:pt x="7576" y="364"/>
                    </a:lnTo>
                    <a:lnTo>
                      <a:pt x="7570" y="364"/>
                    </a:lnTo>
                    <a:lnTo>
                      <a:pt x="7555" y="361"/>
                    </a:lnTo>
                    <a:lnTo>
                      <a:pt x="7536" y="356"/>
                    </a:lnTo>
                    <a:lnTo>
                      <a:pt x="7524" y="355"/>
                    </a:lnTo>
                    <a:lnTo>
                      <a:pt x="7510" y="352"/>
                    </a:lnTo>
                    <a:lnTo>
                      <a:pt x="7495" y="352"/>
                    </a:lnTo>
                    <a:lnTo>
                      <a:pt x="7478" y="353"/>
                    </a:lnTo>
                    <a:lnTo>
                      <a:pt x="7439" y="357"/>
                    </a:lnTo>
                    <a:lnTo>
                      <a:pt x="7394" y="360"/>
                    </a:lnTo>
                    <a:lnTo>
                      <a:pt x="7369" y="360"/>
                    </a:lnTo>
                    <a:lnTo>
                      <a:pt x="7345" y="360"/>
                    </a:lnTo>
                    <a:lnTo>
                      <a:pt x="7319" y="357"/>
                    </a:lnTo>
                    <a:lnTo>
                      <a:pt x="7293" y="356"/>
                    </a:lnTo>
                    <a:lnTo>
                      <a:pt x="7269" y="352"/>
                    </a:lnTo>
                    <a:lnTo>
                      <a:pt x="7244" y="348"/>
                    </a:lnTo>
                    <a:lnTo>
                      <a:pt x="7220" y="344"/>
                    </a:lnTo>
                    <a:lnTo>
                      <a:pt x="7198" y="337"/>
                    </a:lnTo>
                    <a:lnTo>
                      <a:pt x="7176" y="330"/>
                    </a:lnTo>
                    <a:lnTo>
                      <a:pt x="7156" y="320"/>
                    </a:lnTo>
                    <a:lnTo>
                      <a:pt x="7139" y="311"/>
                    </a:lnTo>
                    <a:lnTo>
                      <a:pt x="7123" y="300"/>
                    </a:lnTo>
                    <a:lnTo>
                      <a:pt x="7112" y="291"/>
                    </a:lnTo>
                    <a:lnTo>
                      <a:pt x="7103" y="284"/>
                    </a:lnTo>
                    <a:lnTo>
                      <a:pt x="7093" y="279"/>
                    </a:lnTo>
                    <a:lnTo>
                      <a:pt x="7083" y="275"/>
                    </a:lnTo>
                    <a:lnTo>
                      <a:pt x="7074" y="271"/>
                    </a:lnTo>
                    <a:lnTo>
                      <a:pt x="7065" y="269"/>
                    </a:lnTo>
                    <a:lnTo>
                      <a:pt x="7056" y="268"/>
                    </a:lnTo>
                    <a:lnTo>
                      <a:pt x="7047" y="268"/>
                    </a:lnTo>
                    <a:lnTo>
                      <a:pt x="7038" y="269"/>
                    </a:lnTo>
                    <a:lnTo>
                      <a:pt x="7030" y="270"/>
                    </a:lnTo>
                    <a:lnTo>
                      <a:pt x="7022" y="273"/>
                    </a:lnTo>
                    <a:lnTo>
                      <a:pt x="7013" y="275"/>
                    </a:lnTo>
                    <a:lnTo>
                      <a:pt x="6997" y="281"/>
                    </a:lnTo>
                    <a:lnTo>
                      <a:pt x="6983" y="290"/>
                    </a:lnTo>
                    <a:lnTo>
                      <a:pt x="6956" y="308"/>
                    </a:lnTo>
                    <a:lnTo>
                      <a:pt x="6930" y="324"/>
                    </a:lnTo>
                    <a:lnTo>
                      <a:pt x="6919" y="330"/>
                    </a:lnTo>
                    <a:lnTo>
                      <a:pt x="6908" y="333"/>
                    </a:lnTo>
                    <a:lnTo>
                      <a:pt x="6903" y="334"/>
                    </a:lnTo>
                    <a:lnTo>
                      <a:pt x="6898" y="334"/>
                    </a:lnTo>
                    <a:lnTo>
                      <a:pt x="6893" y="333"/>
                    </a:lnTo>
                    <a:lnTo>
                      <a:pt x="6888" y="330"/>
                    </a:lnTo>
                    <a:lnTo>
                      <a:pt x="6874" y="319"/>
                    </a:lnTo>
                    <a:lnTo>
                      <a:pt x="6856" y="304"/>
                    </a:lnTo>
                    <a:lnTo>
                      <a:pt x="6848" y="297"/>
                    </a:lnTo>
                    <a:lnTo>
                      <a:pt x="6839" y="292"/>
                    </a:lnTo>
                    <a:lnTo>
                      <a:pt x="6836" y="290"/>
                    </a:lnTo>
                    <a:lnTo>
                      <a:pt x="6831" y="289"/>
                    </a:lnTo>
                    <a:lnTo>
                      <a:pt x="6828" y="289"/>
                    </a:lnTo>
                    <a:lnTo>
                      <a:pt x="6825" y="289"/>
                    </a:lnTo>
                    <a:lnTo>
                      <a:pt x="6811" y="291"/>
                    </a:lnTo>
                    <a:lnTo>
                      <a:pt x="6799" y="291"/>
                    </a:lnTo>
                    <a:lnTo>
                      <a:pt x="6789" y="291"/>
                    </a:lnTo>
                    <a:lnTo>
                      <a:pt x="6778" y="290"/>
                    </a:lnTo>
                    <a:lnTo>
                      <a:pt x="6767" y="290"/>
                    </a:lnTo>
                    <a:lnTo>
                      <a:pt x="6757" y="289"/>
                    </a:lnTo>
                    <a:lnTo>
                      <a:pt x="6745" y="290"/>
                    </a:lnTo>
                    <a:lnTo>
                      <a:pt x="6734" y="291"/>
                    </a:lnTo>
                    <a:lnTo>
                      <a:pt x="6729" y="293"/>
                    </a:lnTo>
                    <a:lnTo>
                      <a:pt x="6723" y="295"/>
                    </a:lnTo>
                    <a:lnTo>
                      <a:pt x="6716" y="295"/>
                    </a:lnTo>
                    <a:lnTo>
                      <a:pt x="6707" y="293"/>
                    </a:lnTo>
                    <a:lnTo>
                      <a:pt x="6686" y="287"/>
                    </a:lnTo>
                    <a:lnTo>
                      <a:pt x="6664" y="279"/>
                    </a:lnTo>
                    <a:lnTo>
                      <a:pt x="6621" y="260"/>
                    </a:lnTo>
                    <a:lnTo>
                      <a:pt x="6595" y="247"/>
                    </a:lnTo>
                    <a:lnTo>
                      <a:pt x="6584" y="241"/>
                    </a:lnTo>
                    <a:lnTo>
                      <a:pt x="6576" y="238"/>
                    </a:lnTo>
                    <a:lnTo>
                      <a:pt x="6569" y="236"/>
                    </a:lnTo>
                    <a:lnTo>
                      <a:pt x="6564" y="235"/>
                    </a:lnTo>
                    <a:lnTo>
                      <a:pt x="6559" y="235"/>
                    </a:lnTo>
                    <a:lnTo>
                      <a:pt x="6554" y="236"/>
                    </a:lnTo>
                    <a:lnTo>
                      <a:pt x="6552" y="237"/>
                    </a:lnTo>
                    <a:lnTo>
                      <a:pt x="6548" y="240"/>
                    </a:lnTo>
                    <a:lnTo>
                      <a:pt x="6541" y="244"/>
                    </a:lnTo>
                    <a:lnTo>
                      <a:pt x="6532" y="248"/>
                    </a:lnTo>
                    <a:lnTo>
                      <a:pt x="6526" y="249"/>
                    </a:lnTo>
                    <a:lnTo>
                      <a:pt x="6519" y="251"/>
                    </a:lnTo>
                    <a:lnTo>
                      <a:pt x="6509" y="251"/>
                    </a:lnTo>
                    <a:lnTo>
                      <a:pt x="6499" y="249"/>
                    </a:lnTo>
                    <a:lnTo>
                      <a:pt x="6487" y="246"/>
                    </a:lnTo>
                    <a:lnTo>
                      <a:pt x="6475" y="242"/>
                    </a:lnTo>
                    <a:lnTo>
                      <a:pt x="6462" y="236"/>
                    </a:lnTo>
                    <a:lnTo>
                      <a:pt x="6450" y="230"/>
                    </a:lnTo>
                    <a:lnTo>
                      <a:pt x="6438" y="225"/>
                    </a:lnTo>
                    <a:lnTo>
                      <a:pt x="6426" y="221"/>
                    </a:lnTo>
                    <a:lnTo>
                      <a:pt x="6420" y="219"/>
                    </a:lnTo>
                    <a:lnTo>
                      <a:pt x="6413" y="219"/>
                    </a:lnTo>
                    <a:lnTo>
                      <a:pt x="6407" y="219"/>
                    </a:lnTo>
                    <a:lnTo>
                      <a:pt x="6401" y="219"/>
                    </a:lnTo>
                    <a:lnTo>
                      <a:pt x="6382" y="220"/>
                    </a:lnTo>
                    <a:lnTo>
                      <a:pt x="6363" y="219"/>
                    </a:lnTo>
                    <a:lnTo>
                      <a:pt x="6346" y="216"/>
                    </a:lnTo>
                    <a:lnTo>
                      <a:pt x="6329" y="211"/>
                    </a:lnTo>
                    <a:lnTo>
                      <a:pt x="6312" y="208"/>
                    </a:lnTo>
                    <a:lnTo>
                      <a:pt x="6296" y="204"/>
                    </a:lnTo>
                    <a:lnTo>
                      <a:pt x="6280" y="202"/>
                    </a:lnTo>
                    <a:lnTo>
                      <a:pt x="6264" y="200"/>
                    </a:lnTo>
                    <a:lnTo>
                      <a:pt x="6268" y="214"/>
                    </a:lnTo>
                    <a:lnTo>
                      <a:pt x="6276" y="233"/>
                    </a:lnTo>
                    <a:lnTo>
                      <a:pt x="6280" y="242"/>
                    </a:lnTo>
                    <a:lnTo>
                      <a:pt x="6282" y="251"/>
                    </a:lnTo>
                    <a:lnTo>
                      <a:pt x="6284" y="257"/>
                    </a:lnTo>
                    <a:lnTo>
                      <a:pt x="6282" y="258"/>
                    </a:lnTo>
                    <a:lnTo>
                      <a:pt x="6278" y="257"/>
                    </a:lnTo>
                    <a:lnTo>
                      <a:pt x="6271" y="254"/>
                    </a:lnTo>
                    <a:lnTo>
                      <a:pt x="6265" y="251"/>
                    </a:lnTo>
                    <a:lnTo>
                      <a:pt x="6259" y="244"/>
                    </a:lnTo>
                    <a:lnTo>
                      <a:pt x="6247" y="235"/>
                    </a:lnTo>
                    <a:lnTo>
                      <a:pt x="6237" y="227"/>
                    </a:lnTo>
                    <a:lnTo>
                      <a:pt x="6218" y="215"/>
                    </a:lnTo>
                    <a:lnTo>
                      <a:pt x="6198" y="204"/>
                    </a:lnTo>
                    <a:lnTo>
                      <a:pt x="6181" y="196"/>
                    </a:lnTo>
                    <a:lnTo>
                      <a:pt x="6162" y="189"/>
                    </a:lnTo>
                    <a:lnTo>
                      <a:pt x="6154" y="187"/>
                    </a:lnTo>
                    <a:lnTo>
                      <a:pt x="6145" y="185"/>
                    </a:lnTo>
                    <a:lnTo>
                      <a:pt x="6136" y="183"/>
                    </a:lnTo>
                    <a:lnTo>
                      <a:pt x="6126" y="183"/>
                    </a:lnTo>
                    <a:lnTo>
                      <a:pt x="6106" y="183"/>
                    </a:lnTo>
                    <a:lnTo>
                      <a:pt x="6083" y="187"/>
                    </a:lnTo>
                    <a:lnTo>
                      <a:pt x="6051" y="191"/>
                    </a:lnTo>
                    <a:lnTo>
                      <a:pt x="6019" y="193"/>
                    </a:lnTo>
                    <a:lnTo>
                      <a:pt x="6003" y="194"/>
                    </a:lnTo>
                    <a:lnTo>
                      <a:pt x="5987" y="196"/>
                    </a:lnTo>
                    <a:lnTo>
                      <a:pt x="5973" y="197"/>
                    </a:lnTo>
                    <a:lnTo>
                      <a:pt x="5957" y="199"/>
                    </a:lnTo>
                    <a:lnTo>
                      <a:pt x="5951" y="203"/>
                    </a:lnTo>
                    <a:lnTo>
                      <a:pt x="5943" y="205"/>
                    </a:lnTo>
                    <a:lnTo>
                      <a:pt x="5937" y="207"/>
                    </a:lnTo>
                    <a:lnTo>
                      <a:pt x="5929" y="208"/>
                    </a:lnTo>
                    <a:lnTo>
                      <a:pt x="5913" y="208"/>
                    </a:lnTo>
                    <a:lnTo>
                      <a:pt x="5897" y="208"/>
                    </a:lnTo>
                    <a:lnTo>
                      <a:pt x="5881" y="209"/>
                    </a:lnTo>
                    <a:lnTo>
                      <a:pt x="5865" y="211"/>
                    </a:lnTo>
                    <a:lnTo>
                      <a:pt x="5858" y="214"/>
                    </a:lnTo>
                    <a:lnTo>
                      <a:pt x="5850" y="218"/>
                    </a:lnTo>
                    <a:lnTo>
                      <a:pt x="5843" y="221"/>
                    </a:lnTo>
                    <a:lnTo>
                      <a:pt x="5837" y="227"/>
                    </a:lnTo>
                    <a:lnTo>
                      <a:pt x="5827" y="242"/>
                    </a:lnTo>
                    <a:lnTo>
                      <a:pt x="5814" y="265"/>
                    </a:lnTo>
                    <a:lnTo>
                      <a:pt x="5800" y="290"/>
                    </a:lnTo>
                    <a:lnTo>
                      <a:pt x="5794" y="303"/>
                    </a:lnTo>
                    <a:lnTo>
                      <a:pt x="5787" y="307"/>
                    </a:lnTo>
                    <a:lnTo>
                      <a:pt x="5778" y="312"/>
                    </a:lnTo>
                    <a:lnTo>
                      <a:pt x="5770" y="318"/>
                    </a:lnTo>
                    <a:lnTo>
                      <a:pt x="5761" y="325"/>
                    </a:lnTo>
                    <a:lnTo>
                      <a:pt x="5751" y="333"/>
                    </a:lnTo>
                    <a:lnTo>
                      <a:pt x="5739" y="339"/>
                    </a:lnTo>
                    <a:lnTo>
                      <a:pt x="5733" y="340"/>
                    </a:lnTo>
                    <a:lnTo>
                      <a:pt x="5727" y="342"/>
                    </a:lnTo>
                    <a:lnTo>
                      <a:pt x="5719" y="344"/>
                    </a:lnTo>
                    <a:lnTo>
                      <a:pt x="5712" y="344"/>
                    </a:lnTo>
                    <a:lnTo>
                      <a:pt x="5610" y="340"/>
                    </a:lnTo>
                    <a:lnTo>
                      <a:pt x="5598" y="339"/>
                    </a:lnTo>
                    <a:lnTo>
                      <a:pt x="5585" y="337"/>
                    </a:lnTo>
                    <a:lnTo>
                      <a:pt x="5573" y="335"/>
                    </a:lnTo>
                    <a:lnTo>
                      <a:pt x="5560" y="333"/>
                    </a:lnTo>
                    <a:lnTo>
                      <a:pt x="5536" y="325"/>
                    </a:lnTo>
                    <a:lnTo>
                      <a:pt x="5513" y="317"/>
                    </a:lnTo>
                    <a:lnTo>
                      <a:pt x="5488" y="309"/>
                    </a:lnTo>
                    <a:lnTo>
                      <a:pt x="5464" y="302"/>
                    </a:lnTo>
                    <a:lnTo>
                      <a:pt x="5450" y="300"/>
                    </a:lnTo>
                    <a:lnTo>
                      <a:pt x="5437" y="297"/>
                    </a:lnTo>
                    <a:lnTo>
                      <a:pt x="5423" y="296"/>
                    </a:lnTo>
                    <a:lnTo>
                      <a:pt x="5410" y="295"/>
                    </a:lnTo>
                    <a:lnTo>
                      <a:pt x="5391" y="293"/>
                    </a:lnTo>
                    <a:lnTo>
                      <a:pt x="5373" y="291"/>
                    </a:lnTo>
                    <a:lnTo>
                      <a:pt x="5355" y="286"/>
                    </a:lnTo>
                    <a:lnTo>
                      <a:pt x="5336" y="280"/>
                    </a:lnTo>
                    <a:lnTo>
                      <a:pt x="5319" y="274"/>
                    </a:lnTo>
                    <a:lnTo>
                      <a:pt x="5301" y="269"/>
                    </a:lnTo>
                    <a:lnTo>
                      <a:pt x="5282" y="264"/>
                    </a:lnTo>
                    <a:lnTo>
                      <a:pt x="5265" y="262"/>
                    </a:lnTo>
                    <a:lnTo>
                      <a:pt x="5259" y="260"/>
                    </a:lnTo>
                    <a:lnTo>
                      <a:pt x="5255" y="257"/>
                    </a:lnTo>
                    <a:lnTo>
                      <a:pt x="5251" y="251"/>
                    </a:lnTo>
                    <a:lnTo>
                      <a:pt x="5244" y="246"/>
                    </a:lnTo>
                    <a:lnTo>
                      <a:pt x="5238" y="240"/>
                    </a:lnTo>
                    <a:lnTo>
                      <a:pt x="5230" y="236"/>
                    </a:lnTo>
                    <a:lnTo>
                      <a:pt x="5225" y="235"/>
                    </a:lnTo>
                    <a:lnTo>
                      <a:pt x="5219" y="233"/>
                    </a:lnTo>
                    <a:lnTo>
                      <a:pt x="5213" y="235"/>
                    </a:lnTo>
                    <a:lnTo>
                      <a:pt x="5205" y="235"/>
                    </a:lnTo>
                    <a:lnTo>
                      <a:pt x="5197" y="238"/>
                    </a:lnTo>
                    <a:lnTo>
                      <a:pt x="5191" y="242"/>
                    </a:lnTo>
                    <a:lnTo>
                      <a:pt x="5186" y="246"/>
                    </a:lnTo>
                    <a:lnTo>
                      <a:pt x="5182" y="249"/>
                    </a:lnTo>
                    <a:lnTo>
                      <a:pt x="5178" y="253"/>
                    </a:lnTo>
                    <a:lnTo>
                      <a:pt x="5173" y="254"/>
                    </a:lnTo>
                    <a:lnTo>
                      <a:pt x="5166" y="253"/>
                    </a:lnTo>
                    <a:lnTo>
                      <a:pt x="5158" y="251"/>
                    </a:lnTo>
                    <a:lnTo>
                      <a:pt x="5123" y="235"/>
                    </a:lnTo>
                    <a:lnTo>
                      <a:pt x="5091" y="222"/>
                    </a:lnTo>
                    <a:lnTo>
                      <a:pt x="5060" y="213"/>
                    </a:lnTo>
                    <a:lnTo>
                      <a:pt x="5024" y="200"/>
                    </a:lnTo>
                    <a:lnTo>
                      <a:pt x="5016" y="198"/>
                    </a:lnTo>
                    <a:lnTo>
                      <a:pt x="5007" y="197"/>
                    </a:lnTo>
                    <a:lnTo>
                      <a:pt x="5001" y="197"/>
                    </a:lnTo>
                    <a:lnTo>
                      <a:pt x="4995" y="197"/>
                    </a:lnTo>
                    <a:lnTo>
                      <a:pt x="4986" y="199"/>
                    </a:lnTo>
                    <a:lnTo>
                      <a:pt x="4980" y="203"/>
                    </a:lnTo>
                    <a:lnTo>
                      <a:pt x="4974" y="208"/>
                    </a:lnTo>
                    <a:lnTo>
                      <a:pt x="4968" y="213"/>
                    </a:lnTo>
                    <a:lnTo>
                      <a:pt x="4963" y="214"/>
                    </a:lnTo>
                    <a:lnTo>
                      <a:pt x="4958" y="216"/>
                    </a:lnTo>
                    <a:lnTo>
                      <a:pt x="4952" y="218"/>
                    </a:lnTo>
                    <a:lnTo>
                      <a:pt x="4945" y="218"/>
                    </a:lnTo>
                    <a:lnTo>
                      <a:pt x="4912" y="220"/>
                    </a:lnTo>
                    <a:lnTo>
                      <a:pt x="4875" y="225"/>
                    </a:lnTo>
                    <a:lnTo>
                      <a:pt x="4856" y="227"/>
                    </a:lnTo>
                    <a:lnTo>
                      <a:pt x="4839" y="229"/>
                    </a:lnTo>
                    <a:lnTo>
                      <a:pt x="4831" y="227"/>
                    </a:lnTo>
                    <a:lnTo>
                      <a:pt x="4822" y="227"/>
                    </a:lnTo>
                    <a:lnTo>
                      <a:pt x="4815" y="225"/>
                    </a:lnTo>
                    <a:lnTo>
                      <a:pt x="4808" y="224"/>
                    </a:lnTo>
                    <a:lnTo>
                      <a:pt x="4783" y="215"/>
                    </a:lnTo>
                    <a:lnTo>
                      <a:pt x="4759" y="205"/>
                    </a:lnTo>
                    <a:lnTo>
                      <a:pt x="4733" y="197"/>
                    </a:lnTo>
                    <a:lnTo>
                      <a:pt x="4707" y="188"/>
                    </a:lnTo>
                    <a:lnTo>
                      <a:pt x="4681" y="182"/>
                    </a:lnTo>
                    <a:lnTo>
                      <a:pt x="4655" y="178"/>
                    </a:lnTo>
                    <a:lnTo>
                      <a:pt x="4642" y="177"/>
                    </a:lnTo>
                    <a:lnTo>
                      <a:pt x="4629" y="177"/>
                    </a:lnTo>
                    <a:lnTo>
                      <a:pt x="4617" y="178"/>
                    </a:lnTo>
                    <a:lnTo>
                      <a:pt x="4604" y="180"/>
                    </a:lnTo>
                    <a:lnTo>
                      <a:pt x="4596" y="181"/>
                    </a:lnTo>
                    <a:lnTo>
                      <a:pt x="4585" y="180"/>
                    </a:lnTo>
                    <a:lnTo>
                      <a:pt x="4570" y="177"/>
                    </a:lnTo>
                    <a:lnTo>
                      <a:pt x="4555" y="175"/>
                    </a:lnTo>
                    <a:lnTo>
                      <a:pt x="4538" y="172"/>
                    </a:lnTo>
                    <a:lnTo>
                      <a:pt x="4522" y="170"/>
                    </a:lnTo>
                    <a:lnTo>
                      <a:pt x="4508" y="169"/>
                    </a:lnTo>
                    <a:lnTo>
                      <a:pt x="4494" y="170"/>
                    </a:lnTo>
                    <a:lnTo>
                      <a:pt x="4466" y="172"/>
                    </a:lnTo>
                    <a:lnTo>
                      <a:pt x="4442" y="174"/>
                    </a:lnTo>
                    <a:lnTo>
                      <a:pt x="4429" y="174"/>
                    </a:lnTo>
                    <a:lnTo>
                      <a:pt x="4417" y="176"/>
                    </a:lnTo>
                    <a:lnTo>
                      <a:pt x="4405" y="180"/>
                    </a:lnTo>
                    <a:lnTo>
                      <a:pt x="4391" y="185"/>
                    </a:lnTo>
                    <a:lnTo>
                      <a:pt x="4382" y="189"/>
                    </a:lnTo>
                    <a:lnTo>
                      <a:pt x="4372" y="192"/>
                    </a:lnTo>
                    <a:lnTo>
                      <a:pt x="4360" y="194"/>
                    </a:lnTo>
                    <a:lnTo>
                      <a:pt x="4347" y="196"/>
                    </a:lnTo>
                    <a:lnTo>
                      <a:pt x="4320" y="198"/>
                    </a:lnTo>
                    <a:lnTo>
                      <a:pt x="4292" y="197"/>
                    </a:lnTo>
                    <a:lnTo>
                      <a:pt x="4264" y="196"/>
                    </a:lnTo>
                    <a:lnTo>
                      <a:pt x="4237" y="193"/>
                    </a:lnTo>
                    <a:lnTo>
                      <a:pt x="4213" y="191"/>
                    </a:lnTo>
                    <a:lnTo>
                      <a:pt x="4192" y="191"/>
                    </a:lnTo>
                    <a:lnTo>
                      <a:pt x="4192" y="191"/>
                    </a:lnTo>
                    <a:lnTo>
                      <a:pt x="4182" y="202"/>
                    </a:lnTo>
                    <a:lnTo>
                      <a:pt x="4172" y="213"/>
                    </a:lnTo>
                    <a:lnTo>
                      <a:pt x="4162" y="216"/>
                    </a:lnTo>
                    <a:lnTo>
                      <a:pt x="4154" y="222"/>
                    </a:lnTo>
                    <a:lnTo>
                      <a:pt x="4144" y="230"/>
                    </a:lnTo>
                    <a:lnTo>
                      <a:pt x="4136" y="237"/>
                    </a:lnTo>
                    <a:lnTo>
                      <a:pt x="4126" y="244"/>
                    </a:lnTo>
                    <a:lnTo>
                      <a:pt x="4116" y="252"/>
                    </a:lnTo>
                    <a:lnTo>
                      <a:pt x="4111" y="254"/>
                    </a:lnTo>
                    <a:lnTo>
                      <a:pt x="4105" y="255"/>
                    </a:lnTo>
                    <a:lnTo>
                      <a:pt x="4099" y="258"/>
                    </a:lnTo>
                    <a:lnTo>
                      <a:pt x="4093" y="258"/>
                    </a:lnTo>
                    <a:lnTo>
                      <a:pt x="4067" y="257"/>
                    </a:lnTo>
                    <a:lnTo>
                      <a:pt x="4038" y="253"/>
                    </a:lnTo>
                    <a:lnTo>
                      <a:pt x="4023" y="253"/>
                    </a:lnTo>
                    <a:lnTo>
                      <a:pt x="4012" y="255"/>
                    </a:lnTo>
                    <a:lnTo>
                      <a:pt x="4007" y="257"/>
                    </a:lnTo>
                    <a:lnTo>
                      <a:pt x="4003" y="260"/>
                    </a:lnTo>
                    <a:lnTo>
                      <a:pt x="4002" y="264"/>
                    </a:lnTo>
                    <a:lnTo>
                      <a:pt x="4001" y="268"/>
                    </a:lnTo>
                    <a:lnTo>
                      <a:pt x="4001" y="275"/>
                    </a:lnTo>
                    <a:lnTo>
                      <a:pt x="4000" y="281"/>
                    </a:lnTo>
                    <a:lnTo>
                      <a:pt x="3998" y="287"/>
                    </a:lnTo>
                    <a:lnTo>
                      <a:pt x="3996" y="292"/>
                    </a:lnTo>
                    <a:lnTo>
                      <a:pt x="3994" y="296"/>
                    </a:lnTo>
                    <a:lnTo>
                      <a:pt x="3991" y="300"/>
                    </a:lnTo>
                    <a:lnTo>
                      <a:pt x="3989" y="302"/>
                    </a:lnTo>
                    <a:lnTo>
                      <a:pt x="3985" y="304"/>
                    </a:lnTo>
                    <a:lnTo>
                      <a:pt x="3976" y="308"/>
                    </a:lnTo>
                    <a:lnTo>
                      <a:pt x="3967" y="309"/>
                    </a:lnTo>
                    <a:lnTo>
                      <a:pt x="3956" y="309"/>
                    </a:lnTo>
                    <a:lnTo>
                      <a:pt x="3945" y="308"/>
                    </a:lnTo>
                    <a:lnTo>
                      <a:pt x="3921" y="304"/>
                    </a:lnTo>
                    <a:lnTo>
                      <a:pt x="3897" y="300"/>
                    </a:lnTo>
                    <a:lnTo>
                      <a:pt x="3885" y="297"/>
                    </a:lnTo>
                    <a:lnTo>
                      <a:pt x="3874" y="296"/>
                    </a:lnTo>
                    <a:lnTo>
                      <a:pt x="3863" y="296"/>
                    </a:lnTo>
                    <a:lnTo>
                      <a:pt x="3853" y="296"/>
                    </a:lnTo>
                    <a:lnTo>
                      <a:pt x="3844" y="303"/>
                    </a:lnTo>
                    <a:lnTo>
                      <a:pt x="3831" y="318"/>
                    </a:lnTo>
                    <a:lnTo>
                      <a:pt x="3808" y="317"/>
                    </a:lnTo>
                    <a:lnTo>
                      <a:pt x="3784" y="314"/>
                    </a:lnTo>
                    <a:lnTo>
                      <a:pt x="3761" y="312"/>
                    </a:lnTo>
                    <a:lnTo>
                      <a:pt x="3739" y="307"/>
                    </a:lnTo>
                    <a:lnTo>
                      <a:pt x="3717" y="301"/>
                    </a:lnTo>
                    <a:lnTo>
                      <a:pt x="3695" y="295"/>
                    </a:lnTo>
                    <a:lnTo>
                      <a:pt x="3673" y="287"/>
                    </a:lnTo>
                    <a:lnTo>
                      <a:pt x="3652" y="279"/>
                    </a:lnTo>
                    <a:lnTo>
                      <a:pt x="3609" y="262"/>
                    </a:lnTo>
                    <a:lnTo>
                      <a:pt x="3566" y="241"/>
                    </a:lnTo>
                    <a:lnTo>
                      <a:pt x="3525" y="221"/>
                    </a:lnTo>
                    <a:lnTo>
                      <a:pt x="3482" y="200"/>
                    </a:lnTo>
                    <a:lnTo>
                      <a:pt x="3460" y="191"/>
                    </a:lnTo>
                    <a:lnTo>
                      <a:pt x="3439" y="185"/>
                    </a:lnTo>
                    <a:lnTo>
                      <a:pt x="3418" y="178"/>
                    </a:lnTo>
                    <a:lnTo>
                      <a:pt x="3396" y="175"/>
                    </a:lnTo>
                    <a:lnTo>
                      <a:pt x="3375" y="172"/>
                    </a:lnTo>
                    <a:lnTo>
                      <a:pt x="3355" y="171"/>
                    </a:lnTo>
                    <a:lnTo>
                      <a:pt x="3334" y="171"/>
                    </a:lnTo>
                    <a:lnTo>
                      <a:pt x="3312" y="172"/>
                    </a:lnTo>
                    <a:lnTo>
                      <a:pt x="3269" y="175"/>
                    </a:lnTo>
                    <a:lnTo>
                      <a:pt x="3226" y="178"/>
                    </a:lnTo>
                    <a:lnTo>
                      <a:pt x="3182" y="182"/>
                    </a:lnTo>
                    <a:lnTo>
                      <a:pt x="3137" y="183"/>
                    </a:lnTo>
                    <a:lnTo>
                      <a:pt x="3134" y="188"/>
                    </a:lnTo>
                    <a:lnTo>
                      <a:pt x="3133" y="196"/>
                    </a:lnTo>
                    <a:lnTo>
                      <a:pt x="3128" y="199"/>
                    </a:lnTo>
                    <a:lnTo>
                      <a:pt x="3125" y="202"/>
                    </a:lnTo>
                    <a:lnTo>
                      <a:pt x="3120" y="205"/>
                    </a:lnTo>
                    <a:lnTo>
                      <a:pt x="3113" y="207"/>
                    </a:lnTo>
                    <a:lnTo>
                      <a:pt x="3104" y="210"/>
                    </a:lnTo>
                    <a:lnTo>
                      <a:pt x="3091" y="210"/>
                    </a:lnTo>
                    <a:lnTo>
                      <a:pt x="3080" y="210"/>
                    </a:lnTo>
                    <a:lnTo>
                      <a:pt x="3067" y="208"/>
                    </a:lnTo>
                    <a:lnTo>
                      <a:pt x="3055" y="205"/>
                    </a:lnTo>
                    <a:lnTo>
                      <a:pt x="3041" y="202"/>
                    </a:lnTo>
                    <a:lnTo>
                      <a:pt x="3014" y="193"/>
                    </a:lnTo>
                    <a:lnTo>
                      <a:pt x="2989" y="185"/>
                    </a:lnTo>
                    <a:lnTo>
                      <a:pt x="2975" y="182"/>
                    </a:lnTo>
                    <a:lnTo>
                      <a:pt x="2963" y="180"/>
                    </a:lnTo>
                    <a:lnTo>
                      <a:pt x="2952" y="180"/>
                    </a:lnTo>
                    <a:lnTo>
                      <a:pt x="2940" y="180"/>
                    </a:lnTo>
                    <a:lnTo>
                      <a:pt x="2924" y="183"/>
                    </a:lnTo>
                    <a:lnTo>
                      <a:pt x="2907" y="187"/>
                    </a:lnTo>
                    <a:lnTo>
                      <a:pt x="2898" y="188"/>
                    </a:lnTo>
                    <a:lnTo>
                      <a:pt x="2890" y="188"/>
                    </a:lnTo>
                    <a:lnTo>
                      <a:pt x="2881" y="187"/>
                    </a:lnTo>
                    <a:lnTo>
                      <a:pt x="2872" y="186"/>
                    </a:lnTo>
                    <a:lnTo>
                      <a:pt x="2856" y="182"/>
                    </a:lnTo>
                    <a:lnTo>
                      <a:pt x="2839" y="180"/>
                    </a:lnTo>
                    <a:lnTo>
                      <a:pt x="2822" y="180"/>
                    </a:lnTo>
                    <a:lnTo>
                      <a:pt x="2804" y="181"/>
                    </a:lnTo>
                    <a:lnTo>
                      <a:pt x="2785" y="185"/>
                    </a:lnTo>
                    <a:lnTo>
                      <a:pt x="2767" y="188"/>
                    </a:lnTo>
                    <a:lnTo>
                      <a:pt x="2749" y="193"/>
                    </a:lnTo>
                    <a:lnTo>
                      <a:pt x="2730" y="198"/>
                    </a:lnTo>
                    <a:lnTo>
                      <a:pt x="2692" y="210"/>
                    </a:lnTo>
                    <a:lnTo>
                      <a:pt x="2657" y="222"/>
                    </a:lnTo>
                    <a:lnTo>
                      <a:pt x="2639" y="227"/>
                    </a:lnTo>
                    <a:lnTo>
                      <a:pt x="2621" y="233"/>
                    </a:lnTo>
                    <a:lnTo>
                      <a:pt x="2606" y="237"/>
                    </a:lnTo>
                    <a:lnTo>
                      <a:pt x="2590" y="241"/>
                    </a:lnTo>
                    <a:lnTo>
                      <a:pt x="2579" y="242"/>
                    </a:lnTo>
                    <a:lnTo>
                      <a:pt x="2566" y="242"/>
                    </a:lnTo>
                    <a:lnTo>
                      <a:pt x="2554" y="242"/>
                    </a:lnTo>
                    <a:lnTo>
                      <a:pt x="2542" y="242"/>
                    </a:lnTo>
                    <a:lnTo>
                      <a:pt x="2515" y="238"/>
                    </a:lnTo>
                    <a:lnTo>
                      <a:pt x="2488" y="233"/>
                    </a:lnTo>
                    <a:lnTo>
                      <a:pt x="2461" y="226"/>
                    </a:lnTo>
                    <a:lnTo>
                      <a:pt x="2435" y="218"/>
                    </a:lnTo>
                    <a:lnTo>
                      <a:pt x="2412" y="209"/>
                    </a:lnTo>
                    <a:lnTo>
                      <a:pt x="2391" y="199"/>
                    </a:lnTo>
                    <a:lnTo>
                      <a:pt x="2367" y="192"/>
                    </a:lnTo>
                    <a:lnTo>
                      <a:pt x="2346" y="186"/>
                    </a:lnTo>
                    <a:lnTo>
                      <a:pt x="2329" y="181"/>
                    </a:lnTo>
                    <a:lnTo>
                      <a:pt x="2312" y="180"/>
                    </a:lnTo>
                    <a:lnTo>
                      <a:pt x="2295" y="178"/>
                    </a:lnTo>
                    <a:lnTo>
                      <a:pt x="2278" y="181"/>
                    </a:lnTo>
                    <a:lnTo>
                      <a:pt x="2257" y="183"/>
                    </a:lnTo>
                    <a:lnTo>
                      <a:pt x="2231" y="189"/>
                    </a:lnTo>
                    <a:lnTo>
                      <a:pt x="2222" y="191"/>
                    </a:lnTo>
                    <a:lnTo>
                      <a:pt x="2214" y="191"/>
                    </a:lnTo>
                    <a:lnTo>
                      <a:pt x="2204" y="189"/>
                    </a:lnTo>
                    <a:lnTo>
                      <a:pt x="2195" y="188"/>
                    </a:lnTo>
                    <a:lnTo>
                      <a:pt x="2177" y="183"/>
                    </a:lnTo>
                    <a:lnTo>
                      <a:pt x="2158" y="176"/>
                    </a:lnTo>
                    <a:lnTo>
                      <a:pt x="2140" y="170"/>
                    </a:lnTo>
                    <a:lnTo>
                      <a:pt x="2123" y="164"/>
                    </a:lnTo>
                    <a:lnTo>
                      <a:pt x="2115" y="163"/>
                    </a:lnTo>
                    <a:lnTo>
                      <a:pt x="2107" y="161"/>
                    </a:lnTo>
                    <a:lnTo>
                      <a:pt x="2100" y="160"/>
                    </a:lnTo>
                    <a:lnTo>
                      <a:pt x="2093" y="161"/>
                    </a:lnTo>
                    <a:lnTo>
                      <a:pt x="2074" y="166"/>
                    </a:lnTo>
                    <a:lnTo>
                      <a:pt x="2061" y="167"/>
                    </a:lnTo>
                    <a:lnTo>
                      <a:pt x="2054" y="167"/>
                    </a:lnTo>
                    <a:lnTo>
                      <a:pt x="2046" y="165"/>
                    </a:lnTo>
                    <a:lnTo>
                      <a:pt x="2036" y="161"/>
                    </a:lnTo>
                    <a:lnTo>
                      <a:pt x="2024" y="156"/>
                    </a:lnTo>
                    <a:lnTo>
                      <a:pt x="1996" y="142"/>
                    </a:lnTo>
                    <a:lnTo>
                      <a:pt x="1968" y="126"/>
                    </a:lnTo>
                    <a:lnTo>
                      <a:pt x="1954" y="118"/>
                    </a:lnTo>
                    <a:lnTo>
                      <a:pt x="1940" y="111"/>
                    </a:lnTo>
                    <a:lnTo>
                      <a:pt x="1925" y="104"/>
                    </a:lnTo>
                    <a:lnTo>
                      <a:pt x="1910" y="98"/>
                    </a:lnTo>
                    <a:lnTo>
                      <a:pt x="1896" y="92"/>
                    </a:lnTo>
                    <a:lnTo>
                      <a:pt x="1877" y="82"/>
                    </a:lnTo>
                    <a:lnTo>
                      <a:pt x="1855" y="71"/>
                    </a:lnTo>
                    <a:lnTo>
                      <a:pt x="1833" y="58"/>
                    </a:lnTo>
                    <a:lnTo>
                      <a:pt x="1812" y="46"/>
                    </a:lnTo>
                    <a:lnTo>
                      <a:pt x="1793" y="36"/>
                    </a:lnTo>
                    <a:lnTo>
                      <a:pt x="1784" y="33"/>
                    </a:lnTo>
                    <a:lnTo>
                      <a:pt x="1776" y="29"/>
                    </a:lnTo>
                    <a:lnTo>
                      <a:pt x="1770" y="28"/>
                    </a:lnTo>
                    <a:lnTo>
                      <a:pt x="1765" y="27"/>
                    </a:lnTo>
                    <a:lnTo>
                      <a:pt x="1762" y="35"/>
                    </a:lnTo>
                    <a:lnTo>
                      <a:pt x="1760" y="41"/>
                    </a:lnTo>
                    <a:lnTo>
                      <a:pt x="1757" y="46"/>
                    </a:lnTo>
                    <a:lnTo>
                      <a:pt x="1754" y="50"/>
                    </a:lnTo>
                    <a:lnTo>
                      <a:pt x="1750" y="52"/>
                    </a:lnTo>
                    <a:lnTo>
                      <a:pt x="1746" y="54"/>
                    </a:lnTo>
                    <a:lnTo>
                      <a:pt x="1743" y="55"/>
                    </a:lnTo>
                    <a:lnTo>
                      <a:pt x="1739" y="54"/>
                    </a:lnTo>
                    <a:lnTo>
                      <a:pt x="1719" y="47"/>
                    </a:lnTo>
                    <a:lnTo>
                      <a:pt x="1695" y="38"/>
                    </a:lnTo>
                    <a:lnTo>
                      <a:pt x="1557" y="8"/>
                    </a:lnTo>
                    <a:lnTo>
                      <a:pt x="1443" y="13"/>
                    </a:lnTo>
                    <a:lnTo>
                      <a:pt x="1423" y="13"/>
                    </a:lnTo>
                    <a:lnTo>
                      <a:pt x="1407" y="11"/>
                    </a:lnTo>
                    <a:lnTo>
                      <a:pt x="1391" y="8"/>
                    </a:lnTo>
                    <a:lnTo>
                      <a:pt x="1375" y="6"/>
                    </a:lnTo>
                    <a:lnTo>
                      <a:pt x="1373" y="11"/>
                    </a:lnTo>
                    <a:lnTo>
                      <a:pt x="1369" y="14"/>
                    </a:lnTo>
                    <a:lnTo>
                      <a:pt x="1364" y="16"/>
                    </a:lnTo>
                    <a:lnTo>
                      <a:pt x="1357" y="17"/>
                    </a:lnTo>
                    <a:lnTo>
                      <a:pt x="1341" y="16"/>
                    </a:lnTo>
                    <a:lnTo>
                      <a:pt x="1323" y="13"/>
                    </a:lnTo>
                    <a:lnTo>
                      <a:pt x="1284" y="5"/>
                    </a:lnTo>
                    <a:lnTo>
                      <a:pt x="1253" y="0"/>
                    </a:lnTo>
                    <a:lnTo>
                      <a:pt x="1243" y="0"/>
                    </a:lnTo>
                    <a:lnTo>
                      <a:pt x="1233" y="1"/>
                    </a:lnTo>
                    <a:lnTo>
                      <a:pt x="1226" y="2"/>
                    </a:lnTo>
                    <a:lnTo>
                      <a:pt x="1218" y="5"/>
                    </a:lnTo>
                    <a:lnTo>
                      <a:pt x="1204" y="11"/>
                    </a:lnTo>
                    <a:lnTo>
                      <a:pt x="1192" y="17"/>
                    </a:lnTo>
                    <a:lnTo>
                      <a:pt x="1180" y="22"/>
                    </a:lnTo>
                    <a:lnTo>
                      <a:pt x="1167" y="25"/>
                    </a:lnTo>
                    <a:lnTo>
                      <a:pt x="1160" y="27"/>
                    </a:lnTo>
                    <a:lnTo>
                      <a:pt x="1153" y="27"/>
                    </a:lnTo>
                    <a:lnTo>
                      <a:pt x="1145" y="25"/>
                    </a:lnTo>
                    <a:lnTo>
                      <a:pt x="1136" y="24"/>
                    </a:lnTo>
                    <a:lnTo>
                      <a:pt x="1121" y="22"/>
                    </a:lnTo>
                    <a:lnTo>
                      <a:pt x="1105" y="19"/>
                    </a:lnTo>
                    <a:lnTo>
                      <a:pt x="1090" y="19"/>
                    </a:lnTo>
                    <a:lnTo>
                      <a:pt x="1076" y="21"/>
                    </a:lnTo>
                    <a:lnTo>
                      <a:pt x="1061" y="22"/>
                    </a:lnTo>
                    <a:lnTo>
                      <a:pt x="1047" y="25"/>
                    </a:lnTo>
                    <a:lnTo>
                      <a:pt x="1033" y="29"/>
                    </a:lnTo>
                    <a:lnTo>
                      <a:pt x="1019" y="34"/>
                    </a:lnTo>
                    <a:lnTo>
                      <a:pt x="992" y="44"/>
                    </a:lnTo>
                    <a:lnTo>
                      <a:pt x="965" y="56"/>
                    </a:lnTo>
                    <a:lnTo>
                      <a:pt x="940" y="68"/>
                    </a:lnTo>
                    <a:lnTo>
                      <a:pt x="914" y="81"/>
                    </a:lnTo>
                    <a:lnTo>
                      <a:pt x="893" y="98"/>
                    </a:lnTo>
                    <a:lnTo>
                      <a:pt x="875" y="112"/>
                    </a:lnTo>
                    <a:lnTo>
                      <a:pt x="866" y="120"/>
                    </a:lnTo>
                    <a:lnTo>
                      <a:pt x="858" y="129"/>
                    </a:lnTo>
                    <a:lnTo>
                      <a:pt x="850" y="139"/>
                    </a:lnTo>
                    <a:lnTo>
                      <a:pt x="843" y="153"/>
                    </a:lnTo>
                    <a:lnTo>
                      <a:pt x="836" y="164"/>
                    </a:lnTo>
                    <a:lnTo>
                      <a:pt x="827" y="174"/>
                    </a:lnTo>
                    <a:lnTo>
                      <a:pt x="818" y="181"/>
                    </a:lnTo>
                    <a:lnTo>
                      <a:pt x="809" y="186"/>
                    </a:lnTo>
                    <a:lnTo>
                      <a:pt x="788" y="196"/>
                    </a:lnTo>
                    <a:lnTo>
                      <a:pt x="766" y="205"/>
                    </a:lnTo>
                    <a:lnTo>
                      <a:pt x="759" y="209"/>
                    </a:lnTo>
                    <a:lnTo>
                      <a:pt x="751" y="215"/>
                    </a:lnTo>
                    <a:lnTo>
                      <a:pt x="746" y="221"/>
                    </a:lnTo>
                    <a:lnTo>
                      <a:pt x="741" y="229"/>
                    </a:lnTo>
                    <a:lnTo>
                      <a:pt x="736" y="236"/>
                    </a:lnTo>
                    <a:lnTo>
                      <a:pt x="733" y="244"/>
                    </a:lnTo>
                    <a:lnTo>
                      <a:pt x="730" y="254"/>
                    </a:lnTo>
                    <a:lnTo>
                      <a:pt x="728" y="263"/>
                    </a:lnTo>
                    <a:lnTo>
                      <a:pt x="724" y="282"/>
                    </a:lnTo>
                    <a:lnTo>
                      <a:pt x="722" y="302"/>
                    </a:lnTo>
                    <a:lnTo>
                      <a:pt x="722" y="320"/>
                    </a:lnTo>
                    <a:lnTo>
                      <a:pt x="722" y="337"/>
                    </a:lnTo>
                    <a:lnTo>
                      <a:pt x="722" y="350"/>
                    </a:lnTo>
                    <a:lnTo>
                      <a:pt x="724" y="361"/>
                    </a:lnTo>
                    <a:lnTo>
                      <a:pt x="727" y="372"/>
                    </a:lnTo>
                    <a:lnTo>
                      <a:pt x="730" y="384"/>
                    </a:lnTo>
                    <a:lnTo>
                      <a:pt x="739" y="406"/>
                    </a:lnTo>
                    <a:lnTo>
                      <a:pt x="750" y="427"/>
                    </a:lnTo>
                    <a:lnTo>
                      <a:pt x="761" y="449"/>
                    </a:lnTo>
                    <a:lnTo>
                      <a:pt x="772" y="471"/>
                    </a:lnTo>
                    <a:lnTo>
                      <a:pt x="782" y="493"/>
                    </a:lnTo>
                    <a:lnTo>
                      <a:pt x="790" y="515"/>
                    </a:lnTo>
                    <a:lnTo>
                      <a:pt x="796" y="548"/>
                    </a:lnTo>
                    <a:lnTo>
                      <a:pt x="800" y="579"/>
                    </a:lnTo>
                    <a:lnTo>
                      <a:pt x="803" y="605"/>
                    </a:lnTo>
                    <a:lnTo>
                      <a:pt x="804" y="631"/>
                    </a:lnTo>
                    <a:lnTo>
                      <a:pt x="801" y="653"/>
                    </a:lnTo>
                    <a:lnTo>
                      <a:pt x="798" y="674"/>
                    </a:lnTo>
                    <a:lnTo>
                      <a:pt x="795" y="684"/>
                    </a:lnTo>
                    <a:lnTo>
                      <a:pt x="793" y="692"/>
                    </a:lnTo>
                    <a:lnTo>
                      <a:pt x="789" y="702"/>
                    </a:lnTo>
                    <a:lnTo>
                      <a:pt x="784" y="709"/>
                    </a:lnTo>
                    <a:lnTo>
                      <a:pt x="779" y="718"/>
                    </a:lnTo>
                    <a:lnTo>
                      <a:pt x="774" y="727"/>
                    </a:lnTo>
                    <a:lnTo>
                      <a:pt x="767" y="734"/>
                    </a:lnTo>
                    <a:lnTo>
                      <a:pt x="761" y="741"/>
                    </a:lnTo>
                    <a:lnTo>
                      <a:pt x="745" y="756"/>
                    </a:lnTo>
                    <a:lnTo>
                      <a:pt x="727" y="769"/>
                    </a:lnTo>
                    <a:lnTo>
                      <a:pt x="705" y="783"/>
                    </a:lnTo>
                    <a:lnTo>
                      <a:pt x="681" y="796"/>
                    </a:lnTo>
                    <a:lnTo>
                      <a:pt x="653" y="811"/>
                    </a:lnTo>
                    <a:lnTo>
                      <a:pt x="623" y="826"/>
                    </a:lnTo>
                    <a:lnTo>
                      <a:pt x="607" y="833"/>
                    </a:lnTo>
                    <a:lnTo>
                      <a:pt x="596" y="840"/>
                    </a:lnTo>
                    <a:lnTo>
                      <a:pt x="587" y="846"/>
                    </a:lnTo>
                    <a:lnTo>
                      <a:pt x="581" y="854"/>
                    </a:lnTo>
                    <a:lnTo>
                      <a:pt x="570" y="870"/>
                    </a:lnTo>
                    <a:lnTo>
                      <a:pt x="554" y="892"/>
                    </a:lnTo>
                    <a:lnTo>
                      <a:pt x="549" y="897"/>
                    </a:lnTo>
                    <a:lnTo>
                      <a:pt x="542" y="900"/>
                    </a:lnTo>
                    <a:lnTo>
                      <a:pt x="532" y="904"/>
                    </a:lnTo>
                    <a:lnTo>
                      <a:pt x="521" y="909"/>
                    </a:lnTo>
                    <a:lnTo>
                      <a:pt x="499" y="916"/>
                    </a:lnTo>
                    <a:lnTo>
                      <a:pt x="482" y="924"/>
                    </a:lnTo>
                    <a:lnTo>
                      <a:pt x="448" y="942"/>
                    </a:lnTo>
                    <a:lnTo>
                      <a:pt x="415" y="959"/>
                    </a:lnTo>
                    <a:lnTo>
                      <a:pt x="382" y="976"/>
                    </a:lnTo>
                    <a:lnTo>
                      <a:pt x="348" y="992"/>
                    </a:lnTo>
                    <a:lnTo>
                      <a:pt x="315" y="1007"/>
                    </a:lnTo>
                    <a:lnTo>
                      <a:pt x="281" y="1020"/>
                    </a:lnTo>
                    <a:lnTo>
                      <a:pt x="244" y="1032"/>
                    </a:lnTo>
                    <a:lnTo>
                      <a:pt x="206" y="1043"/>
                    </a:lnTo>
                    <a:lnTo>
                      <a:pt x="195" y="1048"/>
                    </a:lnTo>
                    <a:lnTo>
                      <a:pt x="183" y="1052"/>
                    </a:lnTo>
                    <a:lnTo>
                      <a:pt x="171" y="1056"/>
                    </a:lnTo>
                    <a:lnTo>
                      <a:pt x="160" y="1059"/>
                    </a:lnTo>
                    <a:lnTo>
                      <a:pt x="136" y="1064"/>
                    </a:lnTo>
                    <a:lnTo>
                      <a:pt x="111" y="1069"/>
                    </a:lnTo>
                    <a:lnTo>
                      <a:pt x="88" y="1075"/>
                    </a:lnTo>
                    <a:lnTo>
                      <a:pt x="65" y="1081"/>
                    </a:lnTo>
                    <a:lnTo>
                      <a:pt x="53" y="1086"/>
                    </a:lnTo>
                    <a:lnTo>
                      <a:pt x="42" y="1092"/>
                    </a:lnTo>
                    <a:lnTo>
                      <a:pt x="31" y="1099"/>
                    </a:lnTo>
                    <a:lnTo>
                      <a:pt x="22" y="1106"/>
                    </a:lnTo>
                    <a:lnTo>
                      <a:pt x="16" y="1112"/>
                    </a:lnTo>
                    <a:lnTo>
                      <a:pt x="9" y="1118"/>
                    </a:lnTo>
                    <a:lnTo>
                      <a:pt x="6" y="1125"/>
                    </a:lnTo>
                    <a:lnTo>
                      <a:pt x="2" y="1132"/>
                    </a:lnTo>
                    <a:lnTo>
                      <a:pt x="1" y="1138"/>
                    </a:lnTo>
                    <a:lnTo>
                      <a:pt x="0" y="1145"/>
                    </a:lnTo>
                    <a:lnTo>
                      <a:pt x="0" y="1151"/>
                    </a:lnTo>
                    <a:lnTo>
                      <a:pt x="1" y="1159"/>
                    </a:lnTo>
                    <a:lnTo>
                      <a:pt x="2" y="1166"/>
                    </a:lnTo>
                    <a:lnTo>
                      <a:pt x="5" y="1172"/>
                    </a:lnTo>
                    <a:lnTo>
                      <a:pt x="8" y="1179"/>
                    </a:lnTo>
                    <a:lnTo>
                      <a:pt x="12" y="1187"/>
                    </a:lnTo>
                    <a:lnTo>
                      <a:pt x="22" y="1201"/>
                    </a:lnTo>
                    <a:lnTo>
                      <a:pt x="33" y="1215"/>
                    </a:lnTo>
                    <a:lnTo>
                      <a:pt x="57" y="1243"/>
                    </a:lnTo>
                    <a:lnTo>
                      <a:pt x="83" y="1271"/>
                    </a:lnTo>
                    <a:lnTo>
                      <a:pt x="94" y="1286"/>
                    </a:lnTo>
                    <a:lnTo>
                      <a:pt x="104" y="1298"/>
                    </a:lnTo>
                    <a:lnTo>
                      <a:pt x="111" y="1311"/>
                    </a:lnTo>
                    <a:lnTo>
                      <a:pt x="116" y="1324"/>
                    </a:lnTo>
                    <a:lnTo>
                      <a:pt x="126" y="1358"/>
                    </a:lnTo>
                    <a:lnTo>
                      <a:pt x="140" y="1400"/>
                    </a:lnTo>
                    <a:lnTo>
                      <a:pt x="149" y="1420"/>
                    </a:lnTo>
                    <a:lnTo>
                      <a:pt x="158" y="1440"/>
                    </a:lnTo>
                    <a:lnTo>
                      <a:pt x="167" y="1457"/>
                    </a:lnTo>
                    <a:lnTo>
                      <a:pt x="176" y="1471"/>
                    </a:lnTo>
                    <a:lnTo>
                      <a:pt x="187" y="1484"/>
                    </a:lnTo>
                    <a:lnTo>
                      <a:pt x="198" y="1495"/>
                    </a:lnTo>
                    <a:lnTo>
                      <a:pt x="202" y="1500"/>
                    </a:lnTo>
                    <a:lnTo>
                      <a:pt x="205" y="1506"/>
                    </a:lnTo>
                    <a:lnTo>
                      <a:pt x="209" y="1513"/>
                    </a:lnTo>
                    <a:lnTo>
                      <a:pt x="211" y="1524"/>
                    </a:lnTo>
                    <a:lnTo>
                      <a:pt x="214" y="1537"/>
                    </a:lnTo>
                    <a:lnTo>
                      <a:pt x="216" y="1549"/>
                    </a:lnTo>
                    <a:lnTo>
                      <a:pt x="221" y="1561"/>
                    </a:lnTo>
                    <a:lnTo>
                      <a:pt x="226" y="1575"/>
                    </a:lnTo>
                    <a:lnTo>
                      <a:pt x="233" y="1586"/>
                    </a:lnTo>
                    <a:lnTo>
                      <a:pt x="242" y="1597"/>
                    </a:lnTo>
                    <a:lnTo>
                      <a:pt x="246" y="1600"/>
                    </a:lnTo>
                    <a:lnTo>
                      <a:pt x="251" y="1604"/>
                    </a:lnTo>
                    <a:lnTo>
                      <a:pt x="257" y="1608"/>
                    </a:lnTo>
                    <a:lnTo>
                      <a:pt x="262" y="1610"/>
                    </a:lnTo>
                    <a:lnTo>
                      <a:pt x="280" y="1614"/>
                    </a:lnTo>
                    <a:lnTo>
                      <a:pt x="298" y="1617"/>
                    </a:lnTo>
                    <a:lnTo>
                      <a:pt x="318" y="1621"/>
                    </a:lnTo>
                    <a:lnTo>
                      <a:pt x="339" y="1623"/>
                    </a:lnTo>
                    <a:lnTo>
                      <a:pt x="382" y="1628"/>
                    </a:lnTo>
                    <a:lnTo>
                      <a:pt x="424" y="1633"/>
                    </a:lnTo>
                    <a:lnTo>
                      <a:pt x="446" y="1637"/>
                    </a:lnTo>
                    <a:lnTo>
                      <a:pt x="466" y="1642"/>
                    </a:lnTo>
                    <a:lnTo>
                      <a:pt x="486" y="1648"/>
                    </a:lnTo>
                    <a:lnTo>
                      <a:pt x="504" y="1655"/>
                    </a:lnTo>
                    <a:lnTo>
                      <a:pt x="512" y="1660"/>
                    </a:lnTo>
                    <a:lnTo>
                      <a:pt x="521" y="1665"/>
                    </a:lnTo>
                    <a:lnTo>
                      <a:pt x="528" y="1670"/>
                    </a:lnTo>
                    <a:lnTo>
                      <a:pt x="536" y="1676"/>
                    </a:lnTo>
                    <a:lnTo>
                      <a:pt x="543" y="1682"/>
                    </a:lnTo>
                    <a:lnTo>
                      <a:pt x="549" y="1690"/>
                    </a:lnTo>
                    <a:lnTo>
                      <a:pt x="555" y="1697"/>
                    </a:lnTo>
                    <a:lnTo>
                      <a:pt x="560" y="1705"/>
                    </a:lnTo>
                    <a:lnTo>
                      <a:pt x="565" y="1714"/>
                    </a:lnTo>
                    <a:lnTo>
                      <a:pt x="568" y="1723"/>
                    </a:lnTo>
                    <a:lnTo>
                      <a:pt x="571" y="1731"/>
                    </a:lnTo>
                    <a:lnTo>
                      <a:pt x="572" y="1741"/>
                    </a:lnTo>
                    <a:lnTo>
                      <a:pt x="575" y="1759"/>
                    </a:lnTo>
                    <a:lnTo>
                      <a:pt x="576" y="1778"/>
                    </a:lnTo>
                    <a:lnTo>
                      <a:pt x="577" y="1796"/>
                    </a:lnTo>
                    <a:lnTo>
                      <a:pt x="579" y="1814"/>
                    </a:lnTo>
                    <a:lnTo>
                      <a:pt x="581" y="1823"/>
                    </a:lnTo>
                    <a:lnTo>
                      <a:pt x="583" y="1831"/>
                    </a:lnTo>
                    <a:lnTo>
                      <a:pt x="586" y="1840"/>
                    </a:lnTo>
                    <a:lnTo>
                      <a:pt x="591" y="1849"/>
                    </a:lnTo>
                    <a:lnTo>
                      <a:pt x="615" y="1888"/>
                    </a:lnTo>
                    <a:lnTo>
                      <a:pt x="642" y="1929"/>
                    </a:lnTo>
                    <a:lnTo>
                      <a:pt x="656" y="1950"/>
                    </a:lnTo>
                    <a:lnTo>
                      <a:pt x="665" y="1972"/>
                    </a:lnTo>
                    <a:lnTo>
                      <a:pt x="670" y="1983"/>
                    </a:lnTo>
                    <a:lnTo>
                      <a:pt x="673" y="1994"/>
                    </a:lnTo>
                    <a:lnTo>
                      <a:pt x="677" y="2005"/>
                    </a:lnTo>
                    <a:lnTo>
                      <a:pt x="678" y="2016"/>
                    </a:lnTo>
                    <a:lnTo>
                      <a:pt x="680" y="2027"/>
                    </a:lnTo>
                    <a:lnTo>
                      <a:pt x="683" y="2038"/>
                    </a:lnTo>
                    <a:lnTo>
                      <a:pt x="685" y="2049"/>
                    </a:lnTo>
                    <a:lnTo>
                      <a:pt x="685" y="2059"/>
                    </a:lnTo>
                    <a:lnTo>
                      <a:pt x="686" y="2079"/>
                    </a:lnTo>
                    <a:lnTo>
                      <a:pt x="688" y="2097"/>
                    </a:lnTo>
                    <a:lnTo>
                      <a:pt x="689" y="2107"/>
                    </a:lnTo>
                    <a:lnTo>
                      <a:pt x="690" y="2115"/>
                    </a:lnTo>
                    <a:lnTo>
                      <a:pt x="692" y="2124"/>
                    </a:lnTo>
                    <a:lnTo>
                      <a:pt x="696" y="2133"/>
                    </a:lnTo>
                    <a:lnTo>
                      <a:pt x="700" y="2141"/>
                    </a:lnTo>
                    <a:lnTo>
                      <a:pt x="706" y="2150"/>
                    </a:lnTo>
                    <a:lnTo>
                      <a:pt x="713" y="2158"/>
                    </a:lnTo>
                    <a:lnTo>
                      <a:pt x="722" y="2166"/>
                    </a:lnTo>
                    <a:lnTo>
                      <a:pt x="734" y="2173"/>
                    </a:lnTo>
                    <a:lnTo>
                      <a:pt x="750" y="2179"/>
                    </a:lnTo>
                    <a:lnTo>
                      <a:pt x="759" y="2183"/>
                    </a:lnTo>
                    <a:lnTo>
                      <a:pt x="765" y="2186"/>
                    </a:lnTo>
                    <a:lnTo>
                      <a:pt x="771" y="2189"/>
                    </a:lnTo>
                    <a:lnTo>
                      <a:pt x="774" y="2194"/>
                    </a:lnTo>
                    <a:lnTo>
                      <a:pt x="777" y="2197"/>
                    </a:lnTo>
                    <a:lnTo>
                      <a:pt x="777" y="2201"/>
                    </a:lnTo>
                    <a:lnTo>
                      <a:pt x="777" y="2206"/>
                    </a:lnTo>
                    <a:lnTo>
                      <a:pt x="777" y="2211"/>
                    </a:lnTo>
                    <a:lnTo>
                      <a:pt x="777" y="2216"/>
                    </a:lnTo>
                    <a:lnTo>
                      <a:pt x="777" y="2221"/>
                    </a:lnTo>
                    <a:lnTo>
                      <a:pt x="778" y="2226"/>
                    </a:lnTo>
                    <a:lnTo>
                      <a:pt x="779" y="2230"/>
                    </a:lnTo>
                    <a:lnTo>
                      <a:pt x="790" y="2250"/>
                    </a:lnTo>
                    <a:lnTo>
                      <a:pt x="801" y="2270"/>
                    </a:lnTo>
                    <a:lnTo>
                      <a:pt x="811" y="2289"/>
                    </a:lnTo>
                    <a:lnTo>
                      <a:pt x="820" y="2309"/>
                    </a:lnTo>
                    <a:lnTo>
                      <a:pt x="822" y="2318"/>
                    </a:lnTo>
                    <a:lnTo>
                      <a:pt x="823" y="2328"/>
                    </a:lnTo>
                    <a:lnTo>
                      <a:pt x="823" y="2337"/>
                    </a:lnTo>
                    <a:lnTo>
                      <a:pt x="821" y="2347"/>
                    </a:lnTo>
                    <a:lnTo>
                      <a:pt x="818" y="2356"/>
                    </a:lnTo>
                    <a:lnTo>
                      <a:pt x="814" y="2366"/>
                    </a:lnTo>
                    <a:lnTo>
                      <a:pt x="806" y="2376"/>
                    </a:lnTo>
                    <a:lnTo>
                      <a:pt x="796" y="2386"/>
                    </a:lnTo>
                    <a:lnTo>
                      <a:pt x="776" y="2404"/>
                    </a:lnTo>
                    <a:lnTo>
                      <a:pt x="755" y="2420"/>
                    </a:lnTo>
                    <a:lnTo>
                      <a:pt x="733" y="2437"/>
                    </a:lnTo>
                    <a:lnTo>
                      <a:pt x="712" y="2457"/>
                    </a:lnTo>
                    <a:lnTo>
                      <a:pt x="701" y="2469"/>
                    </a:lnTo>
                    <a:lnTo>
                      <a:pt x="691" y="2482"/>
                    </a:lnTo>
                    <a:lnTo>
                      <a:pt x="683" y="2496"/>
                    </a:lnTo>
                    <a:lnTo>
                      <a:pt x="674" y="2511"/>
                    </a:lnTo>
                    <a:lnTo>
                      <a:pt x="665" y="2525"/>
                    </a:lnTo>
                    <a:lnTo>
                      <a:pt x="656" y="2539"/>
                    </a:lnTo>
                    <a:lnTo>
                      <a:pt x="647" y="2552"/>
                    </a:lnTo>
                    <a:lnTo>
                      <a:pt x="636" y="2566"/>
                    </a:lnTo>
                    <a:lnTo>
                      <a:pt x="634" y="2569"/>
                    </a:lnTo>
                    <a:lnTo>
                      <a:pt x="630" y="2573"/>
                    </a:lnTo>
                    <a:lnTo>
                      <a:pt x="626" y="2575"/>
                    </a:lnTo>
                    <a:lnTo>
                      <a:pt x="623" y="2578"/>
                    </a:lnTo>
                    <a:lnTo>
                      <a:pt x="613" y="2582"/>
                    </a:lnTo>
                    <a:lnTo>
                      <a:pt x="604" y="2584"/>
                    </a:lnTo>
                    <a:lnTo>
                      <a:pt x="601" y="2586"/>
                    </a:lnTo>
                    <a:lnTo>
                      <a:pt x="598" y="2588"/>
                    </a:lnTo>
                    <a:lnTo>
                      <a:pt x="596" y="2590"/>
                    </a:lnTo>
                    <a:lnTo>
                      <a:pt x="596" y="2591"/>
                    </a:lnTo>
                    <a:lnTo>
                      <a:pt x="596" y="2595"/>
                    </a:lnTo>
                    <a:lnTo>
                      <a:pt x="598" y="2599"/>
                    </a:lnTo>
                    <a:lnTo>
                      <a:pt x="602" y="2602"/>
                    </a:lnTo>
                    <a:lnTo>
                      <a:pt x="608" y="2608"/>
                    </a:lnTo>
                    <a:lnTo>
                      <a:pt x="621" y="2620"/>
                    </a:lnTo>
                    <a:lnTo>
                      <a:pt x="632" y="2631"/>
                    </a:lnTo>
                    <a:lnTo>
                      <a:pt x="642" y="2643"/>
                    </a:lnTo>
                    <a:lnTo>
                      <a:pt x="650" y="2654"/>
                    </a:lnTo>
                    <a:lnTo>
                      <a:pt x="656" y="2666"/>
                    </a:lnTo>
                    <a:lnTo>
                      <a:pt x="661" y="2681"/>
                    </a:lnTo>
                    <a:lnTo>
                      <a:pt x="663" y="2697"/>
                    </a:lnTo>
                    <a:lnTo>
                      <a:pt x="664" y="2715"/>
                    </a:lnTo>
                    <a:lnTo>
                      <a:pt x="663" y="2727"/>
                    </a:lnTo>
                    <a:lnTo>
                      <a:pt x="662" y="2738"/>
                    </a:lnTo>
                    <a:lnTo>
                      <a:pt x="658" y="2749"/>
                    </a:lnTo>
                    <a:lnTo>
                      <a:pt x="654" y="2760"/>
                    </a:lnTo>
                    <a:lnTo>
                      <a:pt x="648" y="2769"/>
                    </a:lnTo>
                    <a:lnTo>
                      <a:pt x="642" y="2779"/>
                    </a:lnTo>
                    <a:lnTo>
                      <a:pt x="634" y="2786"/>
                    </a:lnTo>
                    <a:lnTo>
                      <a:pt x="624" y="2792"/>
                    </a:lnTo>
                    <a:lnTo>
                      <a:pt x="617" y="2797"/>
                    </a:lnTo>
                    <a:lnTo>
                      <a:pt x="609" y="2803"/>
                    </a:lnTo>
                    <a:lnTo>
                      <a:pt x="603" y="2808"/>
                    </a:lnTo>
                    <a:lnTo>
                      <a:pt x="599" y="2815"/>
                    </a:lnTo>
                    <a:lnTo>
                      <a:pt x="597" y="2821"/>
                    </a:lnTo>
                    <a:lnTo>
                      <a:pt x="597" y="2829"/>
                    </a:lnTo>
                    <a:lnTo>
                      <a:pt x="599" y="2837"/>
                    </a:lnTo>
                    <a:lnTo>
                      <a:pt x="606" y="2847"/>
                    </a:lnTo>
                    <a:lnTo>
                      <a:pt x="609" y="2853"/>
                    </a:lnTo>
                    <a:lnTo>
                      <a:pt x="612" y="2859"/>
                    </a:lnTo>
                    <a:lnTo>
                      <a:pt x="613" y="2865"/>
                    </a:lnTo>
                    <a:lnTo>
                      <a:pt x="614" y="2873"/>
                    </a:lnTo>
                    <a:lnTo>
                      <a:pt x="614" y="2885"/>
                    </a:lnTo>
                    <a:lnTo>
                      <a:pt x="612" y="2897"/>
                    </a:lnTo>
                    <a:lnTo>
                      <a:pt x="608" y="2909"/>
                    </a:lnTo>
                    <a:lnTo>
                      <a:pt x="607" y="2923"/>
                    </a:lnTo>
                    <a:lnTo>
                      <a:pt x="607" y="2929"/>
                    </a:lnTo>
                    <a:lnTo>
                      <a:pt x="607" y="2936"/>
                    </a:lnTo>
                    <a:lnTo>
                      <a:pt x="608" y="2943"/>
                    </a:lnTo>
                    <a:lnTo>
                      <a:pt x="610" y="2950"/>
                    </a:lnTo>
                    <a:lnTo>
                      <a:pt x="617" y="2967"/>
                    </a:lnTo>
                    <a:lnTo>
                      <a:pt x="621" y="2983"/>
                    </a:lnTo>
                    <a:lnTo>
                      <a:pt x="623" y="2990"/>
                    </a:lnTo>
                    <a:lnTo>
                      <a:pt x="624" y="2998"/>
                    </a:lnTo>
                    <a:lnTo>
                      <a:pt x="624" y="3005"/>
                    </a:lnTo>
                    <a:lnTo>
                      <a:pt x="623" y="3012"/>
                    </a:lnTo>
                    <a:lnTo>
                      <a:pt x="621" y="3018"/>
                    </a:lnTo>
                    <a:lnTo>
                      <a:pt x="619" y="3026"/>
                    </a:lnTo>
                    <a:lnTo>
                      <a:pt x="615" y="3032"/>
                    </a:lnTo>
                    <a:lnTo>
                      <a:pt x="612" y="3038"/>
                    </a:lnTo>
                    <a:lnTo>
                      <a:pt x="606" y="3045"/>
                    </a:lnTo>
                    <a:lnTo>
                      <a:pt x="599" y="3051"/>
                    </a:lnTo>
                    <a:lnTo>
                      <a:pt x="592" y="3058"/>
                    </a:lnTo>
                    <a:lnTo>
                      <a:pt x="582" y="3064"/>
                    </a:lnTo>
                    <a:lnTo>
                      <a:pt x="566" y="3076"/>
                    </a:lnTo>
                    <a:lnTo>
                      <a:pt x="548" y="3088"/>
                    </a:lnTo>
                    <a:lnTo>
                      <a:pt x="511" y="3136"/>
                    </a:lnTo>
                    <a:lnTo>
                      <a:pt x="510" y="3138"/>
                    </a:lnTo>
                    <a:lnTo>
                      <a:pt x="510" y="3140"/>
                    </a:lnTo>
                    <a:lnTo>
                      <a:pt x="510" y="3142"/>
                    </a:lnTo>
                    <a:lnTo>
                      <a:pt x="511" y="3143"/>
                    </a:lnTo>
                    <a:lnTo>
                      <a:pt x="516" y="3147"/>
                    </a:lnTo>
                    <a:lnTo>
                      <a:pt x="522" y="3149"/>
                    </a:lnTo>
                    <a:lnTo>
                      <a:pt x="527" y="3152"/>
                    </a:lnTo>
                    <a:lnTo>
                      <a:pt x="532" y="3155"/>
                    </a:lnTo>
                    <a:lnTo>
                      <a:pt x="533" y="3157"/>
                    </a:lnTo>
                    <a:lnTo>
                      <a:pt x="533" y="3158"/>
                    </a:lnTo>
                    <a:lnTo>
                      <a:pt x="532" y="3160"/>
                    </a:lnTo>
                    <a:lnTo>
                      <a:pt x="531" y="3163"/>
                    </a:lnTo>
                    <a:lnTo>
                      <a:pt x="525" y="3168"/>
                    </a:lnTo>
                    <a:lnTo>
                      <a:pt x="520" y="3173"/>
                    </a:lnTo>
                    <a:lnTo>
                      <a:pt x="516" y="3177"/>
                    </a:lnTo>
                    <a:lnTo>
                      <a:pt x="514" y="3181"/>
                    </a:lnTo>
                    <a:lnTo>
                      <a:pt x="514" y="3185"/>
                    </a:lnTo>
                    <a:lnTo>
                      <a:pt x="512" y="3187"/>
                    </a:lnTo>
                    <a:lnTo>
                      <a:pt x="514" y="3191"/>
                    </a:lnTo>
                    <a:lnTo>
                      <a:pt x="515" y="3193"/>
                    </a:lnTo>
                    <a:lnTo>
                      <a:pt x="517" y="3198"/>
                    </a:lnTo>
                    <a:lnTo>
                      <a:pt x="521" y="3203"/>
                    </a:lnTo>
                    <a:lnTo>
                      <a:pt x="522" y="3207"/>
                    </a:lnTo>
                    <a:lnTo>
                      <a:pt x="524" y="3209"/>
                    </a:lnTo>
                    <a:lnTo>
                      <a:pt x="524" y="3213"/>
                    </a:lnTo>
                    <a:lnTo>
                      <a:pt x="522" y="3217"/>
                    </a:lnTo>
                    <a:lnTo>
                      <a:pt x="521" y="3228"/>
                    </a:lnTo>
                    <a:lnTo>
                      <a:pt x="520" y="3237"/>
                    </a:lnTo>
                    <a:lnTo>
                      <a:pt x="521" y="3242"/>
                    </a:lnTo>
                    <a:lnTo>
                      <a:pt x="521" y="3247"/>
                    </a:lnTo>
                    <a:lnTo>
                      <a:pt x="524" y="3251"/>
                    </a:lnTo>
                    <a:lnTo>
                      <a:pt x="526" y="3256"/>
                    </a:lnTo>
                    <a:lnTo>
                      <a:pt x="527" y="3257"/>
                    </a:lnTo>
                    <a:lnTo>
                      <a:pt x="528" y="3257"/>
                    </a:lnTo>
                    <a:lnTo>
                      <a:pt x="530" y="3257"/>
                    </a:lnTo>
                    <a:lnTo>
                      <a:pt x="531" y="3255"/>
                    </a:lnTo>
                    <a:lnTo>
                      <a:pt x="532" y="3250"/>
                    </a:lnTo>
                    <a:lnTo>
                      <a:pt x="535" y="3244"/>
                    </a:lnTo>
                    <a:lnTo>
                      <a:pt x="536" y="3236"/>
                    </a:lnTo>
                    <a:lnTo>
                      <a:pt x="538" y="3229"/>
                    </a:lnTo>
                    <a:lnTo>
                      <a:pt x="541" y="3224"/>
                    </a:lnTo>
                    <a:lnTo>
                      <a:pt x="543" y="3220"/>
                    </a:lnTo>
                    <a:lnTo>
                      <a:pt x="547" y="3226"/>
                    </a:lnTo>
                    <a:lnTo>
                      <a:pt x="553" y="3234"/>
                    </a:lnTo>
                    <a:lnTo>
                      <a:pt x="561" y="3240"/>
                    </a:lnTo>
                    <a:lnTo>
                      <a:pt x="570" y="3247"/>
                    </a:lnTo>
                    <a:lnTo>
                      <a:pt x="590" y="3261"/>
                    </a:lnTo>
                    <a:lnTo>
                      <a:pt x="606" y="3273"/>
                    </a:lnTo>
                    <a:lnTo>
                      <a:pt x="609" y="3278"/>
                    </a:lnTo>
                    <a:lnTo>
                      <a:pt x="610" y="3284"/>
                    </a:lnTo>
                    <a:lnTo>
                      <a:pt x="610" y="3291"/>
                    </a:lnTo>
                    <a:lnTo>
                      <a:pt x="609" y="3299"/>
                    </a:lnTo>
                    <a:lnTo>
                      <a:pt x="607" y="3305"/>
                    </a:lnTo>
                    <a:lnTo>
                      <a:pt x="602" y="3311"/>
                    </a:lnTo>
                    <a:lnTo>
                      <a:pt x="598" y="3316"/>
                    </a:lnTo>
                    <a:lnTo>
                      <a:pt x="592" y="3318"/>
                    </a:lnTo>
                    <a:lnTo>
                      <a:pt x="582" y="3321"/>
                    </a:lnTo>
                    <a:lnTo>
                      <a:pt x="574" y="3322"/>
                    </a:lnTo>
                    <a:lnTo>
                      <a:pt x="565" y="3322"/>
                    </a:lnTo>
                    <a:lnTo>
                      <a:pt x="559" y="3322"/>
                    </a:lnTo>
                    <a:lnTo>
                      <a:pt x="549" y="3318"/>
                    </a:lnTo>
                    <a:lnTo>
                      <a:pt x="541" y="3316"/>
                    </a:lnTo>
                    <a:lnTo>
                      <a:pt x="537" y="3315"/>
                    </a:lnTo>
                    <a:lnTo>
                      <a:pt x="535" y="3315"/>
                    </a:lnTo>
                    <a:lnTo>
                      <a:pt x="531" y="3316"/>
                    </a:lnTo>
                    <a:lnTo>
                      <a:pt x="527" y="3319"/>
                    </a:lnTo>
                    <a:lnTo>
                      <a:pt x="524" y="3323"/>
                    </a:lnTo>
                    <a:lnTo>
                      <a:pt x="520" y="3330"/>
                    </a:lnTo>
                    <a:lnTo>
                      <a:pt x="515" y="3339"/>
                    </a:lnTo>
                    <a:lnTo>
                      <a:pt x="509" y="3351"/>
                    </a:lnTo>
                    <a:lnTo>
                      <a:pt x="501" y="3365"/>
                    </a:lnTo>
                    <a:lnTo>
                      <a:pt x="497" y="3376"/>
                    </a:lnTo>
                    <a:lnTo>
                      <a:pt x="494" y="3382"/>
                    </a:lnTo>
                    <a:lnTo>
                      <a:pt x="494" y="3388"/>
                    </a:lnTo>
                    <a:lnTo>
                      <a:pt x="495" y="3395"/>
                    </a:lnTo>
                    <a:lnTo>
                      <a:pt x="498" y="3404"/>
                    </a:lnTo>
                    <a:lnTo>
                      <a:pt x="503" y="3416"/>
                    </a:lnTo>
                    <a:lnTo>
                      <a:pt x="505" y="3428"/>
                    </a:lnTo>
                    <a:lnTo>
                      <a:pt x="506" y="3438"/>
                    </a:lnTo>
                    <a:lnTo>
                      <a:pt x="506" y="3448"/>
                    </a:lnTo>
                    <a:lnTo>
                      <a:pt x="504" y="3456"/>
                    </a:lnTo>
                    <a:lnTo>
                      <a:pt x="500" y="3465"/>
                    </a:lnTo>
                    <a:lnTo>
                      <a:pt x="497" y="3474"/>
                    </a:lnTo>
                    <a:lnTo>
                      <a:pt x="492" y="3481"/>
                    </a:lnTo>
                    <a:lnTo>
                      <a:pt x="479" y="3496"/>
                    </a:lnTo>
                    <a:lnTo>
                      <a:pt x="467" y="3510"/>
                    </a:lnTo>
                    <a:lnTo>
                      <a:pt x="461" y="3519"/>
                    </a:lnTo>
                    <a:lnTo>
                      <a:pt x="456" y="3527"/>
                    </a:lnTo>
                    <a:lnTo>
                      <a:pt x="451" y="3536"/>
                    </a:lnTo>
                    <a:lnTo>
                      <a:pt x="448" y="3546"/>
                    </a:lnTo>
                    <a:lnTo>
                      <a:pt x="453" y="3546"/>
                    </a:lnTo>
                    <a:lnTo>
                      <a:pt x="470" y="3541"/>
                    </a:lnTo>
                    <a:lnTo>
                      <a:pt x="478" y="3540"/>
                    </a:lnTo>
                    <a:lnTo>
                      <a:pt x="488" y="3540"/>
                    </a:lnTo>
                    <a:lnTo>
                      <a:pt x="492" y="3541"/>
                    </a:lnTo>
                    <a:lnTo>
                      <a:pt x="495" y="3542"/>
                    </a:lnTo>
                    <a:lnTo>
                      <a:pt x="499" y="3543"/>
                    </a:lnTo>
                    <a:lnTo>
                      <a:pt x="501" y="3547"/>
                    </a:lnTo>
                    <a:lnTo>
                      <a:pt x="505" y="3549"/>
                    </a:lnTo>
                    <a:lnTo>
                      <a:pt x="509" y="3553"/>
                    </a:lnTo>
                    <a:lnTo>
                      <a:pt x="515" y="3557"/>
                    </a:lnTo>
                    <a:lnTo>
                      <a:pt x="522" y="3560"/>
                    </a:lnTo>
                    <a:lnTo>
                      <a:pt x="539" y="3568"/>
                    </a:lnTo>
                    <a:lnTo>
                      <a:pt x="560" y="3575"/>
                    </a:lnTo>
                    <a:lnTo>
                      <a:pt x="598" y="3589"/>
                    </a:lnTo>
                    <a:lnTo>
                      <a:pt x="626" y="3600"/>
                    </a:lnTo>
                    <a:lnTo>
                      <a:pt x="640" y="3605"/>
                    </a:lnTo>
                    <a:lnTo>
                      <a:pt x="653" y="3608"/>
                    </a:lnTo>
                    <a:lnTo>
                      <a:pt x="664" y="3614"/>
                    </a:lnTo>
                    <a:lnTo>
                      <a:pt x="673" y="3620"/>
                    </a:lnTo>
                    <a:lnTo>
                      <a:pt x="678" y="3623"/>
                    </a:lnTo>
                    <a:lnTo>
                      <a:pt x="680" y="3628"/>
                    </a:lnTo>
                    <a:lnTo>
                      <a:pt x="684" y="3631"/>
                    </a:lnTo>
                    <a:lnTo>
                      <a:pt x="686" y="3638"/>
                    </a:lnTo>
                    <a:lnTo>
                      <a:pt x="688" y="3642"/>
                    </a:lnTo>
                    <a:lnTo>
                      <a:pt x="689" y="3650"/>
                    </a:lnTo>
                    <a:lnTo>
                      <a:pt x="690" y="3656"/>
                    </a:lnTo>
                    <a:lnTo>
                      <a:pt x="690" y="3664"/>
                    </a:lnTo>
                    <a:lnTo>
                      <a:pt x="689" y="3678"/>
                    </a:lnTo>
                    <a:lnTo>
                      <a:pt x="688" y="3690"/>
                    </a:lnTo>
                    <a:lnTo>
                      <a:pt x="685" y="3701"/>
                    </a:lnTo>
                    <a:lnTo>
                      <a:pt x="683" y="3710"/>
                    </a:lnTo>
                    <a:lnTo>
                      <a:pt x="679" y="3718"/>
                    </a:lnTo>
                    <a:lnTo>
                      <a:pt x="675" y="3724"/>
                    </a:lnTo>
                    <a:lnTo>
                      <a:pt x="670" y="3731"/>
                    </a:lnTo>
                    <a:lnTo>
                      <a:pt x="664" y="3735"/>
                    </a:lnTo>
                    <a:lnTo>
                      <a:pt x="658" y="3740"/>
                    </a:lnTo>
                    <a:lnTo>
                      <a:pt x="652" y="3744"/>
                    </a:lnTo>
                    <a:lnTo>
                      <a:pt x="643" y="3748"/>
                    </a:lnTo>
                    <a:lnTo>
                      <a:pt x="635" y="3751"/>
                    </a:lnTo>
                    <a:lnTo>
                      <a:pt x="617" y="3759"/>
                    </a:lnTo>
                    <a:lnTo>
                      <a:pt x="595" y="3767"/>
                    </a:lnTo>
                    <a:lnTo>
                      <a:pt x="559" y="3779"/>
                    </a:lnTo>
                    <a:lnTo>
                      <a:pt x="525" y="3790"/>
                    </a:lnTo>
                    <a:lnTo>
                      <a:pt x="509" y="3795"/>
                    </a:lnTo>
                    <a:lnTo>
                      <a:pt x="493" y="3802"/>
                    </a:lnTo>
                    <a:lnTo>
                      <a:pt x="477" y="3808"/>
                    </a:lnTo>
                    <a:lnTo>
                      <a:pt x="464" y="3815"/>
                    </a:lnTo>
                    <a:lnTo>
                      <a:pt x="450" y="3822"/>
                    </a:lnTo>
                    <a:lnTo>
                      <a:pt x="438" y="3832"/>
                    </a:lnTo>
                    <a:lnTo>
                      <a:pt x="426" y="3843"/>
                    </a:lnTo>
                    <a:lnTo>
                      <a:pt x="416" y="3855"/>
                    </a:lnTo>
                    <a:lnTo>
                      <a:pt x="407" y="3870"/>
                    </a:lnTo>
                    <a:lnTo>
                      <a:pt x="400" y="3887"/>
                    </a:lnTo>
                    <a:lnTo>
                      <a:pt x="393" y="3907"/>
                    </a:lnTo>
                    <a:lnTo>
                      <a:pt x="389" y="3929"/>
                    </a:lnTo>
                    <a:lnTo>
                      <a:pt x="388" y="3937"/>
                    </a:lnTo>
                    <a:lnTo>
                      <a:pt x="388" y="3945"/>
                    </a:lnTo>
                    <a:lnTo>
                      <a:pt x="388" y="3952"/>
                    </a:lnTo>
                    <a:lnTo>
                      <a:pt x="389" y="3958"/>
                    </a:lnTo>
                    <a:lnTo>
                      <a:pt x="393" y="3969"/>
                    </a:lnTo>
                    <a:lnTo>
                      <a:pt x="397" y="3979"/>
                    </a:lnTo>
                    <a:lnTo>
                      <a:pt x="404" y="3989"/>
                    </a:lnTo>
                    <a:lnTo>
                      <a:pt x="408" y="3999"/>
                    </a:lnTo>
                    <a:lnTo>
                      <a:pt x="410" y="4005"/>
                    </a:lnTo>
                    <a:lnTo>
                      <a:pt x="411" y="4011"/>
                    </a:lnTo>
                    <a:lnTo>
                      <a:pt x="412" y="4018"/>
                    </a:lnTo>
                    <a:lnTo>
                      <a:pt x="413" y="4027"/>
                    </a:lnTo>
                    <a:lnTo>
                      <a:pt x="412" y="4052"/>
                    </a:lnTo>
                    <a:lnTo>
                      <a:pt x="411" y="4071"/>
                    </a:lnTo>
                    <a:lnTo>
                      <a:pt x="411" y="4079"/>
                    </a:lnTo>
                    <a:lnTo>
                      <a:pt x="412" y="4089"/>
                    </a:lnTo>
                    <a:lnTo>
                      <a:pt x="415" y="4101"/>
                    </a:lnTo>
                    <a:lnTo>
                      <a:pt x="417" y="4115"/>
                    </a:lnTo>
                    <a:lnTo>
                      <a:pt x="417" y="4088"/>
                    </a:lnTo>
                    <a:lnTo>
                      <a:pt x="416" y="4055"/>
                    </a:lnTo>
                    <a:lnTo>
                      <a:pt x="417" y="4039"/>
                    </a:lnTo>
                    <a:lnTo>
                      <a:pt x="418" y="4023"/>
                    </a:lnTo>
                    <a:lnTo>
                      <a:pt x="421" y="4016"/>
                    </a:lnTo>
                    <a:lnTo>
                      <a:pt x="423" y="4010"/>
                    </a:lnTo>
                    <a:lnTo>
                      <a:pt x="426" y="4003"/>
                    </a:lnTo>
                    <a:lnTo>
                      <a:pt x="429" y="3999"/>
                    </a:lnTo>
                    <a:lnTo>
                      <a:pt x="434" y="3997"/>
                    </a:lnTo>
                    <a:lnTo>
                      <a:pt x="443" y="3997"/>
                    </a:lnTo>
                    <a:lnTo>
                      <a:pt x="451" y="4000"/>
                    </a:lnTo>
                    <a:lnTo>
                      <a:pt x="457" y="4001"/>
                    </a:lnTo>
                    <a:lnTo>
                      <a:pt x="454" y="4007"/>
                    </a:lnTo>
                    <a:lnTo>
                      <a:pt x="446" y="4021"/>
                    </a:lnTo>
                    <a:lnTo>
                      <a:pt x="444" y="4028"/>
                    </a:lnTo>
                    <a:lnTo>
                      <a:pt x="443" y="4036"/>
                    </a:lnTo>
                    <a:lnTo>
                      <a:pt x="443" y="4041"/>
                    </a:lnTo>
                    <a:lnTo>
                      <a:pt x="444" y="4045"/>
                    </a:lnTo>
                    <a:lnTo>
                      <a:pt x="446" y="4049"/>
                    </a:lnTo>
                    <a:lnTo>
                      <a:pt x="449" y="4052"/>
                    </a:lnTo>
                    <a:lnTo>
                      <a:pt x="456" y="4063"/>
                    </a:lnTo>
                    <a:lnTo>
                      <a:pt x="466" y="4079"/>
                    </a:lnTo>
                    <a:lnTo>
                      <a:pt x="473" y="4096"/>
                    </a:lnTo>
                    <a:lnTo>
                      <a:pt x="477" y="4107"/>
                    </a:lnTo>
                    <a:lnTo>
                      <a:pt x="479" y="4117"/>
                    </a:lnTo>
                    <a:lnTo>
                      <a:pt x="482" y="4126"/>
                    </a:lnTo>
                    <a:lnTo>
                      <a:pt x="487" y="4133"/>
                    </a:lnTo>
                    <a:lnTo>
                      <a:pt x="492" y="4139"/>
                    </a:lnTo>
                    <a:lnTo>
                      <a:pt x="503" y="4151"/>
                    </a:lnTo>
                    <a:lnTo>
                      <a:pt x="516" y="4161"/>
                    </a:lnTo>
                    <a:lnTo>
                      <a:pt x="528" y="4171"/>
                    </a:lnTo>
                    <a:lnTo>
                      <a:pt x="539" y="4183"/>
                    </a:lnTo>
                    <a:lnTo>
                      <a:pt x="544" y="4191"/>
                    </a:lnTo>
                    <a:lnTo>
                      <a:pt x="549" y="4198"/>
                    </a:lnTo>
                    <a:lnTo>
                      <a:pt x="552" y="4207"/>
                    </a:lnTo>
                    <a:lnTo>
                      <a:pt x="554" y="4216"/>
                    </a:lnTo>
                    <a:lnTo>
                      <a:pt x="554" y="4226"/>
                    </a:lnTo>
                    <a:lnTo>
                      <a:pt x="553" y="4235"/>
                    </a:lnTo>
                    <a:lnTo>
                      <a:pt x="552" y="4242"/>
                    </a:lnTo>
                    <a:lnTo>
                      <a:pt x="549" y="4248"/>
                    </a:lnTo>
                    <a:lnTo>
                      <a:pt x="542" y="4258"/>
                    </a:lnTo>
                    <a:lnTo>
                      <a:pt x="536" y="4266"/>
                    </a:lnTo>
                    <a:lnTo>
                      <a:pt x="533" y="4270"/>
                    </a:lnTo>
                    <a:lnTo>
                      <a:pt x="532" y="4274"/>
                    </a:lnTo>
                    <a:lnTo>
                      <a:pt x="532" y="4279"/>
                    </a:lnTo>
                    <a:lnTo>
                      <a:pt x="533" y="4282"/>
                    </a:lnTo>
                    <a:lnTo>
                      <a:pt x="536" y="4286"/>
                    </a:lnTo>
                    <a:lnTo>
                      <a:pt x="541" y="4291"/>
                    </a:lnTo>
                    <a:lnTo>
                      <a:pt x="547" y="4297"/>
                    </a:lnTo>
                    <a:lnTo>
                      <a:pt x="557" y="4303"/>
                    </a:lnTo>
                    <a:lnTo>
                      <a:pt x="559" y="4290"/>
                    </a:lnTo>
                    <a:lnTo>
                      <a:pt x="560" y="4275"/>
                    </a:lnTo>
                    <a:lnTo>
                      <a:pt x="560" y="4260"/>
                    </a:lnTo>
                    <a:lnTo>
                      <a:pt x="560" y="4246"/>
                    </a:lnTo>
                    <a:lnTo>
                      <a:pt x="559" y="4216"/>
                    </a:lnTo>
                    <a:lnTo>
                      <a:pt x="558" y="4188"/>
                    </a:lnTo>
                    <a:lnTo>
                      <a:pt x="557" y="4182"/>
                    </a:lnTo>
                    <a:lnTo>
                      <a:pt x="555" y="4177"/>
                    </a:lnTo>
                    <a:lnTo>
                      <a:pt x="554" y="4172"/>
                    </a:lnTo>
                    <a:lnTo>
                      <a:pt x="552" y="4169"/>
                    </a:lnTo>
                    <a:lnTo>
                      <a:pt x="546" y="4161"/>
                    </a:lnTo>
                    <a:lnTo>
                      <a:pt x="538" y="4154"/>
                    </a:lnTo>
                    <a:lnTo>
                      <a:pt x="531" y="4147"/>
                    </a:lnTo>
                    <a:lnTo>
                      <a:pt x="526" y="4137"/>
                    </a:lnTo>
                    <a:lnTo>
                      <a:pt x="524" y="4132"/>
                    </a:lnTo>
                    <a:lnTo>
                      <a:pt x="524" y="4126"/>
                    </a:lnTo>
                    <a:lnTo>
                      <a:pt x="522" y="4120"/>
                    </a:lnTo>
                    <a:lnTo>
                      <a:pt x="524" y="4112"/>
                    </a:lnTo>
                    <a:lnTo>
                      <a:pt x="527" y="4096"/>
                    </a:lnTo>
                    <a:lnTo>
                      <a:pt x="531" y="4084"/>
                    </a:lnTo>
                    <a:lnTo>
                      <a:pt x="537" y="4074"/>
                    </a:lnTo>
                    <a:lnTo>
                      <a:pt x="544" y="4067"/>
                    </a:lnTo>
                    <a:lnTo>
                      <a:pt x="553" y="4061"/>
                    </a:lnTo>
                    <a:lnTo>
                      <a:pt x="561" y="4057"/>
                    </a:lnTo>
                    <a:lnTo>
                      <a:pt x="571" y="4055"/>
                    </a:lnTo>
                    <a:lnTo>
                      <a:pt x="581" y="4054"/>
                    </a:lnTo>
                    <a:lnTo>
                      <a:pt x="625" y="4056"/>
                    </a:lnTo>
                    <a:lnTo>
                      <a:pt x="665" y="4061"/>
                    </a:lnTo>
                    <a:lnTo>
                      <a:pt x="684" y="4062"/>
                    </a:lnTo>
                    <a:lnTo>
                      <a:pt x="703" y="4065"/>
                    </a:lnTo>
                    <a:lnTo>
                      <a:pt x="713" y="4066"/>
                    </a:lnTo>
                    <a:lnTo>
                      <a:pt x="722" y="4069"/>
                    </a:lnTo>
                    <a:lnTo>
                      <a:pt x="732" y="4072"/>
                    </a:lnTo>
                    <a:lnTo>
                      <a:pt x="740" y="4076"/>
                    </a:lnTo>
                    <a:lnTo>
                      <a:pt x="749" y="4080"/>
                    </a:lnTo>
                    <a:lnTo>
                      <a:pt x="757" y="4085"/>
                    </a:lnTo>
                    <a:lnTo>
                      <a:pt x="763" y="4091"/>
                    </a:lnTo>
                    <a:lnTo>
                      <a:pt x="771" y="4098"/>
                    </a:lnTo>
                    <a:lnTo>
                      <a:pt x="777" y="4105"/>
                    </a:lnTo>
                    <a:lnTo>
                      <a:pt x="782" y="4114"/>
                    </a:lnTo>
                    <a:lnTo>
                      <a:pt x="785" y="4122"/>
                    </a:lnTo>
                    <a:lnTo>
                      <a:pt x="789" y="4131"/>
                    </a:lnTo>
                    <a:lnTo>
                      <a:pt x="790" y="4133"/>
                    </a:lnTo>
                    <a:lnTo>
                      <a:pt x="793" y="4134"/>
                    </a:lnTo>
                    <a:lnTo>
                      <a:pt x="798" y="4136"/>
                    </a:lnTo>
                    <a:lnTo>
                      <a:pt x="803" y="4137"/>
                    </a:lnTo>
                    <a:lnTo>
                      <a:pt x="816" y="4139"/>
                    </a:lnTo>
                    <a:lnTo>
                      <a:pt x="833" y="4140"/>
                    </a:lnTo>
                    <a:lnTo>
                      <a:pt x="867" y="4143"/>
                    </a:lnTo>
                    <a:lnTo>
                      <a:pt x="892" y="4147"/>
                    </a:lnTo>
                    <a:lnTo>
                      <a:pt x="932" y="4159"/>
                    </a:lnTo>
                    <a:lnTo>
                      <a:pt x="976" y="4173"/>
                    </a:lnTo>
                    <a:lnTo>
                      <a:pt x="987" y="4176"/>
                    </a:lnTo>
                    <a:lnTo>
                      <a:pt x="997" y="4178"/>
                    </a:lnTo>
                    <a:lnTo>
                      <a:pt x="1008" y="4181"/>
                    </a:lnTo>
                    <a:lnTo>
                      <a:pt x="1018" y="4181"/>
                    </a:lnTo>
                    <a:lnTo>
                      <a:pt x="1028" y="4181"/>
                    </a:lnTo>
                    <a:lnTo>
                      <a:pt x="1036" y="4180"/>
                    </a:lnTo>
                    <a:lnTo>
                      <a:pt x="1045" y="4177"/>
                    </a:lnTo>
                    <a:lnTo>
                      <a:pt x="1054" y="4173"/>
                    </a:lnTo>
                    <a:lnTo>
                      <a:pt x="1063" y="4171"/>
                    </a:lnTo>
                    <a:lnTo>
                      <a:pt x="1079" y="4167"/>
                    </a:lnTo>
                    <a:lnTo>
                      <a:pt x="1094" y="4162"/>
                    </a:lnTo>
                    <a:lnTo>
                      <a:pt x="1104" y="4158"/>
                    </a:lnTo>
                    <a:lnTo>
                      <a:pt x="1106" y="4153"/>
                    </a:lnTo>
                    <a:lnTo>
                      <a:pt x="1106" y="4148"/>
                    </a:lnTo>
                    <a:lnTo>
                      <a:pt x="1106" y="4142"/>
                    </a:lnTo>
                    <a:lnTo>
                      <a:pt x="1106" y="4137"/>
                    </a:lnTo>
                    <a:lnTo>
                      <a:pt x="1107" y="4132"/>
                    </a:lnTo>
                    <a:lnTo>
                      <a:pt x="1110" y="4128"/>
                    </a:lnTo>
                    <a:lnTo>
                      <a:pt x="1112" y="4127"/>
                    </a:lnTo>
                    <a:lnTo>
                      <a:pt x="1116" y="4126"/>
                    </a:lnTo>
                    <a:lnTo>
                      <a:pt x="1120" y="4126"/>
                    </a:lnTo>
                    <a:lnTo>
                      <a:pt x="1124" y="4127"/>
                    </a:lnTo>
                    <a:lnTo>
                      <a:pt x="1126" y="4132"/>
                    </a:lnTo>
                    <a:lnTo>
                      <a:pt x="1128" y="4136"/>
                    </a:lnTo>
                    <a:lnTo>
                      <a:pt x="1132" y="4139"/>
                    </a:lnTo>
                    <a:lnTo>
                      <a:pt x="1136" y="4142"/>
                    </a:lnTo>
                    <a:lnTo>
                      <a:pt x="1140" y="4143"/>
                    </a:lnTo>
                    <a:lnTo>
                      <a:pt x="1144" y="4144"/>
                    </a:lnTo>
                    <a:lnTo>
                      <a:pt x="1150" y="4144"/>
                    </a:lnTo>
                    <a:lnTo>
                      <a:pt x="1155" y="4144"/>
                    </a:lnTo>
                    <a:lnTo>
                      <a:pt x="1166" y="4142"/>
                    </a:lnTo>
                    <a:lnTo>
                      <a:pt x="1176" y="4138"/>
                    </a:lnTo>
                    <a:lnTo>
                      <a:pt x="1186" y="4133"/>
                    </a:lnTo>
                    <a:lnTo>
                      <a:pt x="1193" y="4128"/>
                    </a:lnTo>
                    <a:lnTo>
                      <a:pt x="1203" y="4118"/>
                    </a:lnTo>
                    <a:lnTo>
                      <a:pt x="1213" y="4114"/>
                    </a:lnTo>
                    <a:lnTo>
                      <a:pt x="1222" y="4111"/>
                    </a:lnTo>
                    <a:lnTo>
                      <a:pt x="1236" y="4110"/>
                    </a:lnTo>
                    <a:lnTo>
                      <a:pt x="1240" y="4109"/>
                    </a:lnTo>
                    <a:lnTo>
                      <a:pt x="1244" y="4106"/>
                    </a:lnTo>
                    <a:lnTo>
                      <a:pt x="1247" y="4104"/>
                    </a:lnTo>
                    <a:lnTo>
                      <a:pt x="1251" y="4100"/>
                    </a:lnTo>
                    <a:lnTo>
                      <a:pt x="1257" y="4091"/>
                    </a:lnTo>
                    <a:lnTo>
                      <a:pt x="1263" y="4085"/>
                    </a:lnTo>
                    <a:lnTo>
                      <a:pt x="1268" y="4082"/>
                    </a:lnTo>
                    <a:lnTo>
                      <a:pt x="1273" y="4079"/>
                    </a:lnTo>
                    <a:lnTo>
                      <a:pt x="1277" y="4078"/>
                    </a:lnTo>
                    <a:lnTo>
                      <a:pt x="1284" y="4078"/>
                    </a:lnTo>
                    <a:lnTo>
                      <a:pt x="1286" y="4072"/>
                    </a:lnTo>
                    <a:lnTo>
                      <a:pt x="1289" y="4065"/>
                    </a:lnTo>
                    <a:lnTo>
                      <a:pt x="1293" y="4057"/>
                    </a:lnTo>
                    <a:lnTo>
                      <a:pt x="1303" y="4047"/>
                    </a:lnTo>
                    <a:lnTo>
                      <a:pt x="1313" y="4039"/>
                    </a:lnTo>
                    <a:lnTo>
                      <a:pt x="1319" y="4035"/>
                    </a:lnTo>
                    <a:lnTo>
                      <a:pt x="1333" y="4039"/>
                    </a:lnTo>
                    <a:lnTo>
                      <a:pt x="1345" y="4044"/>
                    </a:lnTo>
                    <a:lnTo>
                      <a:pt x="1347" y="4040"/>
                    </a:lnTo>
                    <a:lnTo>
                      <a:pt x="1348" y="4035"/>
                    </a:lnTo>
                    <a:lnTo>
                      <a:pt x="1353" y="4033"/>
                    </a:lnTo>
                    <a:lnTo>
                      <a:pt x="1358" y="4029"/>
                    </a:lnTo>
                    <a:lnTo>
                      <a:pt x="1362" y="4023"/>
                    </a:lnTo>
                    <a:lnTo>
                      <a:pt x="1367" y="4018"/>
                    </a:lnTo>
                    <a:lnTo>
                      <a:pt x="1372" y="4012"/>
                    </a:lnTo>
                    <a:lnTo>
                      <a:pt x="1377" y="4007"/>
                    </a:lnTo>
                    <a:lnTo>
                      <a:pt x="1382" y="4003"/>
                    </a:lnTo>
                    <a:lnTo>
                      <a:pt x="1386" y="4002"/>
                    </a:lnTo>
                    <a:lnTo>
                      <a:pt x="1388" y="4005"/>
                    </a:lnTo>
                    <a:lnTo>
                      <a:pt x="1390" y="4007"/>
                    </a:lnTo>
                    <a:lnTo>
                      <a:pt x="1393" y="4008"/>
                    </a:lnTo>
                    <a:lnTo>
                      <a:pt x="1395" y="4008"/>
                    </a:lnTo>
                    <a:lnTo>
                      <a:pt x="1401" y="4010"/>
                    </a:lnTo>
                    <a:lnTo>
                      <a:pt x="1406" y="4008"/>
                    </a:lnTo>
                    <a:lnTo>
                      <a:pt x="1413" y="4008"/>
                    </a:lnTo>
                    <a:lnTo>
                      <a:pt x="1421" y="4007"/>
                    </a:lnTo>
                    <a:lnTo>
                      <a:pt x="1427" y="4005"/>
                    </a:lnTo>
                    <a:lnTo>
                      <a:pt x="1433" y="4002"/>
                    </a:lnTo>
                    <a:lnTo>
                      <a:pt x="1445" y="3996"/>
                    </a:lnTo>
                    <a:lnTo>
                      <a:pt x="1457" y="3991"/>
                    </a:lnTo>
                    <a:lnTo>
                      <a:pt x="1464" y="3990"/>
                    </a:lnTo>
                    <a:lnTo>
                      <a:pt x="1473" y="3990"/>
                    </a:lnTo>
                    <a:lnTo>
                      <a:pt x="1484" y="3992"/>
                    </a:lnTo>
                    <a:lnTo>
                      <a:pt x="1495" y="3994"/>
                    </a:lnTo>
                    <a:lnTo>
                      <a:pt x="1519" y="3999"/>
                    </a:lnTo>
                    <a:lnTo>
                      <a:pt x="1537" y="4002"/>
                    </a:lnTo>
                    <a:lnTo>
                      <a:pt x="1544" y="4005"/>
                    </a:lnTo>
                    <a:lnTo>
                      <a:pt x="1553" y="4008"/>
                    </a:lnTo>
                    <a:lnTo>
                      <a:pt x="1563" y="4013"/>
                    </a:lnTo>
                    <a:lnTo>
                      <a:pt x="1571" y="4018"/>
                    </a:lnTo>
                    <a:lnTo>
                      <a:pt x="1588" y="4028"/>
                    </a:lnTo>
                    <a:lnTo>
                      <a:pt x="1597" y="4032"/>
                    </a:lnTo>
                    <a:lnTo>
                      <a:pt x="1598" y="4028"/>
                    </a:lnTo>
                    <a:lnTo>
                      <a:pt x="1601" y="4024"/>
                    </a:lnTo>
                    <a:lnTo>
                      <a:pt x="1603" y="4022"/>
                    </a:lnTo>
                    <a:lnTo>
                      <a:pt x="1607" y="4019"/>
                    </a:lnTo>
                    <a:lnTo>
                      <a:pt x="1614" y="4017"/>
                    </a:lnTo>
                    <a:lnTo>
                      <a:pt x="1624" y="4016"/>
                    </a:lnTo>
                    <a:lnTo>
                      <a:pt x="1642" y="4016"/>
                    </a:lnTo>
                    <a:lnTo>
                      <a:pt x="1657" y="4017"/>
                    </a:lnTo>
                    <a:lnTo>
                      <a:pt x="1667" y="4018"/>
                    </a:lnTo>
                    <a:lnTo>
                      <a:pt x="1678" y="4017"/>
                    </a:lnTo>
                    <a:lnTo>
                      <a:pt x="1688" y="4016"/>
                    </a:lnTo>
                    <a:lnTo>
                      <a:pt x="1699" y="4013"/>
                    </a:lnTo>
                    <a:lnTo>
                      <a:pt x="1708" y="4012"/>
                    </a:lnTo>
                    <a:lnTo>
                      <a:pt x="1717" y="4012"/>
                    </a:lnTo>
                    <a:lnTo>
                      <a:pt x="1721" y="4013"/>
                    </a:lnTo>
                    <a:lnTo>
                      <a:pt x="1724" y="4014"/>
                    </a:lnTo>
                    <a:lnTo>
                      <a:pt x="1728" y="4017"/>
                    </a:lnTo>
                    <a:lnTo>
                      <a:pt x="1730" y="4019"/>
                    </a:lnTo>
                    <a:lnTo>
                      <a:pt x="1736" y="4027"/>
                    </a:lnTo>
                    <a:lnTo>
                      <a:pt x="1745" y="4033"/>
                    </a:lnTo>
                    <a:lnTo>
                      <a:pt x="1750" y="4035"/>
                    </a:lnTo>
                    <a:lnTo>
                      <a:pt x="1756" y="4038"/>
                    </a:lnTo>
                    <a:lnTo>
                      <a:pt x="1761" y="4038"/>
                    </a:lnTo>
                    <a:lnTo>
                      <a:pt x="1766" y="4038"/>
                    </a:lnTo>
                    <a:lnTo>
                      <a:pt x="1776" y="4035"/>
                    </a:lnTo>
                    <a:lnTo>
                      <a:pt x="1781" y="4033"/>
                    </a:lnTo>
                    <a:lnTo>
                      <a:pt x="1782" y="4032"/>
                    </a:lnTo>
                    <a:lnTo>
                      <a:pt x="1783" y="4029"/>
                    </a:lnTo>
                    <a:lnTo>
                      <a:pt x="1783" y="4028"/>
                    </a:lnTo>
                    <a:lnTo>
                      <a:pt x="1782" y="4027"/>
                    </a:lnTo>
                    <a:lnTo>
                      <a:pt x="1777" y="4018"/>
                    </a:lnTo>
                    <a:lnTo>
                      <a:pt x="1774" y="4007"/>
                    </a:lnTo>
                    <a:lnTo>
                      <a:pt x="1773" y="4006"/>
                    </a:lnTo>
                    <a:lnTo>
                      <a:pt x="1773" y="4003"/>
                    </a:lnTo>
                    <a:lnTo>
                      <a:pt x="1774" y="4001"/>
                    </a:lnTo>
                    <a:lnTo>
                      <a:pt x="1776" y="3997"/>
                    </a:lnTo>
                    <a:lnTo>
                      <a:pt x="1778" y="3990"/>
                    </a:lnTo>
                    <a:lnTo>
                      <a:pt x="1781" y="3985"/>
                    </a:lnTo>
                    <a:lnTo>
                      <a:pt x="1783" y="3983"/>
                    </a:lnTo>
                    <a:lnTo>
                      <a:pt x="1788" y="3981"/>
                    </a:lnTo>
                    <a:lnTo>
                      <a:pt x="1794" y="3980"/>
                    </a:lnTo>
                    <a:lnTo>
                      <a:pt x="1800" y="3981"/>
                    </a:lnTo>
                    <a:lnTo>
                      <a:pt x="1817" y="3984"/>
                    </a:lnTo>
                    <a:lnTo>
                      <a:pt x="1836" y="3987"/>
                    </a:lnTo>
                    <a:lnTo>
                      <a:pt x="1871" y="3997"/>
                    </a:lnTo>
                    <a:lnTo>
                      <a:pt x="1894" y="4002"/>
                    </a:lnTo>
                    <a:lnTo>
                      <a:pt x="1919" y="4006"/>
                    </a:lnTo>
                    <a:lnTo>
                      <a:pt x="1941" y="4012"/>
                    </a:lnTo>
                    <a:lnTo>
                      <a:pt x="1964" y="4018"/>
                    </a:lnTo>
                    <a:lnTo>
                      <a:pt x="1986" y="4025"/>
                    </a:lnTo>
                    <a:lnTo>
                      <a:pt x="1996" y="4028"/>
                    </a:lnTo>
                    <a:lnTo>
                      <a:pt x="2002" y="4032"/>
                    </a:lnTo>
                    <a:lnTo>
                      <a:pt x="2007" y="4035"/>
                    </a:lnTo>
                    <a:lnTo>
                      <a:pt x="2011" y="4040"/>
                    </a:lnTo>
                    <a:lnTo>
                      <a:pt x="2012" y="4046"/>
                    </a:lnTo>
                    <a:lnTo>
                      <a:pt x="2013" y="4052"/>
                    </a:lnTo>
                    <a:lnTo>
                      <a:pt x="2013" y="4061"/>
                    </a:lnTo>
                    <a:lnTo>
                      <a:pt x="2014" y="4069"/>
                    </a:lnTo>
                    <a:lnTo>
                      <a:pt x="2014" y="4076"/>
                    </a:lnTo>
                    <a:lnTo>
                      <a:pt x="2014" y="4080"/>
                    </a:lnTo>
                    <a:lnTo>
                      <a:pt x="2016" y="4085"/>
                    </a:lnTo>
                    <a:lnTo>
                      <a:pt x="2018" y="4089"/>
                    </a:lnTo>
                    <a:lnTo>
                      <a:pt x="2020" y="4093"/>
                    </a:lnTo>
                    <a:lnTo>
                      <a:pt x="2023" y="4096"/>
                    </a:lnTo>
                    <a:lnTo>
                      <a:pt x="2027" y="4100"/>
                    </a:lnTo>
                    <a:lnTo>
                      <a:pt x="2031" y="4104"/>
                    </a:lnTo>
                    <a:lnTo>
                      <a:pt x="2034" y="4106"/>
                    </a:lnTo>
                    <a:lnTo>
                      <a:pt x="2035" y="4109"/>
                    </a:lnTo>
                    <a:lnTo>
                      <a:pt x="2036" y="4111"/>
                    </a:lnTo>
                    <a:lnTo>
                      <a:pt x="2038" y="4115"/>
                    </a:lnTo>
                    <a:lnTo>
                      <a:pt x="2036" y="4123"/>
                    </a:lnTo>
                    <a:lnTo>
                      <a:pt x="2036" y="4131"/>
                    </a:lnTo>
                    <a:lnTo>
                      <a:pt x="2036" y="4140"/>
                    </a:lnTo>
                    <a:lnTo>
                      <a:pt x="2038" y="4149"/>
                    </a:lnTo>
                    <a:lnTo>
                      <a:pt x="2040" y="4153"/>
                    </a:lnTo>
                    <a:lnTo>
                      <a:pt x="2042" y="4156"/>
                    </a:lnTo>
                    <a:lnTo>
                      <a:pt x="2046" y="4160"/>
                    </a:lnTo>
                    <a:lnTo>
                      <a:pt x="2051" y="4164"/>
                    </a:lnTo>
                    <a:lnTo>
                      <a:pt x="2062" y="4167"/>
                    </a:lnTo>
                    <a:lnTo>
                      <a:pt x="2073" y="4170"/>
                    </a:lnTo>
                    <a:lnTo>
                      <a:pt x="2087" y="4172"/>
                    </a:lnTo>
                    <a:lnTo>
                      <a:pt x="2100" y="4173"/>
                    </a:lnTo>
                    <a:lnTo>
                      <a:pt x="2113" y="4177"/>
                    </a:lnTo>
                    <a:lnTo>
                      <a:pt x="2125" y="4181"/>
                    </a:lnTo>
                    <a:lnTo>
                      <a:pt x="2129" y="4183"/>
                    </a:lnTo>
                    <a:lnTo>
                      <a:pt x="2134" y="4187"/>
                    </a:lnTo>
                    <a:lnTo>
                      <a:pt x="2138" y="4191"/>
                    </a:lnTo>
                    <a:lnTo>
                      <a:pt x="2142" y="4196"/>
                    </a:lnTo>
                    <a:lnTo>
                      <a:pt x="2221" y="4277"/>
                    </a:lnTo>
                    <a:lnTo>
                      <a:pt x="2219" y="4289"/>
                    </a:lnTo>
                    <a:lnTo>
                      <a:pt x="2213" y="4304"/>
                    </a:lnTo>
                    <a:lnTo>
                      <a:pt x="2214" y="4311"/>
                    </a:lnTo>
                    <a:lnTo>
                      <a:pt x="2214" y="4315"/>
                    </a:lnTo>
                    <a:lnTo>
                      <a:pt x="2215" y="4319"/>
                    </a:lnTo>
                    <a:lnTo>
                      <a:pt x="2216" y="4322"/>
                    </a:lnTo>
                    <a:lnTo>
                      <a:pt x="2218" y="4323"/>
                    </a:lnTo>
                    <a:lnTo>
                      <a:pt x="2220" y="4323"/>
                    </a:lnTo>
                    <a:lnTo>
                      <a:pt x="2222" y="4322"/>
                    </a:lnTo>
                    <a:lnTo>
                      <a:pt x="2225" y="4319"/>
                    </a:lnTo>
                    <a:lnTo>
                      <a:pt x="2231" y="4314"/>
                    </a:lnTo>
                    <a:lnTo>
                      <a:pt x="2240" y="4309"/>
                    </a:lnTo>
                    <a:lnTo>
                      <a:pt x="2248" y="4303"/>
                    </a:lnTo>
                    <a:lnTo>
                      <a:pt x="2257" y="4298"/>
                    </a:lnTo>
                    <a:lnTo>
                      <a:pt x="2266" y="4297"/>
                    </a:lnTo>
                    <a:lnTo>
                      <a:pt x="2279" y="4298"/>
                    </a:lnTo>
                    <a:lnTo>
                      <a:pt x="2293" y="4302"/>
                    </a:lnTo>
                    <a:lnTo>
                      <a:pt x="2309" y="4306"/>
                    </a:lnTo>
                    <a:lnTo>
                      <a:pt x="2345" y="4318"/>
                    </a:lnTo>
                    <a:lnTo>
                      <a:pt x="2383" y="4329"/>
                    </a:lnTo>
                    <a:lnTo>
                      <a:pt x="2401" y="4334"/>
                    </a:lnTo>
                    <a:lnTo>
                      <a:pt x="2417" y="4337"/>
                    </a:lnTo>
                    <a:lnTo>
                      <a:pt x="2433" y="4339"/>
                    </a:lnTo>
                    <a:lnTo>
                      <a:pt x="2448" y="4339"/>
                    </a:lnTo>
                    <a:lnTo>
                      <a:pt x="2454" y="4337"/>
                    </a:lnTo>
                    <a:lnTo>
                      <a:pt x="2459" y="4335"/>
                    </a:lnTo>
                    <a:lnTo>
                      <a:pt x="2464" y="4333"/>
                    </a:lnTo>
                    <a:lnTo>
                      <a:pt x="2467" y="4329"/>
                    </a:lnTo>
                    <a:lnTo>
                      <a:pt x="2471" y="4324"/>
                    </a:lnTo>
                    <a:lnTo>
                      <a:pt x="2473" y="4319"/>
                    </a:lnTo>
                    <a:lnTo>
                      <a:pt x="2475" y="4312"/>
                    </a:lnTo>
                    <a:lnTo>
                      <a:pt x="2475" y="4304"/>
                    </a:lnTo>
                    <a:lnTo>
                      <a:pt x="2446" y="4298"/>
                    </a:lnTo>
                    <a:lnTo>
                      <a:pt x="2411" y="4287"/>
                    </a:lnTo>
                    <a:lnTo>
                      <a:pt x="2404" y="4284"/>
                    </a:lnTo>
                    <a:lnTo>
                      <a:pt x="2396" y="4280"/>
                    </a:lnTo>
                    <a:lnTo>
                      <a:pt x="2390" y="4275"/>
                    </a:lnTo>
                    <a:lnTo>
                      <a:pt x="2385" y="4270"/>
                    </a:lnTo>
                    <a:lnTo>
                      <a:pt x="2382" y="4265"/>
                    </a:lnTo>
                    <a:lnTo>
                      <a:pt x="2380" y="4259"/>
                    </a:lnTo>
                    <a:lnTo>
                      <a:pt x="2380" y="4253"/>
                    </a:lnTo>
                    <a:lnTo>
                      <a:pt x="2383" y="4246"/>
                    </a:lnTo>
                    <a:lnTo>
                      <a:pt x="2388" y="4240"/>
                    </a:lnTo>
                    <a:lnTo>
                      <a:pt x="2396" y="4235"/>
                    </a:lnTo>
                    <a:lnTo>
                      <a:pt x="2406" y="4230"/>
                    </a:lnTo>
                    <a:lnTo>
                      <a:pt x="2418" y="4226"/>
                    </a:lnTo>
                    <a:lnTo>
                      <a:pt x="2446" y="4218"/>
                    </a:lnTo>
                    <a:lnTo>
                      <a:pt x="2476" y="4210"/>
                    </a:lnTo>
                    <a:lnTo>
                      <a:pt x="2490" y="4207"/>
                    </a:lnTo>
                    <a:lnTo>
                      <a:pt x="2504" y="4203"/>
                    </a:lnTo>
                    <a:lnTo>
                      <a:pt x="2516" y="4199"/>
                    </a:lnTo>
                    <a:lnTo>
                      <a:pt x="2527" y="4194"/>
                    </a:lnTo>
                    <a:lnTo>
                      <a:pt x="2536" y="4188"/>
                    </a:lnTo>
                    <a:lnTo>
                      <a:pt x="2541" y="4182"/>
                    </a:lnTo>
                    <a:lnTo>
                      <a:pt x="2543" y="4178"/>
                    </a:lnTo>
                    <a:lnTo>
                      <a:pt x="2544" y="4175"/>
                    </a:lnTo>
                    <a:lnTo>
                      <a:pt x="2544" y="4171"/>
                    </a:lnTo>
                    <a:lnTo>
                      <a:pt x="2543" y="4167"/>
                    </a:lnTo>
                    <a:lnTo>
                      <a:pt x="2537" y="4154"/>
                    </a:lnTo>
                    <a:lnTo>
                      <a:pt x="2531" y="4143"/>
                    </a:lnTo>
                    <a:lnTo>
                      <a:pt x="2524" y="4133"/>
                    </a:lnTo>
                    <a:lnTo>
                      <a:pt x="2516" y="4126"/>
                    </a:lnTo>
                    <a:lnTo>
                      <a:pt x="2508" y="4118"/>
                    </a:lnTo>
                    <a:lnTo>
                      <a:pt x="2498" y="4114"/>
                    </a:lnTo>
                    <a:lnTo>
                      <a:pt x="2488" y="4109"/>
                    </a:lnTo>
                    <a:lnTo>
                      <a:pt x="2477" y="4105"/>
                    </a:lnTo>
                    <a:lnTo>
                      <a:pt x="2432" y="4094"/>
                    </a:lnTo>
                    <a:lnTo>
                      <a:pt x="2385" y="4085"/>
                    </a:lnTo>
                    <a:lnTo>
                      <a:pt x="2391" y="4080"/>
                    </a:lnTo>
                    <a:lnTo>
                      <a:pt x="2404" y="4077"/>
                    </a:lnTo>
                    <a:lnTo>
                      <a:pt x="2417" y="4072"/>
                    </a:lnTo>
                    <a:lnTo>
                      <a:pt x="2426" y="4071"/>
                    </a:lnTo>
                    <a:lnTo>
                      <a:pt x="2427" y="4071"/>
                    </a:lnTo>
                    <a:lnTo>
                      <a:pt x="2428" y="4069"/>
                    </a:lnTo>
                    <a:lnTo>
                      <a:pt x="2428" y="4068"/>
                    </a:lnTo>
                    <a:lnTo>
                      <a:pt x="2427" y="4066"/>
                    </a:lnTo>
                    <a:lnTo>
                      <a:pt x="2423" y="4060"/>
                    </a:lnTo>
                    <a:lnTo>
                      <a:pt x="2418" y="4054"/>
                    </a:lnTo>
                    <a:lnTo>
                      <a:pt x="2415" y="4046"/>
                    </a:lnTo>
                    <a:lnTo>
                      <a:pt x="2411" y="4038"/>
                    </a:lnTo>
                    <a:lnTo>
                      <a:pt x="2411" y="4034"/>
                    </a:lnTo>
                    <a:lnTo>
                      <a:pt x="2411" y="4030"/>
                    </a:lnTo>
                    <a:lnTo>
                      <a:pt x="2412" y="4025"/>
                    </a:lnTo>
                    <a:lnTo>
                      <a:pt x="2415" y="4023"/>
                    </a:lnTo>
                    <a:lnTo>
                      <a:pt x="2417" y="4019"/>
                    </a:lnTo>
                    <a:lnTo>
                      <a:pt x="2422" y="4018"/>
                    </a:lnTo>
                    <a:lnTo>
                      <a:pt x="2427" y="4016"/>
                    </a:lnTo>
                    <a:lnTo>
                      <a:pt x="2433" y="4013"/>
                    </a:lnTo>
                    <a:lnTo>
                      <a:pt x="2448" y="4011"/>
                    </a:lnTo>
                    <a:lnTo>
                      <a:pt x="2462" y="4010"/>
                    </a:lnTo>
                    <a:lnTo>
                      <a:pt x="2477" y="4011"/>
                    </a:lnTo>
                    <a:lnTo>
                      <a:pt x="2489" y="4013"/>
                    </a:lnTo>
                    <a:lnTo>
                      <a:pt x="2494" y="4016"/>
                    </a:lnTo>
                    <a:lnTo>
                      <a:pt x="2498" y="4019"/>
                    </a:lnTo>
                    <a:lnTo>
                      <a:pt x="2500" y="4023"/>
                    </a:lnTo>
                    <a:lnTo>
                      <a:pt x="2501" y="4027"/>
                    </a:lnTo>
                    <a:lnTo>
                      <a:pt x="2501" y="4033"/>
                    </a:lnTo>
                    <a:lnTo>
                      <a:pt x="2503" y="4038"/>
                    </a:lnTo>
                    <a:lnTo>
                      <a:pt x="2505" y="4043"/>
                    </a:lnTo>
                    <a:lnTo>
                      <a:pt x="2508" y="4046"/>
                    </a:lnTo>
                    <a:lnTo>
                      <a:pt x="2515" y="4054"/>
                    </a:lnTo>
                    <a:lnTo>
                      <a:pt x="2525" y="4060"/>
                    </a:lnTo>
                    <a:lnTo>
                      <a:pt x="2535" y="4063"/>
                    </a:lnTo>
                    <a:lnTo>
                      <a:pt x="2544" y="4066"/>
                    </a:lnTo>
                    <a:lnTo>
                      <a:pt x="2555" y="4067"/>
                    </a:lnTo>
                    <a:lnTo>
                      <a:pt x="2564" y="4068"/>
                    </a:lnTo>
                    <a:lnTo>
                      <a:pt x="2565" y="4096"/>
                    </a:lnTo>
                    <a:lnTo>
                      <a:pt x="2569" y="4137"/>
                    </a:lnTo>
                    <a:lnTo>
                      <a:pt x="2570" y="4148"/>
                    </a:lnTo>
                    <a:lnTo>
                      <a:pt x="2572" y="4156"/>
                    </a:lnTo>
                    <a:lnTo>
                      <a:pt x="2576" y="4165"/>
                    </a:lnTo>
                    <a:lnTo>
                      <a:pt x="2581" y="4172"/>
                    </a:lnTo>
                    <a:lnTo>
                      <a:pt x="2586" y="4178"/>
                    </a:lnTo>
                    <a:lnTo>
                      <a:pt x="2593" y="4182"/>
                    </a:lnTo>
                    <a:lnTo>
                      <a:pt x="2597" y="4182"/>
                    </a:lnTo>
                    <a:lnTo>
                      <a:pt x="2601" y="4183"/>
                    </a:lnTo>
                    <a:lnTo>
                      <a:pt x="2606" y="4183"/>
                    </a:lnTo>
                    <a:lnTo>
                      <a:pt x="2610" y="4182"/>
                    </a:lnTo>
                    <a:lnTo>
                      <a:pt x="2645" y="4172"/>
                    </a:lnTo>
                    <a:lnTo>
                      <a:pt x="2691" y="4162"/>
                    </a:lnTo>
                    <a:lnTo>
                      <a:pt x="2703" y="4161"/>
                    </a:lnTo>
                    <a:lnTo>
                      <a:pt x="2714" y="4161"/>
                    </a:lnTo>
                    <a:lnTo>
                      <a:pt x="2724" y="4161"/>
                    </a:lnTo>
                    <a:lnTo>
                      <a:pt x="2733" y="4162"/>
                    </a:lnTo>
                    <a:lnTo>
                      <a:pt x="2740" y="4166"/>
                    </a:lnTo>
                    <a:lnTo>
                      <a:pt x="2746" y="4170"/>
                    </a:lnTo>
                    <a:lnTo>
                      <a:pt x="2748" y="4173"/>
                    </a:lnTo>
                    <a:lnTo>
                      <a:pt x="2750" y="4176"/>
                    </a:lnTo>
                    <a:lnTo>
                      <a:pt x="2750" y="4180"/>
                    </a:lnTo>
                    <a:lnTo>
                      <a:pt x="2751" y="4184"/>
                    </a:lnTo>
                    <a:lnTo>
                      <a:pt x="2751" y="4184"/>
                    </a:lnTo>
                    <a:lnTo>
                      <a:pt x="2752" y="4186"/>
                    </a:lnTo>
                    <a:lnTo>
                      <a:pt x="2761" y="4184"/>
                    </a:lnTo>
                    <a:lnTo>
                      <a:pt x="2768" y="4182"/>
                    </a:lnTo>
                    <a:lnTo>
                      <a:pt x="2776" y="4178"/>
                    </a:lnTo>
                    <a:lnTo>
                      <a:pt x="2783" y="4175"/>
                    </a:lnTo>
                    <a:lnTo>
                      <a:pt x="2796" y="4165"/>
                    </a:lnTo>
                    <a:lnTo>
                      <a:pt x="2807" y="4155"/>
                    </a:lnTo>
                    <a:lnTo>
                      <a:pt x="2814" y="4153"/>
                    </a:lnTo>
                    <a:lnTo>
                      <a:pt x="2819" y="4150"/>
                    </a:lnTo>
                    <a:lnTo>
                      <a:pt x="2825" y="4149"/>
                    </a:lnTo>
                    <a:lnTo>
                      <a:pt x="2830" y="4150"/>
                    </a:lnTo>
                    <a:lnTo>
                      <a:pt x="2834" y="4154"/>
                    </a:lnTo>
                    <a:lnTo>
                      <a:pt x="2841" y="4160"/>
                    </a:lnTo>
                    <a:lnTo>
                      <a:pt x="2847" y="4169"/>
                    </a:lnTo>
                    <a:lnTo>
                      <a:pt x="2852" y="4181"/>
                    </a:lnTo>
                    <a:lnTo>
                      <a:pt x="2854" y="4186"/>
                    </a:lnTo>
                    <a:lnTo>
                      <a:pt x="2855" y="4189"/>
                    </a:lnTo>
                    <a:lnTo>
                      <a:pt x="2855" y="4192"/>
                    </a:lnTo>
                    <a:lnTo>
                      <a:pt x="2854" y="4194"/>
                    </a:lnTo>
                    <a:lnTo>
                      <a:pt x="2852" y="4198"/>
                    </a:lnTo>
                    <a:lnTo>
                      <a:pt x="2850" y="4207"/>
                    </a:lnTo>
                    <a:lnTo>
                      <a:pt x="2850" y="4209"/>
                    </a:lnTo>
                    <a:lnTo>
                      <a:pt x="2852" y="4211"/>
                    </a:lnTo>
                    <a:lnTo>
                      <a:pt x="2853" y="4214"/>
                    </a:lnTo>
                    <a:lnTo>
                      <a:pt x="2855" y="4215"/>
                    </a:lnTo>
                    <a:lnTo>
                      <a:pt x="2858" y="4216"/>
                    </a:lnTo>
                    <a:lnTo>
                      <a:pt x="2861" y="4216"/>
                    </a:lnTo>
                    <a:lnTo>
                      <a:pt x="2864" y="4216"/>
                    </a:lnTo>
                    <a:lnTo>
                      <a:pt x="2866" y="4215"/>
                    </a:lnTo>
                    <a:lnTo>
                      <a:pt x="2871" y="4211"/>
                    </a:lnTo>
                    <a:lnTo>
                      <a:pt x="2876" y="4208"/>
                    </a:lnTo>
                    <a:lnTo>
                      <a:pt x="2878" y="4202"/>
                    </a:lnTo>
                    <a:lnTo>
                      <a:pt x="2880" y="4196"/>
                    </a:lnTo>
                    <a:lnTo>
                      <a:pt x="2882" y="4182"/>
                    </a:lnTo>
                    <a:lnTo>
                      <a:pt x="2885" y="4167"/>
                    </a:lnTo>
                    <a:lnTo>
                      <a:pt x="2886" y="4161"/>
                    </a:lnTo>
                    <a:lnTo>
                      <a:pt x="2888" y="4155"/>
                    </a:lnTo>
                    <a:lnTo>
                      <a:pt x="2892" y="4149"/>
                    </a:lnTo>
                    <a:lnTo>
                      <a:pt x="2897" y="4144"/>
                    </a:lnTo>
                    <a:lnTo>
                      <a:pt x="2904" y="4140"/>
                    </a:lnTo>
                    <a:lnTo>
                      <a:pt x="2913" y="4138"/>
                    </a:lnTo>
                    <a:lnTo>
                      <a:pt x="2924" y="4138"/>
                    </a:lnTo>
                    <a:lnTo>
                      <a:pt x="2937" y="4138"/>
                    </a:lnTo>
                    <a:lnTo>
                      <a:pt x="2960" y="4149"/>
                    </a:lnTo>
                    <a:lnTo>
                      <a:pt x="2992" y="4162"/>
                    </a:lnTo>
                    <a:lnTo>
                      <a:pt x="3008" y="4170"/>
                    </a:lnTo>
                    <a:lnTo>
                      <a:pt x="3023" y="4175"/>
                    </a:lnTo>
                    <a:lnTo>
                      <a:pt x="3030" y="4176"/>
                    </a:lnTo>
                    <a:lnTo>
                      <a:pt x="3036" y="4177"/>
                    </a:lnTo>
                    <a:lnTo>
                      <a:pt x="3041" y="4177"/>
                    </a:lnTo>
                    <a:lnTo>
                      <a:pt x="3046" y="4177"/>
                    </a:lnTo>
                    <a:lnTo>
                      <a:pt x="3061" y="4173"/>
                    </a:lnTo>
                    <a:lnTo>
                      <a:pt x="3076" y="4170"/>
                    </a:lnTo>
                    <a:lnTo>
                      <a:pt x="3089" y="4166"/>
                    </a:lnTo>
                    <a:lnTo>
                      <a:pt x="3102" y="4160"/>
                    </a:lnTo>
                    <a:lnTo>
                      <a:pt x="3128" y="4149"/>
                    </a:lnTo>
                    <a:lnTo>
                      <a:pt x="3154" y="4136"/>
                    </a:lnTo>
                    <a:lnTo>
                      <a:pt x="3178" y="4121"/>
                    </a:lnTo>
                    <a:lnTo>
                      <a:pt x="3202" y="4105"/>
                    </a:lnTo>
                    <a:lnTo>
                      <a:pt x="3225" y="4088"/>
                    </a:lnTo>
                    <a:lnTo>
                      <a:pt x="3247" y="4069"/>
                    </a:lnTo>
                    <a:lnTo>
                      <a:pt x="3257" y="4063"/>
                    </a:lnTo>
                    <a:lnTo>
                      <a:pt x="3265" y="4057"/>
                    </a:lnTo>
                    <a:lnTo>
                      <a:pt x="3276" y="4054"/>
                    </a:lnTo>
                    <a:lnTo>
                      <a:pt x="3286" y="4050"/>
                    </a:lnTo>
                    <a:lnTo>
                      <a:pt x="3308" y="4044"/>
                    </a:lnTo>
                    <a:lnTo>
                      <a:pt x="3330" y="4039"/>
                    </a:lnTo>
                    <a:lnTo>
                      <a:pt x="3351" y="4034"/>
                    </a:lnTo>
                    <a:lnTo>
                      <a:pt x="3371" y="4028"/>
                    </a:lnTo>
                    <a:lnTo>
                      <a:pt x="3379" y="4023"/>
                    </a:lnTo>
                    <a:lnTo>
                      <a:pt x="3388" y="4018"/>
                    </a:lnTo>
                    <a:lnTo>
                      <a:pt x="3395" y="4012"/>
                    </a:lnTo>
                    <a:lnTo>
                      <a:pt x="3401" y="4005"/>
                    </a:lnTo>
                    <a:lnTo>
                      <a:pt x="3408" y="3992"/>
                    </a:lnTo>
                    <a:lnTo>
                      <a:pt x="3416" y="3979"/>
                    </a:lnTo>
                    <a:lnTo>
                      <a:pt x="3423" y="3965"/>
                    </a:lnTo>
                    <a:lnTo>
                      <a:pt x="3428" y="3951"/>
                    </a:lnTo>
                    <a:lnTo>
                      <a:pt x="3431" y="3943"/>
                    </a:lnTo>
                    <a:lnTo>
                      <a:pt x="3431" y="3934"/>
                    </a:lnTo>
                    <a:lnTo>
                      <a:pt x="3431" y="3929"/>
                    </a:lnTo>
                    <a:lnTo>
                      <a:pt x="3431" y="3924"/>
                    </a:lnTo>
                    <a:lnTo>
                      <a:pt x="3428" y="3920"/>
                    </a:lnTo>
                    <a:lnTo>
                      <a:pt x="3427" y="3917"/>
                    </a:lnTo>
                    <a:lnTo>
                      <a:pt x="3426" y="3917"/>
                    </a:lnTo>
                    <a:lnTo>
                      <a:pt x="3423" y="3915"/>
                    </a:lnTo>
                    <a:lnTo>
                      <a:pt x="3422" y="3917"/>
                    </a:lnTo>
                    <a:lnTo>
                      <a:pt x="3419" y="3918"/>
                    </a:lnTo>
                    <a:lnTo>
                      <a:pt x="3416" y="3921"/>
                    </a:lnTo>
                    <a:lnTo>
                      <a:pt x="3412" y="3926"/>
                    </a:lnTo>
                    <a:lnTo>
                      <a:pt x="3406" y="3939"/>
                    </a:lnTo>
                    <a:lnTo>
                      <a:pt x="3402" y="3946"/>
                    </a:lnTo>
                    <a:lnTo>
                      <a:pt x="3397" y="3951"/>
                    </a:lnTo>
                    <a:lnTo>
                      <a:pt x="3391" y="3957"/>
                    </a:lnTo>
                    <a:lnTo>
                      <a:pt x="3383" y="3962"/>
                    </a:lnTo>
                    <a:lnTo>
                      <a:pt x="3373" y="3968"/>
                    </a:lnTo>
                    <a:lnTo>
                      <a:pt x="3362" y="3974"/>
                    </a:lnTo>
                    <a:lnTo>
                      <a:pt x="3350" y="3979"/>
                    </a:lnTo>
                    <a:lnTo>
                      <a:pt x="3337" y="3985"/>
                    </a:lnTo>
                    <a:lnTo>
                      <a:pt x="3325" y="3989"/>
                    </a:lnTo>
                    <a:lnTo>
                      <a:pt x="3312" y="3992"/>
                    </a:lnTo>
                    <a:lnTo>
                      <a:pt x="3300" y="3995"/>
                    </a:lnTo>
                    <a:lnTo>
                      <a:pt x="3289" y="3997"/>
                    </a:lnTo>
                    <a:lnTo>
                      <a:pt x="3278" y="3997"/>
                    </a:lnTo>
                    <a:lnTo>
                      <a:pt x="3269" y="3996"/>
                    </a:lnTo>
                    <a:lnTo>
                      <a:pt x="3260" y="3994"/>
                    </a:lnTo>
                    <a:lnTo>
                      <a:pt x="3258" y="3991"/>
                    </a:lnTo>
                    <a:lnTo>
                      <a:pt x="3255" y="3989"/>
                    </a:lnTo>
                    <a:lnTo>
                      <a:pt x="3254" y="3986"/>
                    </a:lnTo>
                    <a:lnTo>
                      <a:pt x="3253" y="3983"/>
                    </a:lnTo>
                    <a:lnTo>
                      <a:pt x="3247" y="3961"/>
                    </a:lnTo>
                    <a:lnTo>
                      <a:pt x="3242" y="3942"/>
                    </a:lnTo>
                    <a:lnTo>
                      <a:pt x="3242" y="3939"/>
                    </a:lnTo>
                    <a:lnTo>
                      <a:pt x="3242" y="3935"/>
                    </a:lnTo>
                    <a:lnTo>
                      <a:pt x="3243" y="3930"/>
                    </a:lnTo>
                    <a:lnTo>
                      <a:pt x="3244" y="3926"/>
                    </a:lnTo>
                    <a:lnTo>
                      <a:pt x="3251" y="3917"/>
                    </a:lnTo>
                    <a:lnTo>
                      <a:pt x="3262" y="3907"/>
                    </a:lnTo>
                    <a:lnTo>
                      <a:pt x="3263" y="3906"/>
                    </a:lnTo>
                    <a:lnTo>
                      <a:pt x="3266" y="3906"/>
                    </a:lnTo>
                    <a:lnTo>
                      <a:pt x="3270" y="3907"/>
                    </a:lnTo>
                    <a:lnTo>
                      <a:pt x="3275" y="3908"/>
                    </a:lnTo>
                    <a:lnTo>
                      <a:pt x="3285" y="3913"/>
                    </a:lnTo>
                    <a:lnTo>
                      <a:pt x="3296" y="3918"/>
                    </a:lnTo>
                    <a:lnTo>
                      <a:pt x="3301" y="3919"/>
                    </a:lnTo>
                    <a:lnTo>
                      <a:pt x="3306" y="3920"/>
                    </a:lnTo>
                    <a:lnTo>
                      <a:pt x="3311" y="3920"/>
                    </a:lnTo>
                    <a:lnTo>
                      <a:pt x="3314" y="3920"/>
                    </a:lnTo>
                    <a:lnTo>
                      <a:pt x="3318" y="3919"/>
                    </a:lnTo>
                    <a:lnTo>
                      <a:pt x="3320" y="3915"/>
                    </a:lnTo>
                    <a:lnTo>
                      <a:pt x="3323" y="3910"/>
                    </a:lnTo>
                    <a:lnTo>
                      <a:pt x="3323" y="3904"/>
                    </a:lnTo>
                    <a:lnTo>
                      <a:pt x="3319" y="3902"/>
                    </a:lnTo>
                    <a:lnTo>
                      <a:pt x="3314" y="3899"/>
                    </a:lnTo>
                    <a:lnTo>
                      <a:pt x="3306" y="3882"/>
                    </a:lnTo>
                    <a:lnTo>
                      <a:pt x="3293" y="3855"/>
                    </a:lnTo>
                    <a:lnTo>
                      <a:pt x="3291" y="3849"/>
                    </a:lnTo>
                    <a:lnTo>
                      <a:pt x="3290" y="3844"/>
                    </a:lnTo>
                    <a:lnTo>
                      <a:pt x="3290" y="3839"/>
                    </a:lnTo>
                    <a:lnTo>
                      <a:pt x="3291" y="3837"/>
                    </a:lnTo>
                    <a:lnTo>
                      <a:pt x="3293" y="3836"/>
                    </a:lnTo>
                    <a:lnTo>
                      <a:pt x="3297" y="3836"/>
                    </a:lnTo>
                    <a:lnTo>
                      <a:pt x="3303" y="3838"/>
                    </a:lnTo>
                    <a:lnTo>
                      <a:pt x="3312" y="3843"/>
                    </a:lnTo>
                    <a:lnTo>
                      <a:pt x="3318" y="3844"/>
                    </a:lnTo>
                    <a:lnTo>
                      <a:pt x="3329" y="3847"/>
                    </a:lnTo>
                    <a:lnTo>
                      <a:pt x="3344" y="3848"/>
                    </a:lnTo>
                    <a:lnTo>
                      <a:pt x="3360" y="3849"/>
                    </a:lnTo>
                    <a:lnTo>
                      <a:pt x="3377" y="3850"/>
                    </a:lnTo>
                    <a:lnTo>
                      <a:pt x="3391" y="3849"/>
                    </a:lnTo>
                    <a:lnTo>
                      <a:pt x="3402" y="3849"/>
                    </a:lnTo>
                    <a:lnTo>
                      <a:pt x="3410" y="3847"/>
                    </a:lnTo>
                    <a:lnTo>
                      <a:pt x="3417" y="3842"/>
                    </a:lnTo>
                    <a:lnTo>
                      <a:pt x="3423" y="3837"/>
                    </a:lnTo>
                    <a:lnTo>
                      <a:pt x="3428" y="3831"/>
                    </a:lnTo>
                    <a:lnTo>
                      <a:pt x="3434" y="3825"/>
                    </a:lnTo>
                    <a:lnTo>
                      <a:pt x="3444" y="3813"/>
                    </a:lnTo>
                    <a:lnTo>
                      <a:pt x="3457" y="3802"/>
                    </a:lnTo>
                    <a:lnTo>
                      <a:pt x="3466" y="3797"/>
                    </a:lnTo>
                    <a:lnTo>
                      <a:pt x="3477" y="3792"/>
                    </a:lnTo>
                    <a:lnTo>
                      <a:pt x="3490" y="3786"/>
                    </a:lnTo>
                    <a:lnTo>
                      <a:pt x="3505" y="3781"/>
                    </a:lnTo>
                    <a:lnTo>
                      <a:pt x="3521" y="3777"/>
                    </a:lnTo>
                    <a:lnTo>
                      <a:pt x="3535" y="3775"/>
                    </a:lnTo>
                    <a:lnTo>
                      <a:pt x="3547" y="3773"/>
                    </a:lnTo>
                    <a:lnTo>
                      <a:pt x="3557" y="3775"/>
                    </a:lnTo>
                    <a:lnTo>
                      <a:pt x="3564" y="3778"/>
                    </a:lnTo>
                    <a:lnTo>
                      <a:pt x="3570" y="3783"/>
                    </a:lnTo>
                    <a:lnTo>
                      <a:pt x="3576" y="3788"/>
                    </a:lnTo>
                    <a:lnTo>
                      <a:pt x="3582" y="3794"/>
                    </a:lnTo>
                    <a:lnTo>
                      <a:pt x="3588" y="3799"/>
                    </a:lnTo>
                    <a:lnTo>
                      <a:pt x="3596" y="3803"/>
                    </a:lnTo>
                    <a:lnTo>
                      <a:pt x="3606" y="3806"/>
                    </a:lnTo>
                    <a:lnTo>
                      <a:pt x="3618" y="3806"/>
                    </a:lnTo>
                    <a:lnTo>
                      <a:pt x="3618" y="3813"/>
                    </a:lnTo>
                    <a:lnTo>
                      <a:pt x="3617" y="3819"/>
                    </a:lnTo>
                    <a:lnTo>
                      <a:pt x="3614" y="3826"/>
                    </a:lnTo>
                    <a:lnTo>
                      <a:pt x="3610" y="3832"/>
                    </a:lnTo>
                    <a:lnTo>
                      <a:pt x="3609" y="3837"/>
                    </a:lnTo>
                    <a:lnTo>
                      <a:pt x="3608" y="3842"/>
                    </a:lnTo>
                    <a:lnTo>
                      <a:pt x="3608" y="3844"/>
                    </a:lnTo>
                    <a:lnTo>
                      <a:pt x="3609" y="3847"/>
                    </a:lnTo>
                    <a:lnTo>
                      <a:pt x="3610" y="3848"/>
                    </a:lnTo>
                    <a:lnTo>
                      <a:pt x="3613" y="3849"/>
                    </a:lnTo>
                    <a:lnTo>
                      <a:pt x="3615" y="3849"/>
                    </a:lnTo>
                    <a:lnTo>
                      <a:pt x="3618" y="3849"/>
                    </a:lnTo>
                    <a:lnTo>
                      <a:pt x="3620" y="3848"/>
                    </a:lnTo>
                    <a:lnTo>
                      <a:pt x="3621" y="3846"/>
                    </a:lnTo>
                    <a:lnTo>
                      <a:pt x="3625" y="3841"/>
                    </a:lnTo>
                    <a:lnTo>
                      <a:pt x="3629" y="3836"/>
                    </a:lnTo>
                    <a:lnTo>
                      <a:pt x="3632" y="3831"/>
                    </a:lnTo>
                    <a:lnTo>
                      <a:pt x="3637" y="3830"/>
                    </a:lnTo>
                    <a:lnTo>
                      <a:pt x="3639" y="3830"/>
                    </a:lnTo>
                    <a:lnTo>
                      <a:pt x="3641" y="3832"/>
                    </a:lnTo>
                    <a:lnTo>
                      <a:pt x="3643" y="3835"/>
                    </a:lnTo>
                    <a:lnTo>
                      <a:pt x="3646" y="3838"/>
                    </a:lnTo>
                    <a:lnTo>
                      <a:pt x="3647" y="3842"/>
                    </a:lnTo>
                    <a:lnTo>
                      <a:pt x="3647" y="3846"/>
                    </a:lnTo>
                    <a:lnTo>
                      <a:pt x="3647" y="3850"/>
                    </a:lnTo>
                    <a:lnTo>
                      <a:pt x="3646" y="3854"/>
                    </a:lnTo>
                    <a:lnTo>
                      <a:pt x="3642" y="3864"/>
                    </a:lnTo>
                    <a:lnTo>
                      <a:pt x="3636" y="3874"/>
                    </a:lnTo>
                    <a:lnTo>
                      <a:pt x="3630" y="3885"/>
                    </a:lnTo>
                    <a:lnTo>
                      <a:pt x="3625" y="3894"/>
                    </a:lnTo>
                    <a:lnTo>
                      <a:pt x="3620" y="3904"/>
                    </a:lnTo>
                    <a:lnTo>
                      <a:pt x="3618" y="3913"/>
                    </a:lnTo>
                    <a:lnTo>
                      <a:pt x="3614" y="3924"/>
                    </a:lnTo>
                    <a:lnTo>
                      <a:pt x="3610" y="3931"/>
                    </a:lnTo>
                    <a:lnTo>
                      <a:pt x="3608" y="3934"/>
                    </a:lnTo>
                    <a:lnTo>
                      <a:pt x="3606" y="3936"/>
                    </a:lnTo>
                    <a:lnTo>
                      <a:pt x="3603" y="3937"/>
                    </a:lnTo>
                    <a:lnTo>
                      <a:pt x="3599" y="3937"/>
                    </a:lnTo>
                    <a:lnTo>
                      <a:pt x="3586" y="3937"/>
                    </a:lnTo>
                    <a:lnTo>
                      <a:pt x="3565" y="3935"/>
                    </a:lnTo>
                    <a:lnTo>
                      <a:pt x="3565" y="3941"/>
                    </a:lnTo>
                    <a:lnTo>
                      <a:pt x="3568" y="3946"/>
                    </a:lnTo>
                    <a:lnTo>
                      <a:pt x="3569" y="3950"/>
                    </a:lnTo>
                    <a:lnTo>
                      <a:pt x="3571" y="3952"/>
                    </a:lnTo>
                    <a:lnTo>
                      <a:pt x="3579" y="3956"/>
                    </a:lnTo>
                    <a:lnTo>
                      <a:pt x="3586" y="3958"/>
                    </a:lnTo>
                    <a:lnTo>
                      <a:pt x="3593" y="3959"/>
                    </a:lnTo>
                    <a:lnTo>
                      <a:pt x="3599" y="3962"/>
                    </a:lnTo>
                    <a:lnTo>
                      <a:pt x="3602" y="3963"/>
                    </a:lnTo>
                    <a:lnTo>
                      <a:pt x="3604" y="3964"/>
                    </a:lnTo>
                    <a:lnTo>
                      <a:pt x="3606" y="3967"/>
                    </a:lnTo>
                    <a:lnTo>
                      <a:pt x="3606" y="3969"/>
                    </a:lnTo>
                    <a:lnTo>
                      <a:pt x="3612" y="3972"/>
                    </a:lnTo>
                    <a:lnTo>
                      <a:pt x="3618" y="3975"/>
                    </a:lnTo>
                    <a:lnTo>
                      <a:pt x="3623" y="3963"/>
                    </a:lnTo>
                    <a:lnTo>
                      <a:pt x="3635" y="3935"/>
                    </a:lnTo>
                    <a:lnTo>
                      <a:pt x="3643" y="3920"/>
                    </a:lnTo>
                    <a:lnTo>
                      <a:pt x="3653" y="3906"/>
                    </a:lnTo>
                    <a:lnTo>
                      <a:pt x="3658" y="3899"/>
                    </a:lnTo>
                    <a:lnTo>
                      <a:pt x="3664" y="3894"/>
                    </a:lnTo>
                    <a:lnTo>
                      <a:pt x="3669" y="3891"/>
                    </a:lnTo>
                    <a:lnTo>
                      <a:pt x="3674" y="3887"/>
                    </a:lnTo>
                    <a:lnTo>
                      <a:pt x="3683" y="3885"/>
                    </a:lnTo>
                    <a:lnTo>
                      <a:pt x="3692" y="3882"/>
                    </a:lnTo>
                    <a:lnTo>
                      <a:pt x="3702" y="3880"/>
                    </a:lnTo>
                    <a:lnTo>
                      <a:pt x="3712" y="3879"/>
                    </a:lnTo>
                    <a:lnTo>
                      <a:pt x="3734" y="3876"/>
                    </a:lnTo>
                    <a:lnTo>
                      <a:pt x="3756" y="3876"/>
                    </a:lnTo>
                    <a:lnTo>
                      <a:pt x="3800" y="3877"/>
                    </a:lnTo>
                    <a:lnTo>
                      <a:pt x="3839" y="3879"/>
                    </a:lnTo>
                    <a:lnTo>
                      <a:pt x="3849" y="3879"/>
                    </a:lnTo>
                    <a:lnTo>
                      <a:pt x="3858" y="3880"/>
                    </a:lnTo>
                    <a:lnTo>
                      <a:pt x="3867" y="3881"/>
                    </a:lnTo>
                    <a:lnTo>
                      <a:pt x="3876" y="3883"/>
                    </a:lnTo>
                    <a:lnTo>
                      <a:pt x="3893" y="3890"/>
                    </a:lnTo>
                    <a:lnTo>
                      <a:pt x="3909" y="3898"/>
                    </a:lnTo>
                    <a:lnTo>
                      <a:pt x="3924" y="3908"/>
                    </a:lnTo>
                    <a:lnTo>
                      <a:pt x="3938" y="3919"/>
                    </a:lnTo>
                    <a:lnTo>
                      <a:pt x="3953" y="3930"/>
                    </a:lnTo>
                    <a:lnTo>
                      <a:pt x="3967" y="3943"/>
                    </a:lnTo>
                    <a:lnTo>
                      <a:pt x="3973" y="3953"/>
                    </a:lnTo>
                    <a:lnTo>
                      <a:pt x="3980" y="3961"/>
                    </a:lnTo>
                    <a:lnTo>
                      <a:pt x="3989" y="3968"/>
                    </a:lnTo>
                    <a:lnTo>
                      <a:pt x="3997" y="3974"/>
                    </a:lnTo>
                    <a:lnTo>
                      <a:pt x="4007" y="3979"/>
                    </a:lnTo>
                    <a:lnTo>
                      <a:pt x="4017" y="3983"/>
                    </a:lnTo>
                    <a:lnTo>
                      <a:pt x="4028" y="3986"/>
                    </a:lnTo>
                    <a:lnTo>
                      <a:pt x="4039" y="3989"/>
                    </a:lnTo>
                    <a:lnTo>
                      <a:pt x="4084" y="3995"/>
                    </a:lnTo>
                    <a:lnTo>
                      <a:pt x="4127" y="4000"/>
                    </a:lnTo>
                    <a:lnTo>
                      <a:pt x="4136" y="4002"/>
                    </a:lnTo>
                    <a:lnTo>
                      <a:pt x="4144" y="4005"/>
                    </a:lnTo>
                    <a:lnTo>
                      <a:pt x="4150" y="4008"/>
                    </a:lnTo>
                    <a:lnTo>
                      <a:pt x="4155" y="4012"/>
                    </a:lnTo>
                    <a:lnTo>
                      <a:pt x="4165" y="4019"/>
                    </a:lnTo>
                    <a:lnTo>
                      <a:pt x="4172" y="4029"/>
                    </a:lnTo>
                    <a:lnTo>
                      <a:pt x="4180" y="4038"/>
                    </a:lnTo>
                    <a:lnTo>
                      <a:pt x="4187" y="4046"/>
                    </a:lnTo>
                    <a:lnTo>
                      <a:pt x="4192" y="4050"/>
                    </a:lnTo>
                    <a:lnTo>
                      <a:pt x="4198" y="4054"/>
                    </a:lnTo>
                    <a:lnTo>
                      <a:pt x="4204" y="4056"/>
                    </a:lnTo>
                    <a:lnTo>
                      <a:pt x="4213" y="4058"/>
                    </a:lnTo>
                    <a:lnTo>
                      <a:pt x="4210" y="4041"/>
                    </a:lnTo>
                    <a:lnTo>
                      <a:pt x="4208" y="4016"/>
                    </a:lnTo>
                    <a:lnTo>
                      <a:pt x="4208" y="4011"/>
                    </a:lnTo>
                    <a:lnTo>
                      <a:pt x="4209" y="4005"/>
                    </a:lnTo>
                    <a:lnTo>
                      <a:pt x="4210" y="4001"/>
                    </a:lnTo>
                    <a:lnTo>
                      <a:pt x="4213" y="3997"/>
                    </a:lnTo>
                    <a:lnTo>
                      <a:pt x="4216" y="3995"/>
                    </a:lnTo>
                    <a:lnTo>
                      <a:pt x="4220" y="3995"/>
                    </a:lnTo>
                    <a:lnTo>
                      <a:pt x="4225" y="3996"/>
                    </a:lnTo>
                    <a:lnTo>
                      <a:pt x="4231" y="4000"/>
                    </a:lnTo>
                    <a:lnTo>
                      <a:pt x="4238" y="4006"/>
                    </a:lnTo>
                    <a:lnTo>
                      <a:pt x="4242" y="4013"/>
                    </a:lnTo>
                    <a:lnTo>
                      <a:pt x="4246" y="4021"/>
                    </a:lnTo>
                    <a:lnTo>
                      <a:pt x="4248" y="4027"/>
                    </a:lnTo>
                    <a:lnTo>
                      <a:pt x="4252" y="4032"/>
                    </a:lnTo>
                    <a:lnTo>
                      <a:pt x="4255" y="4034"/>
                    </a:lnTo>
                    <a:lnTo>
                      <a:pt x="4258" y="4034"/>
                    </a:lnTo>
                    <a:lnTo>
                      <a:pt x="4260" y="4033"/>
                    </a:lnTo>
                    <a:lnTo>
                      <a:pt x="4264" y="4032"/>
                    </a:lnTo>
                    <a:lnTo>
                      <a:pt x="4269" y="4028"/>
                    </a:lnTo>
                    <a:lnTo>
                      <a:pt x="4284" y="4016"/>
                    </a:lnTo>
                    <a:lnTo>
                      <a:pt x="4303" y="4003"/>
                    </a:lnTo>
                    <a:lnTo>
                      <a:pt x="4324" y="3991"/>
                    </a:lnTo>
                    <a:lnTo>
                      <a:pt x="4349" y="3979"/>
                    </a:lnTo>
                    <a:lnTo>
                      <a:pt x="4374" y="3968"/>
                    </a:lnTo>
                    <a:lnTo>
                      <a:pt x="4400" y="3958"/>
                    </a:lnTo>
                    <a:lnTo>
                      <a:pt x="4428" y="3950"/>
                    </a:lnTo>
                    <a:lnTo>
                      <a:pt x="4454" y="3945"/>
                    </a:lnTo>
                    <a:lnTo>
                      <a:pt x="4467" y="3942"/>
                    </a:lnTo>
                    <a:lnTo>
                      <a:pt x="4481" y="3941"/>
                    </a:lnTo>
                    <a:lnTo>
                      <a:pt x="4493" y="3940"/>
                    </a:lnTo>
                    <a:lnTo>
                      <a:pt x="4505" y="3941"/>
                    </a:lnTo>
                    <a:lnTo>
                      <a:pt x="4516" y="3942"/>
                    </a:lnTo>
                    <a:lnTo>
                      <a:pt x="4527" y="3943"/>
                    </a:lnTo>
                    <a:lnTo>
                      <a:pt x="4537" y="3947"/>
                    </a:lnTo>
                    <a:lnTo>
                      <a:pt x="4547" y="3952"/>
                    </a:lnTo>
                    <a:lnTo>
                      <a:pt x="4555" y="3957"/>
                    </a:lnTo>
                    <a:lnTo>
                      <a:pt x="4563" y="3963"/>
                    </a:lnTo>
                    <a:lnTo>
                      <a:pt x="4570" y="3970"/>
                    </a:lnTo>
                    <a:lnTo>
                      <a:pt x="4576" y="3980"/>
                    </a:lnTo>
                    <a:lnTo>
                      <a:pt x="4580" y="3990"/>
                    </a:lnTo>
                    <a:lnTo>
                      <a:pt x="4584" y="4002"/>
                    </a:lnTo>
                    <a:lnTo>
                      <a:pt x="4586" y="4016"/>
                    </a:lnTo>
                    <a:lnTo>
                      <a:pt x="4586" y="4029"/>
                    </a:lnTo>
                    <a:lnTo>
                      <a:pt x="4588" y="4034"/>
                    </a:lnTo>
                    <a:lnTo>
                      <a:pt x="4591" y="4040"/>
                    </a:lnTo>
                    <a:lnTo>
                      <a:pt x="4596" y="4045"/>
                    </a:lnTo>
                    <a:lnTo>
                      <a:pt x="4599" y="4051"/>
                    </a:lnTo>
                    <a:lnTo>
                      <a:pt x="4602" y="4055"/>
                    </a:lnTo>
                    <a:lnTo>
                      <a:pt x="4602" y="4060"/>
                    </a:lnTo>
                    <a:lnTo>
                      <a:pt x="4601" y="4061"/>
                    </a:lnTo>
                    <a:lnTo>
                      <a:pt x="4598" y="4062"/>
                    </a:lnTo>
                    <a:lnTo>
                      <a:pt x="4595" y="4062"/>
                    </a:lnTo>
                    <a:lnTo>
                      <a:pt x="4590" y="4062"/>
                    </a:lnTo>
                    <a:lnTo>
                      <a:pt x="4587" y="4063"/>
                    </a:lnTo>
                    <a:lnTo>
                      <a:pt x="4585" y="4063"/>
                    </a:lnTo>
                    <a:lnTo>
                      <a:pt x="4582" y="4065"/>
                    </a:lnTo>
                    <a:lnTo>
                      <a:pt x="4581" y="4067"/>
                    </a:lnTo>
                    <a:lnTo>
                      <a:pt x="4580" y="4071"/>
                    </a:lnTo>
                    <a:lnTo>
                      <a:pt x="4581" y="4074"/>
                    </a:lnTo>
                    <a:lnTo>
                      <a:pt x="4582" y="4079"/>
                    </a:lnTo>
                    <a:lnTo>
                      <a:pt x="4585" y="4083"/>
                    </a:lnTo>
                    <a:lnTo>
                      <a:pt x="4587" y="4084"/>
                    </a:lnTo>
                    <a:lnTo>
                      <a:pt x="4590" y="4085"/>
                    </a:lnTo>
                    <a:lnTo>
                      <a:pt x="4615" y="4076"/>
                    </a:lnTo>
                    <a:lnTo>
                      <a:pt x="4637" y="4065"/>
                    </a:lnTo>
                    <a:lnTo>
                      <a:pt x="4658" y="4055"/>
                    </a:lnTo>
                    <a:lnTo>
                      <a:pt x="4679" y="4045"/>
                    </a:lnTo>
                    <a:lnTo>
                      <a:pt x="4689" y="4041"/>
                    </a:lnTo>
                    <a:lnTo>
                      <a:pt x="4700" y="4038"/>
                    </a:lnTo>
                    <a:lnTo>
                      <a:pt x="4711" y="4035"/>
                    </a:lnTo>
                    <a:lnTo>
                      <a:pt x="4723" y="4033"/>
                    </a:lnTo>
                    <a:lnTo>
                      <a:pt x="4735" y="4032"/>
                    </a:lnTo>
                    <a:lnTo>
                      <a:pt x="4749" y="4030"/>
                    </a:lnTo>
                    <a:lnTo>
                      <a:pt x="4763" y="4032"/>
                    </a:lnTo>
                    <a:lnTo>
                      <a:pt x="4778" y="4033"/>
                    </a:lnTo>
                    <a:lnTo>
                      <a:pt x="4789" y="4038"/>
                    </a:lnTo>
                    <a:lnTo>
                      <a:pt x="4798" y="4041"/>
                    </a:lnTo>
                    <a:lnTo>
                      <a:pt x="4805" y="4046"/>
                    </a:lnTo>
                    <a:lnTo>
                      <a:pt x="4812" y="4051"/>
                    </a:lnTo>
                    <a:lnTo>
                      <a:pt x="4826" y="4062"/>
                    </a:lnTo>
                    <a:lnTo>
                      <a:pt x="4841" y="4076"/>
                    </a:lnTo>
                    <a:lnTo>
                      <a:pt x="4844" y="4077"/>
                    </a:lnTo>
                    <a:lnTo>
                      <a:pt x="4850" y="4078"/>
                    </a:lnTo>
                    <a:lnTo>
                      <a:pt x="4858" y="4078"/>
                    </a:lnTo>
                    <a:lnTo>
                      <a:pt x="4867" y="4077"/>
                    </a:lnTo>
                    <a:lnTo>
                      <a:pt x="4888" y="4073"/>
                    </a:lnTo>
                    <a:lnTo>
                      <a:pt x="4913" y="4069"/>
                    </a:lnTo>
                    <a:lnTo>
                      <a:pt x="4937" y="4063"/>
                    </a:lnTo>
                    <a:lnTo>
                      <a:pt x="4959" y="4057"/>
                    </a:lnTo>
                    <a:lnTo>
                      <a:pt x="4978" y="4051"/>
                    </a:lnTo>
                    <a:lnTo>
                      <a:pt x="4989" y="4047"/>
                    </a:lnTo>
                    <a:lnTo>
                      <a:pt x="5008" y="4033"/>
                    </a:lnTo>
                    <a:lnTo>
                      <a:pt x="5033" y="4014"/>
                    </a:lnTo>
                    <a:lnTo>
                      <a:pt x="5045" y="4006"/>
                    </a:lnTo>
                    <a:lnTo>
                      <a:pt x="5057" y="3997"/>
                    </a:lnTo>
                    <a:lnTo>
                      <a:pt x="5068" y="3992"/>
                    </a:lnTo>
                    <a:lnTo>
                      <a:pt x="5077" y="3990"/>
                    </a:lnTo>
                    <a:lnTo>
                      <a:pt x="5087" y="3991"/>
                    </a:lnTo>
                    <a:lnTo>
                      <a:pt x="5094" y="3992"/>
                    </a:lnTo>
                    <a:lnTo>
                      <a:pt x="5101" y="3996"/>
                    </a:lnTo>
                    <a:lnTo>
                      <a:pt x="5109" y="3999"/>
                    </a:lnTo>
                    <a:lnTo>
                      <a:pt x="5115" y="4001"/>
                    </a:lnTo>
                    <a:lnTo>
                      <a:pt x="5122" y="4002"/>
                    </a:lnTo>
                    <a:lnTo>
                      <a:pt x="5132" y="4002"/>
                    </a:lnTo>
                    <a:lnTo>
                      <a:pt x="5142" y="3999"/>
                    </a:lnTo>
                    <a:lnTo>
                      <a:pt x="5282" y="3931"/>
                    </a:lnTo>
                    <a:lnTo>
                      <a:pt x="5307" y="3920"/>
                    </a:lnTo>
                    <a:lnTo>
                      <a:pt x="5333" y="3912"/>
                    </a:lnTo>
                    <a:lnTo>
                      <a:pt x="5360" y="3904"/>
                    </a:lnTo>
                    <a:lnTo>
                      <a:pt x="5386" y="3899"/>
                    </a:lnTo>
                    <a:lnTo>
                      <a:pt x="5413" y="3894"/>
                    </a:lnTo>
                    <a:lnTo>
                      <a:pt x="5442" y="3891"/>
                    </a:lnTo>
                    <a:lnTo>
                      <a:pt x="5468" y="3887"/>
                    </a:lnTo>
                    <a:lnTo>
                      <a:pt x="5495" y="3883"/>
                    </a:lnTo>
                    <a:lnTo>
                      <a:pt x="5506" y="3885"/>
                    </a:lnTo>
                    <a:lnTo>
                      <a:pt x="5516" y="3885"/>
                    </a:lnTo>
                    <a:lnTo>
                      <a:pt x="5526" y="3883"/>
                    </a:lnTo>
                    <a:lnTo>
                      <a:pt x="5535" y="3882"/>
                    </a:lnTo>
                    <a:lnTo>
                      <a:pt x="5543" y="3882"/>
                    </a:lnTo>
                    <a:lnTo>
                      <a:pt x="5552" y="3883"/>
                    </a:lnTo>
                    <a:lnTo>
                      <a:pt x="5557" y="3885"/>
                    </a:lnTo>
                    <a:lnTo>
                      <a:pt x="5560" y="3887"/>
                    </a:lnTo>
                    <a:lnTo>
                      <a:pt x="5565" y="3891"/>
                    </a:lnTo>
                    <a:lnTo>
                      <a:pt x="5570" y="3894"/>
                    </a:lnTo>
                    <a:lnTo>
                      <a:pt x="5573" y="3894"/>
                    </a:lnTo>
                    <a:lnTo>
                      <a:pt x="5579" y="3893"/>
                    </a:lnTo>
                    <a:lnTo>
                      <a:pt x="5587" y="3890"/>
                    </a:lnTo>
                    <a:lnTo>
                      <a:pt x="5596" y="3886"/>
                    </a:lnTo>
                    <a:lnTo>
                      <a:pt x="5614" y="3877"/>
                    </a:lnTo>
                    <a:lnTo>
                      <a:pt x="5628" y="3872"/>
                    </a:lnTo>
                    <a:lnTo>
                      <a:pt x="5642" y="3870"/>
                    </a:lnTo>
                    <a:lnTo>
                      <a:pt x="5657" y="3870"/>
                    </a:lnTo>
                    <a:lnTo>
                      <a:pt x="5669" y="3871"/>
                    </a:lnTo>
                    <a:lnTo>
                      <a:pt x="5681" y="3874"/>
                    </a:lnTo>
                    <a:lnTo>
                      <a:pt x="5694" y="3879"/>
                    </a:lnTo>
                    <a:lnTo>
                      <a:pt x="5705" y="3883"/>
                    </a:lnTo>
                    <a:lnTo>
                      <a:pt x="5716" y="3890"/>
                    </a:lnTo>
                    <a:lnTo>
                      <a:pt x="5726" y="3896"/>
                    </a:lnTo>
                    <a:lnTo>
                      <a:pt x="5745" y="3912"/>
                    </a:lnTo>
                    <a:lnTo>
                      <a:pt x="5765" y="3930"/>
                    </a:lnTo>
                    <a:lnTo>
                      <a:pt x="5783" y="3950"/>
                    </a:lnTo>
                    <a:lnTo>
                      <a:pt x="5801" y="3970"/>
                    </a:lnTo>
                    <a:lnTo>
                      <a:pt x="5819" y="3987"/>
                    </a:lnTo>
                    <a:lnTo>
                      <a:pt x="5838" y="4005"/>
                    </a:lnTo>
                    <a:lnTo>
                      <a:pt x="5848" y="4013"/>
                    </a:lnTo>
                    <a:lnTo>
                      <a:pt x="5856" y="4022"/>
                    </a:lnTo>
                    <a:lnTo>
                      <a:pt x="5865" y="4030"/>
                    </a:lnTo>
                    <a:lnTo>
                      <a:pt x="5872" y="4040"/>
                    </a:lnTo>
                    <a:lnTo>
                      <a:pt x="5891" y="4069"/>
                    </a:lnTo>
                    <a:lnTo>
                      <a:pt x="5898" y="4077"/>
                    </a:lnTo>
                    <a:lnTo>
                      <a:pt x="5902" y="4076"/>
                    </a:lnTo>
                    <a:lnTo>
                      <a:pt x="5907" y="4074"/>
                    </a:lnTo>
                    <a:lnTo>
                      <a:pt x="5915" y="4072"/>
                    </a:lnTo>
                    <a:lnTo>
                      <a:pt x="5929" y="4071"/>
                    </a:lnTo>
                    <a:lnTo>
                      <a:pt x="5931" y="4078"/>
                    </a:lnTo>
                    <a:lnTo>
                      <a:pt x="5934" y="4084"/>
                    </a:lnTo>
                    <a:lnTo>
                      <a:pt x="5937" y="4088"/>
                    </a:lnTo>
                    <a:lnTo>
                      <a:pt x="5940" y="4091"/>
                    </a:lnTo>
                    <a:lnTo>
                      <a:pt x="5945" y="4094"/>
                    </a:lnTo>
                    <a:lnTo>
                      <a:pt x="5948" y="4096"/>
                    </a:lnTo>
                    <a:lnTo>
                      <a:pt x="5953" y="4098"/>
                    </a:lnTo>
                    <a:lnTo>
                      <a:pt x="5958" y="4098"/>
                    </a:lnTo>
                    <a:lnTo>
                      <a:pt x="5968" y="4099"/>
                    </a:lnTo>
                    <a:lnTo>
                      <a:pt x="5979" y="4099"/>
                    </a:lnTo>
                    <a:lnTo>
                      <a:pt x="5991" y="4100"/>
                    </a:lnTo>
                    <a:lnTo>
                      <a:pt x="6003" y="4104"/>
                    </a:lnTo>
                    <a:lnTo>
                      <a:pt x="6008" y="4105"/>
                    </a:lnTo>
                    <a:lnTo>
                      <a:pt x="6011" y="4109"/>
                    </a:lnTo>
                    <a:lnTo>
                      <a:pt x="6014" y="4111"/>
                    </a:lnTo>
                    <a:lnTo>
                      <a:pt x="6016" y="4115"/>
                    </a:lnTo>
                    <a:lnTo>
                      <a:pt x="6020" y="4121"/>
                    </a:lnTo>
                    <a:lnTo>
                      <a:pt x="6024" y="4128"/>
                    </a:lnTo>
                    <a:lnTo>
                      <a:pt x="6028" y="4134"/>
                    </a:lnTo>
                    <a:lnTo>
                      <a:pt x="6034" y="4139"/>
                    </a:lnTo>
                    <a:lnTo>
                      <a:pt x="6038" y="4140"/>
                    </a:lnTo>
                    <a:lnTo>
                      <a:pt x="6041" y="4142"/>
                    </a:lnTo>
                    <a:lnTo>
                      <a:pt x="6047" y="4143"/>
                    </a:lnTo>
                    <a:lnTo>
                      <a:pt x="6054" y="4142"/>
                    </a:lnTo>
                    <a:lnTo>
                      <a:pt x="6061" y="4142"/>
                    </a:lnTo>
                    <a:lnTo>
                      <a:pt x="6069" y="4142"/>
                    </a:lnTo>
                    <a:lnTo>
                      <a:pt x="6077" y="4143"/>
                    </a:lnTo>
                    <a:lnTo>
                      <a:pt x="6083" y="4145"/>
                    </a:lnTo>
                    <a:lnTo>
                      <a:pt x="6096" y="4151"/>
                    </a:lnTo>
                    <a:lnTo>
                      <a:pt x="6109" y="4159"/>
                    </a:lnTo>
                    <a:lnTo>
                      <a:pt x="6121" y="4167"/>
                    </a:lnTo>
                    <a:lnTo>
                      <a:pt x="6134" y="4176"/>
                    </a:lnTo>
                    <a:lnTo>
                      <a:pt x="6140" y="4180"/>
                    </a:lnTo>
                    <a:lnTo>
                      <a:pt x="6148" y="4183"/>
                    </a:lnTo>
                    <a:lnTo>
                      <a:pt x="6155" y="4187"/>
                    </a:lnTo>
                    <a:lnTo>
                      <a:pt x="6162" y="4188"/>
                    </a:lnTo>
                    <a:lnTo>
                      <a:pt x="6173" y="4191"/>
                    </a:lnTo>
                    <a:lnTo>
                      <a:pt x="6182" y="4191"/>
                    </a:lnTo>
                    <a:lnTo>
                      <a:pt x="6191" y="4189"/>
                    </a:lnTo>
                    <a:lnTo>
                      <a:pt x="6199" y="4188"/>
                    </a:lnTo>
                    <a:lnTo>
                      <a:pt x="6205" y="4186"/>
                    </a:lnTo>
                    <a:lnTo>
                      <a:pt x="6213" y="4182"/>
                    </a:lnTo>
                    <a:lnTo>
                      <a:pt x="6219" y="4177"/>
                    </a:lnTo>
                    <a:lnTo>
                      <a:pt x="6225" y="4172"/>
                    </a:lnTo>
                    <a:lnTo>
                      <a:pt x="6248" y="4149"/>
                    </a:lnTo>
                    <a:lnTo>
                      <a:pt x="6271" y="4122"/>
                    </a:lnTo>
                    <a:lnTo>
                      <a:pt x="6300" y="4120"/>
                    </a:lnTo>
                    <a:lnTo>
                      <a:pt x="6333" y="4115"/>
                    </a:lnTo>
                    <a:lnTo>
                      <a:pt x="6340" y="4114"/>
                    </a:lnTo>
                    <a:lnTo>
                      <a:pt x="6347" y="4111"/>
                    </a:lnTo>
                    <a:lnTo>
                      <a:pt x="6355" y="4107"/>
                    </a:lnTo>
                    <a:lnTo>
                      <a:pt x="6361" y="4104"/>
                    </a:lnTo>
                    <a:lnTo>
                      <a:pt x="6366" y="4100"/>
                    </a:lnTo>
                    <a:lnTo>
                      <a:pt x="6369" y="4095"/>
                    </a:lnTo>
                    <a:lnTo>
                      <a:pt x="6373" y="4090"/>
                    </a:lnTo>
                    <a:lnTo>
                      <a:pt x="6374" y="4084"/>
                    </a:lnTo>
                    <a:lnTo>
                      <a:pt x="6377" y="4073"/>
                    </a:lnTo>
                    <a:lnTo>
                      <a:pt x="6383" y="4062"/>
                    </a:lnTo>
                    <a:lnTo>
                      <a:pt x="6389" y="4052"/>
                    </a:lnTo>
                    <a:lnTo>
                      <a:pt x="6396" y="4046"/>
                    </a:lnTo>
                    <a:lnTo>
                      <a:pt x="6401" y="4044"/>
                    </a:lnTo>
                    <a:lnTo>
                      <a:pt x="6405" y="4043"/>
                    </a:lnTo>
                    <a:lnTo>
                      <a:pt x="6410" y="4043"/>
                    </a:lnTo>
                    <a:lnTo>
                      <a:pt x="6413" y="4043"/>
                    </a:lnTo>
                    <a:lnTo>
                      <a:pt x="6417" y="4045"/>
                    </a:lnTo>
                    <a:lnTo>
                      <a:pt x="6421" y="4049"/>
                    </a:lnTo>
                    <a:lnTo>
                      <a:pt x="6423" y="4054"/>
                    </a:lnTo>
                    <a:lnTo>
                      <a:pt x="6427" y="4060"/>
                    </a:lnTo>
                    <a:lnTo>
                      <a:pt x="6432" y="4060"/>
                    </a:lnTo>
                    <a:lnTo>
                      <a:pt x="6438" y="4057"/>
                    </a:lnTo>
                    <a:lnTo>
                      <a:pt x="6445" y="4054"/>
                    </a:lnTo>
                    <a:lnTo>
                      <a:pt x="6453" y="4049"/>
                    </a:lnTo>
                    <a:lnTo>
                      <a:pt x="6468" y="4038"/>
                    </a:lnTo>
                    <a:lnTo>
                      <a:pt x="6486" y="4024"/>
                    </a:lnTo>
                    <a:lnTo>
                      <a:pt x="6502" y="4011"/>
                    </a:lnTo>
                    <a:lnTo>
                      <a:pt x="6519" y="3997"/>
                    </a:lnTo>
                    <a:lnTo>
                      <a:pt x="6527" y="3992"/>
                    </a:lnTo>
                    <a:lnTo>
                      <a:pt x="6535" y="3987"/>
                    </a:lnTo>
                    <a:lnTo>
                      <a:pt x="6542" y="3983"/>
                    </a:lnTo>
                    <a:lnTo>
                      <a:pt x="6549" y="3980"/>
                    </a:lnTo>
                    <a:lnTo>
                      <a:pt x="6564" y="3975"/>
                    </a:lnTo>
                    <a:lnTo>
                      <a:pt x="6579" y="3973"/>
                    </a:lnTo>
                    <a:lnTo>
                      <a:pt x="6595" y="3970"/>
                    </a:lnTo>
                    <a:lnTo>
                      <a:pt x="6610" y="3969"/>
                    </a:lnTo>
                    <a:lnTo>
                      <a:pt x="6626" y="3969"/>
                    </a:lnTo>
                    <a:lnTo>
                      <a:pt x="6641" y="3970"/>
                    </a:lnTo>
                    <a:lnTo>
                      <a:pt x="6657" y="3973"/>
                    </a:lnTo>
                    <a:lnTo>
                      <a:pt x="6672" y="3976"/>
                    </a:lnTo>
                    <a:lnTo>
                      <a:pt x="6680" y="3979"/>
                    </a:lnTo>
                    <a:lnTo>
                      <a:pt x="6688" y="3983"/>
                    </a:lnTo>
                    <a:lnTo>
                      <a:pt x="6692" y="3987"/>
                    </a:lnTo>
                    <a:lnTo>
                      <a:pt x="6697" y="3992"/>
                    </a:lnTo>
                    <a:lnTo>
                      <a:pt x="6703" y="4006"/>
                    </a:lnTo>
                    <a:lnTo>
                      <a:pt x="6710" y="4021"/>
                    </a:lnTo>
                    <a:lnTo>
                      <a:pt x="6712" y="4027"/>
                    </a:lnTo>
                    <a:lnTo>
                      <a:pt x="6717" y="4033"/>
                    </a:lnTo>
                    <a:lnTo>
                      <a:pt x="6726" y="4041"/>
                    </a:lnTo>
                    <a:lnTo>
                      <a:pt x="6735" y="4049"/>
                    </a:lnTo>
                    <a:lnTo>
                      <a:pt x="6746" y="4058"/>
                    </a:lnTo>
                    <a:lnTo>
                      <a:pt x="6759" y="4067"/>
                    </a:lnTo>
                    <a:lnTo>
                      <a:pt x="6771" y="4076"/>
                    </a:lnTo>
                    <a:lnTo>
                      <a:pt x="6784" y="4083"/>
                    </a:lnTo>
                    <a:lnTo>
                      <a:pt x="6798" y="4090"/>
                    </a:lnTo>
                    <a:lnTo>
                      <a:pt x="6811" y="4096"/>
                    </a:lnTo>
                    <a:lnTo>
                      <a:pt x="6823" y="4101"/>
                    </a:lnTo>
                    <a:lnTo>
                      <a:pt x="6834" y="4104"/>
                    </a:lnTo>
                    <a:lnTo>
                      <a:pt x="6844" y="4105"/>
                    </a:lnTo>
                    <a:lnTo>
                      <a:pt x="6852" y="4103"/>
                    </a:lnTo>
                    <a:lnTo>
                      <a:pt x="6855" y="4101"/>
                    </a:lnTo>
                    <a:lnTo>
                      <a:pt x="6858" y="4099"/>
                    </a:lnTo>
                    <a:lnTo>
                      <a:pt x="6859" y="4095"/>
                    </a:lnTo>
                    <a:lnTo>
                      <a:pt x="6860" y="4091"/>
                    </a:lnTo>
                    <a:lnTo>
                      <a:pt x="6866" y="4093"/>
                    </a:lnTo>
                    <a:lnTo>
                      <a:pt x="6870" y="4095"/>
                    </a:lnTo>
                    <a:lnTo>
                      <a:pt x="6875" y="4100"/>
                    </a:lnTo>
                    <a:lnTo>
                      <a:pt x="6877" y="4106"/>
                    </a:lnTo>
                    <a:lnTo>
                      <a:pt x="6882" y="4122"/>
                    </a:lnTo>
                    <a:lnTo>
                      <a:pt x="6885" y="4142"/>
                    </a:lnTo>
                    <a:lnTo>
                      <a:pt x="6888" y="4180"/>
                    </a:lnTo>
                    <a:lnTo>
                      <a:pt x="6892" y="4205"/>
                    </a:lnTo>
                    <a:lnTo>
                      <a:pt x="6897" y="4218"/>
                    </a:lnTo>
                    <a:lnTo>
                      <a:pt x="6901" y="4224"/>
                    </a:lnTo>
                    <a:lnTo>
                      <a:pt x="6903" y="4226"/>
                    </a:lnTo>
                    <a:lnTo>
                      <a:pt x="6904" y="4226"/>
                    </a:lnTo>
                    <a:lnTo>
                      <a:pt x="6907" y="4226"/>
                    </a:lnTo>
                    <a:lnTo>
                      <a:pt x="6908" y="4226"/>
                    </a:lnTo>
                    <a:lnTo>
                      <a:pt x="6918" y="4219"/>
                    </a:lnTo>
                    <a:lnTo>
                      <a:pt x="6936" y="4208"/>
                    </a:lnTo>
                    <a:lnTo>
                      <a:pt x="6946" y="4204"/>
                    </a:lnTo>
                    <a:lnTo>
                      <a:pt x="6961" y="4200"/>
                    </a:lnTo>
                    <a:lnTo>
                      <a:pt x="6979" y="4196"/>
                    </a:lnTo>
                    <a:lnTo>
                      <a:pt x="6998" y="4192"/>
                    </a:lnTo>
                    <a:lnTo>
                      <a:pt x="7008" y="4191"/>
                    </a:lnTo>
                    <a:lnTo>
                      <a:pt x="7017" y="4191"/>
                    </a:lnTo>
                    <a:lnTo>
                      <a:pt x="7025" y="4191"/>
                    </a:lnTo>
                    <a:lnTo>
                      <a:pt x="7033" y="4192"/>
                    </a:lnTo>
                    <a:lnTo>
                      <a:pt x="7040" y="4194"/>
                    </a:lnTo>
                    <a:lnTo>
                      <a:pt x="7045" y="4197"/>
                    </a:lnTo>
                    <a:lnTo>
                      <a:pt x="7047" y="4202"/>
                    </a:lnTo>
                    <a:lnTo>
                      <a:pt x="7049" y="4207"/>
                    </a:lnTo>
                    <a:lnTo>
                      <a:pt x="7057" y="4219"/>
                    </a:lnTo>
                    <a:lnTo>
                      <a:pt x="7072" y="4233"/>
                    </a:lnTo>
                    <a:lnTo>
                      <a:pt x="7090" y="4251"/>
                    </a:lnTo>
                    <a:lnTo>
                      <a:pt x="7111" y="4268"/>
                    </a:lnTo>
                    <a:lnTo>
                      <a:pt x="7133" y="4282"/>
                    </a:lnTo>
                    <a:lnTo>
                      <a:pt x="7153" y="4295"/>
                    </a:lnTo>
                    <a:lnTo>
                      <a:pt x="7162" y="4300"/>
                    </a:lnTo>
                    <a:lnTo>
                      <a:pt x="7170" y="4303"/>
                    </a:lnTo>
                    <a:lnTo>
                      <a:pt x="7177" y="4304"/>
                    </a:lnTo>
                    <a:lnTo>
                      <a:pt x="7183" y="4304"/>
                    </a:lnTo>
                    <a:lnTo>
                      <a:pt x="7186" y="4295"/>
                    </a:lnTo>
                    <a:lnTo>
                      <a:pt x="7189" y="4285"/>
                    </a:lnTo>
                    <a:lnTo>
                      <a:pt x="7194" y="4276"/>
                    </a:lnTo>
                    <a:lnTo>
                      <a:pt x="7200" y="4268"/>
                    </a:lnTo>
                    <a:lnTo>
                      <a:pt x="7208" y="4259"/>
                    </a:lnTo>
                    <a:lnTo>
                      <a:pt x="7215" y="4251"/>
                    </a:lnTo>
                    <a:lnTo>
                      <a:pt x="7224" y="4243"/>
                    </a:lnTo>
                    <a:lnTo>
                      <a:pt x="7233" y="4236"/>
                    </a:lnTo>
                    <a:lnTo>
                      <a:pt x="7253" y="4221"/>
                    </a:lnTo>
                    <a:lnTo>
                      <a:pt x="7274" y="4208"/>
                    </a:lnTo>
                    <a:lnTo>
                      <a:pt x="7295" y="4197"/>
                    </a:lnTo>
                    <a:lnTo>
                      <a:pt x="7315" y="4188"/>
                    </a:lnTo>
                    <a:lnTo>
                      <a:pt x="7331" y="4181"/>
                    </a:lnTo>
                    <a:lnTo>
                      <a:pt x="7346" y="4171"/>
                    </a:lnTo>
                    <a:lnTo>
                      <a:pt x="7358" y="4161"/>
                    </a:lnTo>
                    <a:lnTo>
                      <a:pt x="7371" y="4151"/>
                    </a:lnTo>
                    <a:lnTo>
                      <a:pt x="7394" y="4129"/>
                    </a:lnTo>
                    <a:lnTo>
                      <a:pt x="7416" y="4111"/>
                    </a:lnTo>
                    <a:lnTo>
                      <a:pt x="7427" y="4104"/>
                    </a:lnTo>
                    <a:lnTo>
                      <a:pt x="7438" y="4098"/>
                    </a:lnTo>
                    <a:lnTo>
                      <a:pt x="7444" y="4095"/>
                    </a:lnTo>
                    <a:lnTo>
                      <a:pt x="7450" y="4093"/>
                    </a:lnTo>
                    <a:lnTo>
                      <a:pt x="7456" y="4091"/>
                    </a:lnTo>
                    <a:lnTo>
                      <a:pt x="7464" y="4091"/>
                    </a:lnTo>
                    <a:lnTo>
                      <a:pt x="7471" y="4091"/>
                    </a:lnTo>
                    <a:lnTo>
                      <a:pt x="7478" y="4091"/>
                    </a:lnTo>
                    <a:lnTo>
                      <a:pt x="7486" y="4094"/>
                    </a:lnTo>
                    <a:lnTo>
                      <a:pt x="7493" y="4096"/>
                    </a:lnTo>
                    <a:lnTo>
                      <a:pt x="7502" y="4099"/>
                    </a:lnTo>
                    <a:lnTo>
                      <a:pt x="7510" y="4103"/>
                    </a:lnTo>
                    <a:lnTo>
                      <a:pt x="7520" y="4109"/>
                    </a:lnTo>
                    <a:lnTo>
                      <a:pt x="7530" y="4114"/>
                    </a:lnTo>
                    <a:lnTo>
                      <a:pt x="7549" y="4125"/>
                    </a:lnTo>
                    <a:lnTo>
                      <a:pt x="7579" y="4138"/>
                    </a:lnTo>
                    <a:lnTo>
                      <a:pt x="7614" y="4153"/>
                    </a:lnTo>
                    <a:lnTo>
                      <a:pt x="7647" y="4170"/>
                    </a:lnTo>
                    <a:lnTo>
                      <a:pt x="7662" y="4178"/>
                    </a:lnTo>
                    <a:lnTo>
                      <a:pt x="7674" y="4187"/>
                    </a:lnTo>
                    <a:lnTo>
                      <a:pt x="7679" y="4191"/>
                    </a:lnTo>
                    <a:lnTo>
                      <a:pt x="7684" y="4194"/>
                    </a:lnTo>
                    <a:lnTo>
                      <a:pt x="7686" y="4199"/>
                    </a:lnTo>
                    <a:lnTo>
                      <a:pt x="7689" y="4203"/>
                    </a:lnTo>
                    <a:lnTo>
                      <a:pt x="7690" y="4207"/>
                    </a:lnTo>
                    <a:lnTo>
                      <a:pt x="7690" y="4209"/>
                    </a:lnTo>
                    <a:lnTo>
                      <a:pt x="7689" y="4213"/>
                    </a:lnTo>
                    <a:lnTo>
                      <a:pt x="7685" y="4216"/>
                    </a:lnTo>
                    <a:lnTo>
                      <a:pt x="7681" y="4219"/>
                    </a:lnTo>
                    <a:lnTo>
                      <a:pt x="7675" y="4221"/>
                    </a:lnTo>
                    <a:lnTo>
                      <a:pt x="7668" y="4224"/>
                    </a:lnTo>
                    <a:lnTo>
                      <a:pt x="7658" y="4226"/>
                    </a:lnTo>
                    <a:lnTo>
                      <a:pt x="7656" y="4237"/>
                    </a:lnTo>
                    <a:lnTo>
                      <a:pt x="7652" y="4246"/>
                    </a:lnTo>
                    <a:lnTo>
                      <a:pt x="7648" y="4253"/>
                    </a:lnTo>
                    <a:lnTo>
                      <a:pt x="7644" y="4257"/>
                    </a:lnTo>
                    <a:lnTo>
                      <a:pt x="7637" y="4260"/>
                    </a:lnTo>
                    <a:lnTo>
                      <a:pt x="7631" y="4262"/>
                    </a:lnTo>
                    <a:lnTo>
                      <a:pt x="7624" y="4262"/>
                    </a:lnTo>
                    <a:lnTo>
                      <a:pt x="7617" y="4260"/>
                    </a:lnTo>
                    <a:lnTo>
                      <a:pt x="7580" y="4249"/>
                    </a:lnTo>
                    <a:lnTo>
                      <a:pt x="7541" y="4238"/>
                    </a:lnTo>
                    <a:lnTo>
                      <a:pt x="7461" y="4226"/>
                    </a:lnTo>
                    <a:lnTo>
                      <a:pt x="7453" y="4225"/>
                    </a:lnTo>
                    <a:lnTo>
                      <a:pt x="7443" y="4225"/>
                    </a:lnTo>
                    <a:lnTo>
                      <a:pt x="7438" y="4225"/>
                    </a:lnTo>
                    <a:lnTo>
                      <a:pt x="7435" y="4227"/>
                    </a:lnTo>
                    <a:lnTo>
                      <a:pt x="7437" y="4229"/>
                    </a:lnTo>
                    <a:lnTo>
                      <a:pt x="7440" y="4232"/>
                    </a:lnTo>
                    <a:lnTo>
                      <a:pt x="7448" y="4237"/>
                    </a:lnTo>
                    <a:lnTo>
                      <a:pt x="7454" y="4243"/>
                    </a:lnTo>
                    <a:lnTo>
                      <a:pt x="7457" y="4246"/>
                    </a:lnTo>
                    <a:lnTo>
                      <a:pt x="7460" y="4249"/>
                    </a:lnTo>
                    <a:lnTo>
                      <a:pt x="7461" y="4253"/>
                    </a:lnTo>
                    <a:lnTo>
                      <a:pt x="7462" y="4257"/>
                    </a:lnTo>
                    <a:lnTo>
                      <a:pt x="7457" y="4259"/>
                    </a:lnTo>
                    <a:lnTo>
                      <a:pt x="7454" y="4262"/>
                    </a:lnTo>
                    <a:lnTo>
                      <a:pt x="7451" y="4265"/>
                    </a:lnTo>
                    <a:lnTo>
                      <a:pt x="7450" y="4268"/>
                    </a:lnTo>
                    <a:lnTo>
                      <a:pt x="7451" y="4271"/>
                    </a:lnTo>
                    <a:lnTo>
                      <a:pt x="7453" y="4275"/>
                    </a:lnTo>
                    <a:lnTo>
                      <a:pt x="7454" y="4279"/>
                    </a:lnTo>
                    <a:lnTo>
                      <a:pt x="7456" y="4282"/>
                    </a:lnTo>
                    <a:lnTo>
                      <a:pt x="7464" y="4290"/>
                    </a:lnTo>
                    <a:lnTo>
                      <a:pt x="7471" y="4296"/>
                    </a:lnTo>
                    <a:lnTo>
                      <a:pt x="7480" y="4301"/>
                    </a:lnTo>
                    <a:lnTo>
                      <a:pt x="7486" y="4306"/>
                    </a:lnTo>
                    <a:lnTo>
                      <a:pt x="7494" y="4309"/>
                    </a:lnTo>
                    <a:lnTo>
                      <a:pt x="7503" y="4313"/>
                    </a:lnTo>
                    <a:lnTo>
                      <a:pt x="7509" y="4313"/>
                    </a:lnTo>
                    <a:lnTo>
                      <a:pt x="7515" y="4313"/>
                    </a:lnTo>
                    <a:lnTo>
                      <a:pt x="7520" y="4312"/>
                    </a:lnTo>
                    <a:lnTo>
                      <a:pt x="7525" y="4308"/>
                    </a:lnTo>
                    <a:lnTo>
                      <a:pt x="7528" y="4304"/>
                    </a:lnTo>
                    <a:lnTo>
                      <a:pt x="7533" y="4301"/>
                    </a:lnTo>
                    <a:lnTo>
                      <a:pt x="7542" y="4290"/>
                    </a:lnTo>
                    <a:lnTo>
                      <a:pt x="7552" y="4280"/>
                    </a:lnTo>
                    <a:lnTo>
                      <a:pt x="7558" y="4275"/>
                    </a:lnTo>
                    <a:lnTo>
                      <a:pt x="7565" y="4270"/>
                    </a:lnTo>
                    <a:lnTo>
                      <a:pt x="7574" y="4266"/>
                    </a:lnTo>
                    <a:lnTo>
                      <a:pt x="7585" y="4264"/>
                    </a:lnTo>
                    <a:lnTo>
                      <a:pt x="7590" y="4263"/>
                    </a:lnTo>
                    <a:lnTo>
                      <a:pt x="7596" y="4264"/>
                    </a:lnTo>
                    <a:lnTo>
                      <a:pt x="7601" y="4266"/>
                    </a:lnTo>
                    <a:lnTo>
                      <a:pt x="7607" y="4270"/>
                    </a:lnTo>
                    <a:lnTo>
                      <a:pt x="7613" y="4273"/>
                    </a:lnTo>
                    <a:lnTo>
                      <a:pt x="7619" y="4275"/>
                    </a:lnTo>
                    <a:lnTo>
                      <a:pt x="7625" y="4277"/>
                    </a:lnTo>
                    <a:lnTo>
                      <a:pt x="7631" y="4279"/>
                    </a:lnTo>
                    <a:lnTo>
                      <a:pt x="7661" y="4276"/>
                    </a:lnTo>
                    <a:lnTo>
                      <a:pt x="7686" y="4274"/>
                    </a:lnTo>
                    <a:lnTo>
                      <a:pt x="7699" y="4274"/>
                    </a:lnTo>
                    <a:lnTo>
                      <a:pt x="7712" y="4276"/>
                    </a:lnTo>
                    <a:lnTo>
                      <a:pt x="7718" y="4279"/>
                    </a:lnTo>
                    <a:lnTo>
                      <a:pt x="7724" y="4282"/>
                    </a:lnTo>
                    <a:lnTo>
                      <a:pt x="7732" y="4286"/>
                    </a:lnTo>
                    <a:lnTo>
                      <a:pt x="7738" y="4291"/>
                    </a:lnTo>
                    <a:lnTo>
                      <a:pt x="7750" y="4300"/>
                    </a:lnTo>
                    <a:lnTo>
                      <a:pt x="7763" y="4307"/>
                    </a:lnTo>
                    <a:lnTo>
                      <a:pt x="7771" y="4309"/>
                    </a:lnTo>
                    <a:lnTo>
                      <a:pt x="7777" y="4312"/>
                    </a:lnTo>
                    <a:lnTo>
                      <a:pt x="7784" y="4312"/>
                    </a:lnTo>
                    <a:lnTo>
                      <a:pt x="7792" y="4312"/>
                    </a:lnTo>
                    <a:lnTo>
                      <a:pt x="7794" y="4311"/>
                    </a:lnTo>
                    <a:lnTo>
                      <a:pt x="7797" y="4308"/>
                    </a:lnTo>
                    <a:lnTo>
                      <a:pt x="7799" y="4307"/>
                    </a:lnTo>
                    <a:lnTo>
                      <a:pt x="7800" y="4304"/>
                    </a:lnTo>
                    <a:lnTo>
                      <a:pt x="7803" y="4298"/>
                    </a:lnTo>
                    <a:lnTo>
                      <a:pt x="7804" y="4292"/>
                    </a:lnTo>
                    <a:lnTo>
                      <a:pt x="7805" y="4286"/>
                    </a:lnTo>
                    <a:lnTo>
                      <a:pt x="7808" y="4281"/>
                    </a:lnTo>
                    <a:lnTo>
                      <a:pt x="7809" y="4279"/>
                    </a:lnTo>
                    <a:lnTo>
                      <a:pt x="7811" y="4276"/>
                    </a:lnTo>
                    <a:lnTo>
                      <a:pt x="7814" y="4274"/>
                    </a:lnTo>
                    <a:lnTo>
                      <a:pt x="7816" y="4273"/>
                    </a:lnTo>
                    <a:lnTo>
                      <a:pt x="7822" y="4271"/>
                    </a:lnTo>
                    <a:lnTo>
                      <a:pt x="7827" y="4271"/>
                    </a:lnTo>
                    <a:lnTo>
                      <a:pt x="7830" y="4273"/>
                    </a:lnTo>
                    <a:lnTo>
                      <a:pt x="7831" y="4275"/>
                    </a:lnTo>
                    <a:lnTo>
                      <a:pt x="7832" y="4277"/>
                    </a:lnTo>
                    <a:lnTo>
                      <a:pt x="7831" y="4281"/>
                    </a:lnTo>
                    <a:lnTo>
                      <a:pt x="7830" y="4286"/>
                    </a:lnTo>
                    <a:lnTo>
                      <a:pt x="7827" y="4290"/>
                    </a:lnTo>
                    <a:lnTo>
                      <a:pt x="7816" y="4308"/>
                    </a:lnTo>
                    <a:lnTo>
                      <a:pt x="7810" y="4317"/>
                    </a:lnTo>
                    <a:lnTo>
                      <a:pt x="7810" y="4323"/>
                    </a:lnTo>
                    <a:lnTo>
                      <a:pt x="7812" y="4326"/>
                    </a:lnTo>
                    <a:lnTo>
                      <a:pt x="7815" y="4329"/>
                    </a:lnTo>
                    <a:lnTo>
                      <a:pt x="7819" y="4330"/>
                    </a:lnTo>
                    <a:lnTo>
                      <a:pt x="7823" y="4329"/>
                    </a:lnTo>
                    <a:lnTo>
                      <a:pt x="7830" y="4328"/>
                    </a:lnTo>
                    <a:lnTo>
                      <a:pt x="7834" y="4325"/>
                    </a:lnTo>
                    <a:lnTo>
                      <a:pt x="7841" y="4322"/>
                    </a:lnTo>
                    <a:lnTo>
                      <a:pt x="7853" y="4313"/>
                    </a:lnTo>
                    <a:lnTo>
                      <a:pt x="7864" y="4304"/>
                    </a:lnTo>
                    <a:lnTo>
                      <a:pt x="7872" y="4297"/>
                    </a:lnTo>
                    <a:lnTo>
                      <a:pt x="7877" y="4292"/>
                    </a:lnTo>
                    <a:lnTo>
                      <a:pt x="7887" y="4287"/>
                    </a:lnTo>
                    <a:lnTo>
                      <a:pt x="7894" y="4284"/>
                    </a:lnTo>
                    <a:lnTo>
                      <a:pt x="7901" y="4277"/>
                    </a:lnTo>
                    <a:lnTo>
                      <a:pt x="7904" y="4273"/>
                    </a:lnTo>
                    <a:lnTo>
                      <a:pt x="7913" y="4259"/>
                    </a:lnTo>
                    <a:lnTo>
                      <a:pt x="7923" y="4244"/>
                    </a:lnTo>
                    <a:lnTo>
                      <a:pt x="7925" y="4242"/>
                    </a:lnTo>
                    <a:lnTo>
                      <a:pt x="7930" y="4241"/>
                    </a:lnTo>
                    <a:lnTo>
                      <a:pt x="7937" y="4241"/>
                    </a:lnTo>
                    <a:lnTo>
                      <a:pt x="7945" y="4241"/>
                    </a:lnTo>
                    <a:lnTo>
                      <a:pt x="7962" y="4240"/>
                    </a:lnTo>
                    <a:lnTo>
                      <a:pt x="7974" y="4237"/>
                    </a:lnTo>
                    <a:lnTo>
                      <a:pt x="8007" y="4220"/>
                    </a:lnTo>
                    <a:lnTo>
                      <a:pt x="8041" y="4199"/>
                    </a:lnTo>
                    <a:lnTo>
                      <a:pt x="8050" y="4194"/>
                    </a:lnTo>
                    <a:lnTo>
                      <a:pt x="8060" y="4191"/>
                    </a:lnTo>
                    <a:lnTo>
                      <a:pt x="8068" y="4187"/>
                    </a:lnTo>
                    <a:lnTo>
                      <a:pt x="8078" y="4184"/>
                    </a:lnTo>
                    <a:lnTo>
                      <a:pt x="8087" y="4183"/>
                    </a:lnTo>
                    <a:lnTo>
                      <a:pt x="8096" y="4182"/>
                    </a:lnTo>
                    <a:lnTo>
                      <a:pt x="8106" y="4183"/>
                    </a:lnTo>
                    <a:lnTo>
                      <a:pt x="8115" y="4186"/>
                    </a:lnTo>
                    <a:lnTo>
                      <a:pt x="8121" y="4186"/>
                    </a:lnTo>
                    <a:lnTo>
                      <a:pt x="8127" y="4183"/>
                    </a:lnTo>
                    <a:lnTo>
                      <a:pt x="8136" y="4181"/>
                    </a:lnTo>
                    <a:lnTo>
                      <a:pt x="8145" y="4176"/>
                    </a:lnTo>
                    <a:lnTo>
                      <a:pt x="8167" y="4164"/>
                    </a:lnTo>
                    <a:lnTo>
                      <a:pt x="8192" y="4149"/>
                    </a:lnTo>
                    <a:lnTo>
                      <a:pt x="8240" y="4117"/>
                    </a:lnTo>
                    <a:lnTo>
                      <a:pt x="8271" y="4095"/>
                    </a:lnTo>
                    <a:lnTo>
                      <a:pt x="8293" y="4082"/>
                    </a:lnTo>
                    <a:lnTo>
                      <a:pt x="8314" y="4072"/>
                    </a:lnTo>
                    <a:lnTo>
                      <a:pt x="8324" y="4068"/>
                    </a:lnTo>
                    <a:lnTo>
                      <a:pt x="8334" y="4065"/>
                    </a:lnTo>
                    <a:lnTo>
                      <a:pt x="8345" y="4062"/>
                    </a:lnTo>
                    <a:lnTo>
                      <a:pt x="8355" y="4061"/>
                    </a:lnTo>
                    <a:lnTo>
                      <a:pt x="8374" y="4058"/>
                    </a:lnTo>
                    <a:lnTo>
                      <a:pt x="8396" y="4058"/>
                    </a:lnTo>
                    <a:lnTo>
                      <a:pt x="8418" y="4060"/>
                    </a:lnTo>
                    <a:lnTo>
                      <a:pt x="8443" y="4061"/>
                    </a:lnTo>
                    <a:lnTo>
                      <a:pt x="8451" y="4076"/>
                    </a:lnTo>
                    <a:lnTo>
                      <a:pt x="8461" y="4088"/>
                    </a:lnTo>
                    <a:lnTo>
                      <a:pt x="8466" y="4093"/>
                    </a:lnTo>
                    <a:lnTo>
                      <a:pt x="8472" y="4098"/>
                    </a:lnTo>
                    <a:lnTo>
                      <a:pt x="8478" y="4101"/>
                    </a:lnTo>
                    <a:lnTo>
                      <a:pt x="8484" y="4105"/>
                    </a:lnTo>
                    <a:lnTo>
                      <a:pt x="8498" y="4110"/>
                    </a:lnTo>
                    <a:lnTo>
                      <a:pt x="8513" y="4114"/>
                    </a:lnTo>
                    <a:lnTo>
                      <a:pt x="8528" y="4116"/>
                    </a:lnTo>
                    <a:lnTo>
                      <a:pt x="8547" y="4116"/>
                    </a:lnTo>
                    <a:lnTo>
                      <a:pt x="8551" y="4115"/>
                    </a:lnTo>
                    <a:lnTo>
                      <a:pt x="8555" y="4115"/>
                    </a:lnTo>
                    <a:lnTo>
                      <a:pt x="8559" y="4115"/>
                    </a:lnTo>
                    <a:lnTo>
                      <a:pt x="8563" y="4116"/>
                    </a:lnTo>
                    <a:lnTo>
                      <a:pt x="8569" y="4120"/>
                    </a:lnTo>
                    <a:lnTo>
                      <a:pt x="8573" y="4125"/>
                    </a:lnTo>
                    <a:lnTo>
                      <a:pt x="8576" y="4131"/>
                    </a:lnTo>
                    <a:lnTo>
                      <a:pt x="8579" y="4138"/>
                    </a:lnTo>
                    <a:lnTo>
                      <a:pt x="8580" y="4147"/>
                    </a:lnTo>
                    <a:lnTo>
                      <a:pt x="8580" y="4154"/>
                    </a:lnTo>
                    <a:lnTo>
                      <a:pt x="8581" y="4154"/>
                    </a:lnTo>
                    <a:lnTo>
                      <a:pt x="8680" y="4082"/>
                    </a:lnTo>
                    <a:lnTo>
                      <a:pt x="8686" y="4077"/>
                    </a:lnTo>
                    <a:lnTo>
                      <a:pt x="8691" y="4072"/>
                    </a:lnTo>
                    <a:lnTo>
                      <a:pt x="8695" y="4066"/>
                    </a:lnTo>
                    <a:lnTo>
                      <a:pt x="8700" y="4061"/>
                    </a:lnTo>
                    <a:lnTo>
                      <a:pt x="8706" y="4049"/>
                    </a:lnTo>
                    <a:lnTo>
                      <a:pt x="8712" y="4036"/>
                    </a:lnTo>
                    <a:lnTo>
                      <a:pt x="8718" y="4024"/>
                    </a:lnTo>
                    <a:lnTo>
                      <a:pt x="8726" y="4012"/>
                    </a:lnTo>
                    <a:lnTo>
                      <a:pt x="8729" y="4006"/>
                    </a:lnTo>
                    <a:lnTo>
                      <a:pt x="8735" y="4000"/>
                    </a:lnTo>
                    <a:lnTo>
                      <a:pt x="8740" y="3995"/>
                    </a:lnTo>
                    <a:lnTo>
                      <a:pt x="8748" y="3990"/>
                    </a:lnTo>
                    <a:lnTo>
                      <a:pt x="8768" y="3976"/>
                    </a:lnTo>
                    <a:lnTo>
                      <a:pt x="8789" y="3967"/>
                    </a:lnTo>
                    <a:lnTo>
                      <a:pt x="8809" y="3959"/>
                    </a:lnTo>
                    <a:lnTo>
                      <a:pt x="8827" y="3956"/>
                    </a:lnTo>
                    <a:lnTo>
                      <a:pt x="8847" y="3953"/>
                    </a:lnTo>
                    <a:lnTo>
                      <a:pt x="8865" y="3953"/>
                    </a:lnTo>
                    <a:lnTo>
                      <a:pt x="8883" y="3954"/>
                    </a:lnTo>
                    <a:lnTo>
                      <a:pt x="8901" y="3958"/>
                    </a:lnTo>
                    <a:lnTo>
                      <a:pt x="8919" y="3963"/>
                    </a:lnTo>
                    <a:lnTo>
                      <a:pt x="8936" y="3970"/>
                    </a:lnTo>
                    <a:lnTo>
                      <a:pt x="8954" y="3978"/>
                    </a:lnTo>
                    <a:lnTo>
                      <a:pt x="8972" y="3986"/>
                    </a:lnTo>
                    <a:lnTo>
                      <a:pt x="9008" y="4007"/>
                    </a:lnTo>
                    <a:lnTo>
                      <a:pt x="9045" y="4029"/>
                    </a:lnTo>
                    <a:lnTo>
                      <a:pt x="9054" y="4034"/>
                    </a:lnTo>
                    <a:lnTo>
                      <a:pt x="9062" y="4036"/>
                    </a:lnTo>
                    <a:lnTo>
                      <a:pt x="9069" y="4036"/>
                    </a:lnTo>
                    <a:lnTo>
                      <a:pt x="9077" y="4035"/>
                    </a:lnTo>
                    <a:lnTo>
                      <a:pt x="9083" y="4032"/>
                    </a:lnTo>
                    <a:lnTo>
                      <a:pt x="9090" y="4028"/>
                    </a:lnTo>
                    <a:lnTo>
                      <a:pt x="9096" y="4023"/>
                    </a:lnTo>
                    <a:lnTo>
                      <a:pt x="9103" y="4018"/>
                    </a:lnTo>
                    <a:lnTo>
                      <a:pt x="9110" y="4013"/>
                    </a:lnTo>
                    <a:lnTo>
                      <a:pt x="9117" y="4008"/>
                    </a:lnTo>
                    <a:lnTo>
                      <a:pt x="9125" y="4005"/>
                    </a:lnTo>
                    <a:lnTo>
                      <a:pt x="9132" y="4001"/>
                    </a:lnTo>
                    <a:lnTo>
                      <a:pt x="9142" y="4000"/>
                    </a:lnTo>
                    <a:lnTo>
                      <a:pt x="9150" y="4000"/>
                    </a:lnTo>
                    <a:lnTo>
                      <a:pt x="9161" y="4001"/>
                    </a:lnTo>
                    <a:lnTo>
                      <a:pt x="9172" y="4005"/>
                    </a:lnTo>
                    <a:lnTo>
                      <a:pt x="9189" y="4010"/>
                    </a:lnTo>
                    <a:lnTo>
                      <a:pt x="9213" y="4016"/>
                    </a:lnTo>
                    <a:lnTo>
                      <a:pt x="9243" y="4021"/>
                    </a:lnTo>
                    <a:lnTo>
                      <a:pt x="9275" y="4023"/>
                    </a:lnTo>
                    <a:lnTo>
                      <a:pt x="9291" y="4024"/>
                    </a:lnTo>
                    <a:lnTo>
                      <a:pt x="9306" y="4024"/>
                    </a:lnTo>
                    <a:lnTo>
                      <a:pt x="9320" y="4024"/>
                    </a:lnTo>
                    <a:lnTo>
                      <a:pt x="9334" y="4022"/>
                    </a:lnTo>
                    <a:lnTo>
                      <a:pt x="9345" y="4019"/>
                    </a:lnTo>
                    <a:lnTo>
                      <a:pt x="9353" y="4016"/>
                    </a:lnTo>
                    <a:lnTo>
                      <a:pt x="9357" y="4013"/>
                    </a:lnTo>
                    <a:lnTo>
                      <a:pt x="9361" y="4011"/>
                    </a:lnTo>
                    <a:lnTo>
                      <a:pt x="9363" y="4008"/>
                    </a:lnTo>
                    <a:lnTo>
                      <a:pt x="9364" y="4005"/>
                    </a:lnTo>
                    <a:lnTo>
                      <a:pt x="9378" y="3997"/>
                    </a:lnTo>
                    <a:lnTo>
                      <a:pt x="9391" y="3992"/>
                    </a:lnTo>
                    <a:lnTo>
                      <a:pt x="9405" y="3989"/>
                    </a:lnTo>
                    <a:lnTo>
                      <a:pt x="9418" y="3986"/>
                    </a:lnTo>
                    <a:lnTo>
                      <a:pt x="9444" y="3984"/>
                    </a:lnTo>
                    <a:lnTo>
                      <a:pt x="9469" y="3984"/>
                    </a:lnTo>
                    <a:lnTo>
                      <a:pt x="9481" y="3983"/>
                    </a:lnTo>
                    <a:lnTo>
                      <a:pt x="9494" y="3980"/>
                    </a:lnTo>
                    <a:lnTo>
                      <a:pt x="9506" y="3978"/>
                    </a:lnTo>
                    <a:lnTo>
                      <a:pt x="9520" y="3974"/>
                    </a:lnTo>
                    <a:lnTo>
                      <a:pt x="9532" y="3968"/>
                    </a:lnTo>
                    <a:lnTo>
                      <a:pt x="9546" y="3961"/>
                    </a:lnTo>
                    <a:lnTo>
                      <a:pt x="9559" y="3951"/>
                    </a:lnTo>
                    <a:lnTo>
                      <a:pt x="9573" y="3937"/>
                    </a:lnTo>
                    <a:lnTo>
                      <a:pt x="9584" y="3926"/>
                    </a:lnTo>
                    <a:lnTo>
                      <a:pt x="9601" y="3912"/>
                    </a:lnTo>
                    <a:lnTo>
                      <a:pt x="9622" y="3894"/>
                    </a:lnTo>
                    <a:lnTo>
                      <a:pt x="9644" y="3880"/>
                    </a:lnTo>
                    <a:lnTo>
                      <a:pt x="9655" y="3874"/>
                    </a:lnTo>
                    <a:lnTo>
                      <a:pt x="9666" y="3869"/>
                    </a:lnTo>
                    <a:lnTo>
                      <a:pt x="9677" y="3866"/>
                    </a:lnTo>
                    <a:lnTo>
                      <a:pt x="9685" y="3865"/>
                    </a:lnTo>
                    <a:lnTo>
                      <a:pt x="9690" y="3865"/>
                    </a:lnTo>
                    <a:lnTo>
                      <a:pt x="9694" y="3866"/>
                    </a:lnTo>
                    <a:lnTo>
                      <a:pt x="9697" y="3868"/>
                    </a:lnTo>
                    <a:lnTo>
                      <a:pt x="9701" y="3870"/>
                    </a:lnTo>
                    <a:lnTo>
                      <a:pt x="9705" y="3872"/>
                    </a:lnTo>
                    <a:lnTo>
                      <a:pt x="9707" y="3876"/>
                    </a:lnTo>
                    <a:lnTo>
                      <a:pt x="9710" y="3881"/>
                    </a:lnTo>
                    <a:lnTo>
                      <a:pt x="9711" y="3887"/>
                    </a:lnTo>
                    <a:lnTo>
                      <a:pt x="9712" y="3887"/>
                    </a:lnTo>
                    <a:lnTo>
                      <a:pt x="9718" y="3886"/>
                    </a:lnTo>
                    <a:lnTo>
                      <a:pt x="9724" y="3882"/>
                    </a:lnTo>
                    <a:lnTo>
                      <a:pt x="9732" y="3877"/>
                    </a:lnTo>
                    <a:lnTo>
                      <a:pt x="9738" y="3870"/>
                    </a:lnTo>
                    <a:lnTo>
                      <a:pt x="9751" y="3853"/>
                    </a:lnTo>
                    <a:lnTo>
                      <a:pt x="9766" y="3832"/>
                    </a:lnTo>
                    <a:lnTo>
                      <a:pt x="9773" y="3822"/>
                    </a:lnTo>
                    <a:lnTo>
                      <a:pt x="9782" y="3811"/>
                    </a:lnTo>
                    <a:lnTo>
                      <a:pt x="9790" y="3802"/>
                    </a:lnTo>
                    <a:lnTo>
                      <a:pt x="9800" y="3793"/>
                    </a:lnTo>
                    <a:lnTo>
                      <a:pt x="9809" y="3786"/>
                    </a:lnTo>
                    <a:lnTo>
                      <a:pt x="9820" y="3779"/>
                    </a:lnTo>
                    <a:lnTo>
                      <a:pt x="9830" y="3775"/>
                    </a:lnTo>
                    <a:lnTo>
                      <a:pt x="9842" y="3772"/>
                    </a:lnTo>
                    <a:lnTo>
                      <a:pt x="9852" y="3768"/>
                    </a:lnTo>
                    <a:lnTo>
                      <a:pt x="9860" y="3764"/>
                    </a:lnTo>
                    <a:lnTo>
                      <a:pt x="9865" y="3761"/>
                    </a:lnTo>
                    <a:lnTo>
                      <a:pt x="9870" y="3759"/>
                    </a:lnTo>
                    <a:lnTo>
                      <a:pt x="9875" y="3759"/>
                    </a:lnTo>
                    <a:lnTo>
                      <a:pt x="9880" y="3759"/>
                    </a:lnTo>
                    <a:lnTo>
                      <a:pt x="9899" y="3766"/>
                    </a:lnTo>
                    <a:lnTo>
                      <a:pt x="9909" y="3771"/>
                    </a:lnTo>
                    <a:lnTo>
                      <a:pt x="9913" y="3771"/>
                    </a:lnTo>
                    <a:lnTo>
                      <a:pt x="9919" y="3768"/>
                    </a:lnTo>
                    <a:lnTo>
                      <a:pt x="9928" y="3764"/>
                    </a:lnTo>
                    <a:lnTo>
                      <a:pt x="9940" y="3755"/>
                    </a:lnTo>
                    <a:lnTo>
                      <a:pt x="9958" y="3742"/>
                    </a:lnTo>
                    <a:lnTo>
                      <a:pt x="9975" y="3726"/>
                    </a:lnTo>
                    <a:lnTo>
                      <a:pt x="9985" y="3718"/>
                    </a:lnTo>
                    <a:lnTo>
                      <a:pt x="9995" y="3712"/>
                    </a:lnTo>
                    <a:lnTo>
                      <a:pt x="10003" y="3706"/>
                    </a:lnTo>
                    <a:lnTo>
                      <a:pt x="10013" y="3702"/>
                    </a:lnTo>
                    <a:lnTo>
                      <a:pt x="10023" y="3699"/>
                    </a:lnTo>
                    <a:lnTo>
                      <a:pt x="10033" y="3697"/>
                    </a:lnTo>
                    <a:lnTo>
                      <a:pt x="10044" y="3697"/>
                    </a:lnTo>
                    <a:lnTo>
                      <a:pt x="10055" y="3697"/>
                    </a:lnTo>
                    <a:lnTo>
                      <a:pt x="10063" y="3699"/>
                    </a:lnTo>
                    <a:lnTo>
                      <a:pt x="10072" y="3699"/>
                    </a:lnTo>
                    <a:lnTo>
                      <a:pt x="10076" y="3699"/>
                    </a:lnTo>
                    <a:lnTo>
                      <a:pt x="10078" y="3699"/>
                    </a:lnTo>
                    <a:lnTo>
                      <a:pt x="10081" y="3697"/>
                    </a:lnTo>
                    <a:lnTo>
                      <a:pt x="10082" y="3695"/>
                    </a:lnTo>
                    <a:lnTo>
                      <a:pt x="10090" y="3680"/>
                    </a:lnTo>
                    <a:lnTo>
                      <a:pt x="10098" y="3663"/>
                    </a:lnTo>
                    <a:lnTo>
                      <a:pt x="10100" y="3655"/>
                    </a:lnTo>
                    <a:lnTo>
                      <a:pt x="10101" y="3645"/>
                    </a:lnTo>
                    <a:lnTo>
                      <a:pt x="10101" y="3636"/>
                    </a:lnTo>
                    <a:lnTo>
                      <a:pt x="10099" y="3628"/>
                    </a:lnTo>
                    <a:lnTo>
                      <a:pt x="10096" y="3620"/>
                    </a:lnTo>
                    <a:lnTo>
                      <a:pt x="10096" y="3614"/>
                    </a:lnTo>
                    <a:lnTo>
                      <a:pt x="10096" y="3608"/>
                    </a:lnTo>
                    <a:lnTo>
                      <a:pt x="10098" y="3602"/>
                    </a:lnTo>
                    <a:lnTo>
                      <a:pt x="10100" y="3590"/>
                    </a:lnTo>
                    <a:lnTo>
                      <a:pt x="10103" y="3576"/>
                    </a:lnTo>
                    <a:lnTo>
                      <a:pt x="10103" y="3567"/>
                    </a:lnTo>
                    <a:lnTo>
                      <a:pt x="10101" y="3557"/>
                    </a:lnTo>
                    <a:lnTo>
                      <a:pt x="10098" y="3549"/>
                    </a:lnTo>
                    <a:lnTo>
                      <a:pt x="10095" y="3541"/>
                    </a:lnTo>
                    <a:lnTo>
                      <a:pt x="10092" y="3534"/>
                    </a:lnTo>
                    <a:lnTo>
                      <a:pt x="10088" y="3525"/>
                    </a:lnTo>
                    <a:lnTo>
                      <a:pt x="10085" y="3515"/>
                    </a:lnTo>
                    <a:lnTo>
                      <a:pt x="10084" y="3505"/>
                    </a:lnTo>
                    <a:lnTo>
                      <a:pt x="10085" y="3488"/>
                    </a:lnTo>
                    <a:lnTo>
                      <a:pt x="10088" y="3472"/>
                    </a:lnTo>
                    <a:lnTo>
                      <a:pt x="10090" y="3455"/>
                    </a:lnTo>
                    <a:lnTo>
                      <a:pt x="10090" y="3439"/>
                    </a:lnTo>
                    <a:lnTo>
                      <a:pt x="10079" y="3438"/>
                    </a:lnTo>
                    <a:lnTo>
                      <a:pt x="10071" y="3436"/>
                    </a:lnTo>
                    <a:lnTo>
                      <a:pt x="10065" y="3432"/>
                    </a:lnTo>
                    <a:lnTo>
                      <a:pt x="10062" y="3428"/>
                    </a:lnTo>
                    <a:lnTo>
                      <a:pt x="10061" y="3422"/>
                    </a:lnTo>
                    <a:lnTo>
                      <a:pt x="10062" y="3417"/>
                    </a:lnTo>
                    <a:lnTo>
                      <a:pt x="10065" y="3412"/>
                    </a:lnTo>
                    <a:lnTo>
                      <a:pt x="10068" y="3406"/>
                    </a:lnTo>
                    <a:lnTo>
                      <a:pt x="10072" y="3403"/>
                    </a:lnTo>
                    <a:lnTo>
                      <a:pt x="10078" y="3399"/>
                    </a:lnTo>
                    <a:lnTo>
                      <a:pt x="10083" y="3396"/>
                    </a:lnTo>
                    <a:lnTo>
                      <a:pt x="10089" y="3395"/>
                    </a:lnTo>
                    <a:lnTo>
                      <a:pt x="10095" y="3396"/>
                    </a:lnTo>
                    <a:lnTo>
                      <a:pt x="10100" y="3399"/>
                    </a:lnTo>
                    <a:lnTo>
                      <a:pt x="10104" y="3404"/>
                    </a:lnTo>
                    <a:lnTo>
                      <a:pt x="10107" y="3412"/>
                    </a:lnTo>
                    <a:lnTo>
                      <a:pt x="10109" y="3415"/>
                    </a:lnTo>
                    <a:lnTo>
                      <a:pt x="10111" y="3416"/>
                    </a:lnTo>
                    <a:lnTo>
                      <a:pt x="10115" y="3415"/>
                    </a:lnTo>
                    <a:lnTo>
                      <a:pt x="10120" y="3412"/>
                    </a:lnTo>
                    <a:lnTo>
                      <a:pt x="10129" y="3405"/>
                    </a:lnTo>
                    <a:lnTo>
                      <a:pt x="10142" y="3394"/>
                    </a:lnTo>
                    <a:lnTo>
                      <a:pt x="10167" y="3370"/>
                    </a:lnTo>
                    <a:lnTo>
                      <a:pt x="10186" y="3354"/>
                    </a:lnTo>
                    <a:lnTo>
                      <a:pt x="10191" y="3352"/>
                    </a:lnTo>
                    <a:lnTo>
                      <a:pt x="10196" y="3350"/>
                    </a:lnTo>
                    <a:lnTo>
                      <a:pt x="10200" y="3350"/>
                    </a:lnTo>
                    <a:lnTo>
                      <a:pt x="10205" y="3349"/>
                    </a:lnTo>
                    <a:lnTo>
                      <a:pt x="10215" y="3350"/>
                    </a:lnTo>
                    <a:lnTo>
                      <a:pt x="10224" y="3354"/>
                    </a:lnTo>
                    <a:lnTo>
                      <a:pt x="10243" y="3362"/>
                    </a:lnTo>
                    <a:lnTo>
                      <a:pt x="10262" y="3373"/>
                    </a:lnTo>
                    <a:lnTo>
                      <a:pt x="10270" y="3377"/>
                    </a:lnTo>
                    <a:lnTo>
                      <a:pt x="10280" y="3381"/>
                    </a:lnTo>
                    <a:lnTo>
                      <a:pt x="10289" y="3382"/>
                    </a:lnTo>
                    <a:lnTo>
                      <a:pt x="10296" y="3382"/>
                    </a:lnTo>
                    <a:lnTo>
                      <a:pt x="10301" y="3381"/>
                    </a:lnTo>
                    <a:lnTo>
                      <a:pt x="10304" y="3379"/>
                    </a:lnTo>
                    <a:lnTo>
                      <a:pt x="10308" y="3377"/>
                    </a:lnTo>
                    <a:lnTo>
                      <a:pt x="10312" y="3373"/>
                    </a:lnTo>
                    <a:lnTo>
                      <a:pt x="10316" y="3370"/>
                    </a:lnTo>
                    <a:lnTo>
                      <a:pt x="10319" y="3365"/>
                    </a:lnTo>
                    <a:lnTo>
                      <a:pt x="10323" y="3359"/>
                    </a:lnTo>
                    <a:lnTo>
                      <a:pt x="10327" y="3351"/>
                    </a:lnTo>
                    <a:lnTo>
                      <a:pt x="10327" y="3349"/>
                    </a:lnTo>
                    <a:lnTo>
                      <a:pt x="10325" y="3348"/>
                    </a:lnTo>
                    <a:lnTo>
                      <a:pt x="10323" y="3349"/>
                    </a:lnTo>
                    <a:lnTo>
                      <a:pt x="10318" y="3350"/>
                    </a:lnTo>
                    <a:lnTo>
                      <a:pt x="10309" y="3355"/>
                    </a:lnTo>
                    <a:lnTo>
                      <a:pt x="10302" y="3357"/>
                    </a:lnTo>
                    <a:lnTo>
                      <a:pt x="10298" y="3356"/>
                    </a:lnTo>
                    <a:lnTo>
                      <a:pt x="10293" y="3352"/>
                    </a:lnTo>
                    <a:lnTo>
                      <a:pt x="10289" y="3349"/>
                    </a:lnTo>
                    <a:lnTo>
                      <a:pt x="10285" y="3344"/>
                    </a:lnTo>
                    <a:lnTo>
                      <a:pt x="10281" y="3339"/>
                    </a:lnTo>
                    <a:lnTo>
                      <a:pt x="10279" y="3334"/>
                    </a:lnTo>
                    <a:lnTo>
                      <a:pt x="10278" y="3330"/>
                    </a:lnTo>
                    <a:lnTo>
                      <a:pt x="10278" y="3329"/>
                    </a:lnTo>
                    <a:lnTo>
                      <a:pt x="10286" y="3328"/>
                    </a:lnTo>
                    <a:lnTo>
                      <a:pt x="10295" y="3329"/>
                    </a:lnTo>
                    <a:lnTo>
                      <a:pt x="10298" y="3330"/>
                    </a:lnTo>
                    <a:lnTo>
                      <a:pt x="10302" y="3330"/>
                    </a:lnTo>
                    <a:lnTo>
                      <a:pt x="10306" y="3329"/>
                    </a:lnTo>
                    <a:lnTo>
                      <a:pt x="10309" y="3327"/>
                    </a:lnTo>
                    <a:lnTo>
                      <a:pt x="10312" y="3322"/>
                    </a:lnTo>
                    <a:lnTo>
                      <a:pt x="10314" y="3318"/>
                    </a:lnTo>
                    <a:lnTo>
                      <a:pt x="10317" y="3316"/>
                    </a:lnTo>
                    <a:lnTo>
                      <a:pt x="10323" y="3315"/>
                    </a:lnTo>
                    <a:lnTo>
                      <a:pt x="10323" y="3322"/>
                    </a:lnTo>
                    <a:lnTo>
                      <a:pt x="10323" y="3328"/>
                    </a:lnTo>
                    <a:lnTo>
                      <a:pt x="10324" y="3332"/>
                    </a:lnTo>
                    <a:lnTo>
                      <a:pt x="10325" y="3333"/>
                    </a:lnTo>
                    <a:lnTo>
                      <a:pt x="10328" y="3332"/>
                    </a:lnTo>
                    <a:lnTo>
                      <a:pt x="10329" y="3330"/>
                    </a:lnTo>
                    <a:lnTo>
                      <a:pt x="10331" y="3328"/>
                    </a:lnTo>
                    <a:lnTo>
                      <a:pt x="10333" y="3323"/>
                    </a:lnTo>
                    <a:lnTo>
                      <a:pt x="10338" y="3313"/>
                    </a:lnTo>
                    <a:lnTo>
                      <a:pt x="10340" y="3301"/>
                    </a:lnTo>
                    <a:lnTo>
                      <a:pt x="10342" y="3290"/>
                    </a:lnTo>
                    <a:lnTo>
                      <a:pt x="10344" y="3281"/>
                    </a:lnTo>
                    <a:lnTo>
                      <a:pt x="10346" y="3269"/>
                    </a:lnTo>
                    <a:lnTo>
                      <a:pt x="10350" y="3259"/>
                    </a:lnTo>
                    <a:lnTo>
                      <a:pt x="10351" y="3256"/>
                    </a:lnTo>
                    <a:lnTo>
                      <a:pt x="10351" y="3251"/>
                    </a:lnTo>
                    <a:lnTo>
                      <a:pt x="10350" y="3245"/>
                    </a:lnTo>
                    <a:lnTo>
                      <a:pt x="10346" y="3239"/>
                    </a:lnTo>
                    <a:lnTo>
                      <a:pt x="10345" y="3234"/>
                    </a:lnTo>
                    <a:lnTo>
                      <a:pt x="10342" y="3229"/>
                    </a:lnTo>
                    <a:lnTo>
                      <a:pt x="10342" y="3224"/>
                    </a:lnTo>
                    <a:lnTo>
                      <a:pt x="10342" y="3218"/>
                    </a:lnTo>
                    <a:lnTo>
                      <a:pt x="10342" y="3207"/>
                    </a:lnTo>
                    <a:lnTo>
                      <a:pt x="10344" y="3196"/>
                    </a:lnTo>
                    <a:lnTo>
                      <a:pt x="10358" y="3169"/>
                    </a:lnTo>
                    <a:lnTo>
                      <a:pt x="10371" y="3146"/>
                    </a:lnTo>
                    <a:lnTo>
                      <a:pt x="10375" y="3133"/>
                    </a:lnTo>
                    <a:lnTo>
                      <a:pt x="10380" y="3121"/>
                    </a:lnTo>
                    <a:lnTo>
                      <a:pt x="10384" y="3106"/>
                    </a:lnTo>
                    <a:lnTo>
                      <a:pt x="10388" y="3089"/>
                    </a:lnTo>
                    <a:lnTo>
                      <a:pt x="10390" y="3081"/>
                    </a:lnTo>
                    <a:lnTo>
                      <a:pt x="10394" y="3071"/>
                    </a:lnTo>
                    <a:lnTo>
                      <a:pt x="10399" y="3061"/>
                    </a:lnTo>
                    <a:lnTo>
                      <a:pt x="10405" y="3051"/>
                    </a:lnTo>
                    <a:lnTo>
                      <a:pt x="10418" y="3032"/>
                    </a:lnTo>
                    <a:lnTo>
                      <a:pt x="10434" y="3012"/>
                    </a:lnTo>
                    <a:lnTo>
                      <a:pt x="10448" y="2994"/>
                    </a:lnTo>
                    <a:lnTo>
                      <a:pt x="10459" y="2974"/>
                    </a:lnTo>
                    <a:lnTo>
                      <a:pt x="10462" y="2966"/>
                    </a:lnTo>
                    <a:lnTo>
                      <a:pt x="10465" y="2956"/>
                    </a:lnTo>
                    <a:lnTo>
                      <a:pt x="10465" y="2947"/>
                    </a:lnTo>
                    <a:lnTo>
                      <a:pt x="10464" y="2939"/>
                    </a:lnTo>
                    <a:lnTo>
                      <a:pt x="10460" y="2925"/>
                    </a:lnTo>
                    <a:lnTo>
                      <a:pt x="10459" y="2912"/>
                    </a:lnTo>
                    <a:lnTo>
                      <a:pt x="10460" y="2898"/>
                    </a:lnTo>
                    <a:lnTo>
                      <a:pt x="10461" y="2886"/>
                    </a:lnTo>
                    <a:lnTo>
                      <a:pt x="10465" y="2874"/>
                    </a:lnTo>
                    <a:lnTo>
                      <a:pt x="10470" y="2862"/>
                    </a:lnTo>
                    <a:lnTo>
                      <a:pt x="10475" y="2851"/>
                    </a:lnTo>
                    <a:lnTo>
                      <a:pt x="10481" y="2840"/>
                    </a:lnTo>
                    <a:lnTo>
                      <a:pt x="10511" y="2797"/>
                    </a:lnTo>
                    <a:lnTo>
                      <a:pt x="10542" y="2757"/>
                    </a:lnTo>
                    <a:lnTo>
                      <a:pt x="10549" y="2748"/>
                    </a:lnTo>
                    <a:lnTo>
                      <a:pt x="10555" y="2739"/>
                    </a:lnTo>
                    <a:lnTo>
                      <a:pt x="10559" y="2731"/>
                    </a:lnTo>
                    <a:lnTo>
                      <a:pt x="10563" y="2722"/>
                    </a:lnTo>
                    <a:lnTo>
                      <a:pt x="10568" y="2712"/>
                    </a:lnTo>
                    <a:lnTo>
                      <a:pt x="10573" y="2704"/>
                    </a:lnTo>
                    <a:lnTo>
                      <a:pt x="10579" y="2695"/>
                    </a:lnTo>
                    <a:lnTo>
                      <a:pt x="10588" y="2687"/>
                    </a:lnTo>
                    <a:lnTo>
                      <a:pt x="10619" y="2668"/>
                    </a:lnTo>
                    <a:lnTo>
                      <a:pt x="10661" y="2644"/>
                    </a:lnTo>
                    <a:lnTo>
                      <a:pt x="10683" y="2632"/>
                    </a:lnTo>
                    <a:lnTo>
                      <a:pt x="10701" y="2620"/>
                    </a:lnTo>
                    <a:lnTo>
                      <a:pt x="10708" y="2615"/>
                    </a:lnTo>
                    <a:lnTo>
                      <a:pt x="10715" y="2608"/>
                    </a:lnTo>
                    <a:lnTo>
                      <a:pt x="10719" y="2604"/>
                    </a:lnTo>
                    <a:lnTo>
                      <a:pt x="10722" y="2599"/>
                    </a:lnTo>
                    <a:lnTo>
                      <a:pt x="10735" y="2569"/>
                    </a:lnTo>
                    <a:lnTo>
                      <a:pt x="10751" y="2539"/>
                    </a:lnTo>
                    <a:lnTo>
                      <a:pt x="10760" y="2523"/>
                    </a:lnTo>
                    <a:lnTo>
                      <a:pt x="10768" y="2507"/>
                    </a:lnTo>
                    <a:lnTo>
                      <a:pt x="10778" y="2492"/>
                    </a:lnTo>
                    <a:lnTo>
                      <a:pt x="10789" y="2478"/>
                    </a:lnTo>
                    <a:lnTo>
                      <a:pt x="10800" y="2464"/>
                    </a:lnTo>
                    <a:lnTo>
                      <a:pt x="10812" y="2452"/>
                    </a:lnTo>
                    <a:lnTo>
                      <a:pt x="10826" y="2441"/>
                    </a:lnTo>
                    <a:lnTo>
                      <a:pt x="10839" y="2431"/>
                    </a:lnTo>
                    <a:lnTo>
                      <a:pt x="10854" y="2424"/>
                    </a:lnTo>
                    <a:lnTo>
                      <a:pt x="10870" y="2418"/>
                    </a:lnTo>
                    <a:lnTo>
                      <a:pt x="10877" y="2415"/>
                    </a:lnTo>
                    <a:lnTo>
                      <a:pt x="10886" y="2414"/>
                    </a:lnTo>
                    <a:lnTo>
                      <a:pt x="10894" y="2413"/>
                    </a:lnTo>
                    <a:lnTo>
                      <a:pt x="10904" y="2413"/>
                    </a:lnTo>
                    <a:lnTo>
                      <a:pt x="10912" y="2414"/>
                    </a:lnTo>
                    <a:lnTo>
                      <a:pt x="10919" y="2415"/>
                    </a:lnTo>
                    <a:lnTo>
                      <a:pt x="10924" y="2418"/>
                    </a:lnTo>
                    <a:lnTo>
                      <a:pt x="10929" y="2420"/>
                    </a:lnTo>
                    <a:lnTo>
                      <a:pt x="10937" y="2429"/>
                    </a:lnTo>
                    <a:lnTo>
                      <a:pt x="10945" y="2437"/>
                    </a:lnTo>
                    <a:lnTo>
                      <a:pt x="10951" y="2446"/>
                    </a:lnTo>
                    <a:lnTo>
                      <a:pt x="10958" y="2452"/>
                    </a:lnTo>
                    <a:lnTo>
                      <a:pt x="10963" y="2454"/>
                    </a:lnTo>
                    <a:lnTo>
                      <a:pt x="10968" y="2456"/>
                    </a:lnTo>
                    <a:lnTo>
                      <a:pt x="10974" y="2457"/>
                    </a:lnTo>
                    <a:lnTo>
                      <a:pt x="10981" y="2456"/>
                    </a:lnTo>
                    <a:lnTo>
                      <a:pt x="10991" y="2454"/>
                    </a:lnTo>
                    <a:lnTo>
                      <a:pt x="11001" y="2453"/>
                    </a:lnTo>
                    <a:lnTo>
                      <a:pt x="11012" y="2452"/>
                    </a:lnTo>
                    <a:lnTo>
                      <a:pt x="11022" y="2453"/>
                    </a:lnTo>
                    <a:lnTo>
                      <a:pt x="11027" y="2453"/>
                    </a:lnTo>
                    <a:lnTo>
                      <a:pt x="11030" y="2454"/>
                    </a:lnTo>
                    <a:lnTo>
                      <a:pt x="11034" y="2457"/>
                    </a:lnTo>
                    <a:lnTo>
                      <a:pt x="11038" y="2459"/>
                    </a:lnTo>
                    <a:lnTo>
                      <a:pt x="11040" y="2462"/>
                    </a:lnTo>
                    <a:lnTo>
                      <a:pt x="11043" y="2465"/>
                    </a:lnTo>
                    <a:lnTo>
                      <a:pt x="11044" y="2470"/>
                    </a:lnTo>
                    <a:lnTo>
                      <a:pt x="11044" y="2475"/>
                    </a:lnTo>
                    <a:lnTo>
                      <a:pt x="11062" y="2487"/>
                    </a:lnTo>
                    <a:lnTo>
                      <a:pt x="11072" y="2487"/>
                    </a:lnTo>
                    <a:lnTo>
                      <a:pt x="11078" y="2486"/>
                    </a:lnTo>
                    <a:lnTo>
                      <a:pt x="11081" y="2485"/>
                    </a:lnTo>
                    <a:lnTo>
                      <a:pt x="11083" y="2482"/>
                    </a:lnTo>
                    <a:lnTo>
                      <a:pt x="11081" y="2473"/>
                    </a:lnTo>
                    <a:lnTo>
                      <a:pt x="11074" y="2458"/>
                    </a:lnTo>
                    <a:lnTo>
                      <a:pt x="11072" y="2449"/>
                    </a:lnTo>
                    <a:lnTo>
                      <a:pt x="11071" y="2438"/>
                    </a:lnTo>
                    <a:lnTo>
                      <a:pt x="11069" y="2427"/>
                    </a:lnTo>
                    <a:lnTo>
                      <a:pt x="11071" y="2415"/>
                    </a:lnTo>
                    <a:lnTo>
                      <a:pt x="11072" y="2403"/>
                    </a:lnTo>
                    <a:lnTo>
                      <a:pt x="11074" y="2392"/>
                    </a:lnTo>
                    <a:lnTo>
                      <a:pt x="11077" y="2381"/>
                    </a:lnTo>
                    <a:lnTo>
                      <a:pt x="11081" y="2372"/>
                    </a:lnTo>
                    <a:lnTo>
                      <a:pt x="11090" y="2365"/>
                    </a:lnTo>
                    <a:lnTo>
                      <a:pt x="11100" y="2359"/>
                    </a:lnTo>
                    <a:lnTo>
                      <a:pt x="11111" y="2354"/>
                    </a:lnTo>
                    <a:lnTo>
                      <a:pt x="11122" y="2350"/>
                    </a:lnTo>
                    <a:lnTo>
                      <a:pt x="11144" y="2344"/>
                    </a:lnTo>
                    <a:lnTo>
                      <a:pt x="11166" y="2341"/>
                    </a:lnTo>
                    <a:lnTo>
                      <a:pt x="11188" y="2337"/>
                    </a:lnTo>
                    <a:lnTo>
                      <a:pt x="11210" y="2333"/>
                    </a:lnTo>
                    <a:lnTo>
                      <a:pt x="11221" y="2330"/>
                    </a:lnTo>
                    <a:lnTo>
                      <a:pt x="11232" y="2326"/>
                    </a:lnTo>
                    <a:lnTo>
                      <a:pt x="11242" y="2320"/>
                    </a:lnTo>
                    <a:lnTo>
                      <a:pt x="11252" y="2314"/>
                    </a:lnTo>
                    <a:lnTo>
                      <a:pt x="11267" y="2303"/>
                    </a:lnTo>
                    <a:lnTo>
                      <a:pt x="11280" y="2293"/>
                    </a:lnTo>
                    <a:lnTo>
                      <a:pt x="11291" y="2285"/>
                    </a:lnTo>
                    <a:lnTo>
                      <a:pt x="11302" y="2281"/>
                    </a:lnTo>
                    <a:lnTo>
                      <a:pt x="11308" y="2279"/>
                    </a:lnTo>
                    <a:lnTo>
                      <a:pt x="11314" y="2279"/>
                    </a:lnTo>
                    <a:lnTo>
                      <a:pt x="11320" y="2279"/>
                    </a:lnTo>
                    <a:lnTo>
                      <a:pt x="11327" y="2282"/>
                    </a:lnTo>
                    <a:lnTo>
                      <a:pt x="11334" y="2284"/>
                    </a:lnTo>
                    <a:lnTo>
                      <a:pt x="11341" y="2289"/>
                    </a:lnTo>
                    <a:lnTo>
                      <a:pt x="11349" y="2294"/>
                    </a:lnTo>
                    <a:lnTo>
                      <a:pt x="11358" y="2301"/>
                    </a:lnTo>
                    <a:lnTo>
                      <a:pt x="11373" y="2315"/>
                    </a:lnTo>
                    <a:lnTo>
                      <a:pt x="11393" y="2330"/>
                    </a:lnTo>
                    <a:lnTo>
                      <a:pt x="11399" y="2332"/>
                    </a:lnTo>
                    <a:lnTo>
                      <a:pt x="11404" y="2334"/>
                    </a:lnTo>
                    <a:lnTo>
                      <a:pt x="11409" y="2336"/>
                    </a:lnTo>
                    <a:lnTo>
                      <a:pt x="11415" y="2336"/>
                    </a:lnTo>
                    <a:lnTo>
                      <a:pt x="11420" y="2336"/>
                    </a:lnTo>
                    <a:lnTo>
                      <a:pt x="11424" y="2334"/>
                    </a:lnTo>
                    <a:lnTo>
                      <a:pt x="11429" y="2331"/>
                    </a:lnTo>
                    <a:lnTo>
                      <a:pt x="11433" y="2327"/>
                    </a:lnTo>
                    <a:lnTo>
                      <a:pt x="11444" y="2311"/>
                    </a:lnTo>
                    <a:lnTo>
                      <a:pt x="11455" y="2294"/>
                    </a:lnTo>
                    <a:lnTo>
                      <a:pt x="11459" y="2292"/>
                    </a:lnTo>
                    <a:lnTo>
                      <a:pt x="11461" y="2289"/>
                    </a:lnTo>
                    <a:lnTo>
                      <a:pt x="11464" y="2288"/>
                    </a:lnTo>
                    <a:lnTo>
                      <a:pt x="11467" y="2288"/>
                    </a:lnTo>
                    <a:lnTo>
                      <a:pt x="11470" y="2289"/>
                    </a:lnTo>
                    <a:lnTo>
                      <a:pt x="11473" y="2292"/>
                    </a:lnTo>
                    <a:lnTo>
                      <a:pt x="11476" y="2296"/>
                    </a:lnTo>
                    <a:lnTo>
                      <a:pt x="11480" y="2303"/>
                    </a:lnTo>
                    <a:lnTo>
                      <a:pt x="11482" y="2314"/>
                    </a:lnTo>
                    <a:lnTo>
                      <a:pt x="11487" y="2326"/>
                    </a:lnTo>
                    <a:lnTo>
                      <a:pt x="11489" y="2331"/>
                    </a:lnTo>
                    <a:lnTo>
                      <a:pt x="11492" y="2333"/>
                    </a:lnTo>
                    <a:lnTo>
                      <a:pt x="11494" y="2332"/>
                    </a:lnTo>
                    <a:lnTo>
                      <a:pt x="11497" y="2332"/>
                    </a:lnTo>
                    <a:lnTo>
                      <a:pt x="11498" y="2330"/>
                    </a:lnTo>
                    <a:lnTo>
                      <a:pt x="11500" y="2326"/>
                    </a:lnTo>
                    <a:lnTo>
                      <a:pt x="11511" y="2311"/>
                    </a:lnTo>
                    <a:lnTo>
                      <a:pt x="11519" y="2295"/>
                    </a:lnTo>
                    <a:lnTo>
                      <a:pt x="11508" y="2289"/>
                    </a:lnTo>
                    <a:lnTo>
                      <a:pt x="11486" y="2278"/>
                    </a:lnTo>
                    <a:lnTo>
                      <a:pt x="11481" y="2274"/>
                    </a:lnTo>
                    <a:lnTo>
                      <a:pt x="11477" y="2271"/>
                    </a:lnTo>
                    <a:lnTo>
                      <a:pt x="11476" y="2267"/>
                    </a:lnTo>
                    <a:lnTo>
                      <a:pt x="11475" y="2263"/>
                    </a:lnTo>
                    <a:lnTo>
                      <a:pt x="11477" y="2260"/>
                    </a:lnTo>
                    <a:lnTo>
                      <a:pt x="11481" y="2256"/>
                    </a:lnTo>
                    <a:lnTo>
                      <a:pt x="11488" y="2252"/>
                    </a:lnTo>
                    <a:lnTo>
                      <a:pt x="11498" y="2250"/>
                    </a:lnTo>
                    <a:lnTo>
                      <a:pt x="11498" y="2248"/>
                    </a:lnTo>
                    <a:lnTo>
                      <a:pt x="11497" y="2243"/>
                    </a:lnTo>
                    <a:lnTo>
                      <a:pt x="11492" y="2229"/>
                    </a:lnTo>
                    <a:lnTo>
                      <a:pt x="11487" y="2214"/>
                    </a:lnTo>
                    <a:lnTo>
                      <a:pt x="11484" y="2203"/>
                    </a:lnTo>
                    <a:lnTo>
                      <a:pt x="11469" y="2206"/>
                    </a:lnTo>
                    <a:lnTo>
                      <a:pt x="11453" y="2210"/>
                    </a:lnTo>
                    <a:lnTo>
                      <a:pt x="11444" y="2208"/>
                    </a:lnTo>
                    <a:lnTo>
                      <a:pt x="11438" y="2207"/>
                    </a:lnTo>
                    <a:lnTo>
                      <a:pt x="11434" y="2205"/>
                    </a:lnTo>
                    <a:lnTo>
                      <a:pt x="11432" y="2202"/>
                    </a:lnTo>
                    <a:lnTo>
                      <a:pt x="11432" y="2200"/>
                    </a:lnTo>
                    <a:lnTo>
                      <a:pt x="11432" y="2199"/>
                    </a:lnTo>
                    <a:lnTo>
                      <a:pt x="11434" y="2195"/>
                    </a:lnTo>
                    <a:lnTo>
                      <a:pt x="11437" y="2192"/>
                    </a:lnTo>
                    <a:lnTo>
                      <a:pt x="11451" y="2183"/>
                    </a:lnTo>
                    <a:lnTo>
                      <a:pt x="11464" y="2173"/>
                    </a:lnTo>
                    <a:lnTo>
                      <a:pt x="11467" y="2167"/>
                    </a:lnTo>
                    <a:lnTo>
                      <a:pt x="11467" y="2161"/>
                    </a:lnTo>
                    <a:lnTo>
                      <a:pt x="11466" y="2153"/>
                    </a:lnTo>
                    <a:lnTo>
                      <a:pt x="11464" y="2147"/>
                    </a:lnTo>
                    <a:lnTo>
                      <a:pt x="11460" y="2141"/>
                    </a:lnTo>
                    <a:lnTo>
                      <a:pt x="11458" y="2134"/>
                    </a:lnTo>
                    <a:lnTo>
                      <a:pt x="11456" y="2128"/>
                    </a:lnTo>
                    <a:lnTo>
                      <a:pt x="11456" y="2120"/>
                    </a:lnTo>
                    <a:lnTo>
                      <a:pt x="11467" y="2115"/>
                    </a:lnTo>
                    <a:lnTo>
                      <a:pt x="11480" y="2109"/>
                    </a:lnTo>
                    <a:lnTo>
                      <a:pt x="11499" y="2097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8" name="Freeform 9"/>
              <p:cNvSpPr>
                <a:spLocks/>
              </p:cNvSpPr>
              <p:nvPr/>
            </p:nvSpPr>
            <p:spPr bwMode="auto">
              <a:xfrm>
                <a:off x="1393825" y="4552951"/>
                <a:ext cx="39688" cy="34925"/>
              </a:xfrm>
              <a:custGeom>
                <a:avLst/>
                <a:gdLst>
                  <a:gd name="T0" fmla="*/ 46 w 100"/>
                  <a:gd name="T1" fmla="*/ 82 h 91"/>
                  <a:gd name="T2" fmla="*/ 36 w 100"/>
                  <a:gd name="T3" fmla="*/ 77 h 91"/>
                  <a:gd name="T4" fmla="*/ 28 w 100"/>
                  <a:gd name="T5" fmla="*/ 71 h 91"/>
                  <a:gd name="T6" fmla="*/ 19 w 100"/>
                  <a:gd name="T7" fmla="*/ 65 h 91"/>
                  <a:gd name="T8" fmla="*/ 11 w 100"/>
                  <a:gd name="T9" fmla="*/ 58 h 91"/>
                  <a:gd name="T10" fmla="*/ 7 w 100"/>
                  <a:gd name="T11" fmla="*/ 53 h 91"/>
                  <a:gd name="T12" fmla="*/ 2 w 100"/>
                  <a:gd name="T13" fmla="*/ 47 h 91"/>
                  <a:gd name="T14" fmla="*/ 0 w 100"/>
                  <a:gd name="T15" fmla="*/ 44 h 91"/>
                  <a:gd name="T16" fmla="*/ 0 w 100"/>
                  <a:gd name="T17" fmla="*/ 42 h 91"/>
                  <a:gd name="T18" fmla="*/ 0 w 100"/>
                  <a:gd name="T19" fmla="*/ 39 h 91"/>
                  <a:gd name="T20" fmla="*/ 1 w 100"/>
                  <a:gd name="T21" fmla="*/ 37 h 91"/>
                  <a:gd name="T22" fmla="*/ 13 w 100"/>
                  <a:gd name="T23" fmla="*/ 27 h 91"/>
                  <a:gd name="T24" fmla="*/ 27 w 100"/>
                  <a:gd name="T25" fmla="*/ 18 h 91"/>
                  <a:gd name="T26" fmla="*/ 41 w 100"/>
                  <a:gd name="T27" fmla="*/ 10 h 91"/>
                  <a:gd name="T28" fmla="*/ 55 w 100"/>
                  <a:gd name="T29" fmla="*/ 2 h 91"/>
                  <a:gd name="T30" fmla="*/ 58 w 100"/>
                  <a:gd name="T31" fmla="*/ 1 h 91"/>
                  <a:gd name="T32" fmla="*/ 61 w 100"/>
                  <a:gd name="T33" fmla="*/ 0 h 91"/>
                  <a:gd name="T34" fmla="*/ 63 w 100"/>
                  <a:gd name="T35" fmla="*/ 1 h 91"/>
                  <a:gd name="T36" fmla="*/ 65 w 100"/>
                  <a:gd name="T37" fmla="*/ 5 h 91"/>
                  <a:gd name="T38" fmla="*/ 68 w 100"/>
                  <a:gd name="T39" fmla="*/ 12 h 91"/>
                  <a:gd name="T40" fmla="*/ 72 w 100"/>
                  <a:gd name="T41" fmla="*/ 21 h 91"/>
                  <a:gd name="T42" fmla="*/ 77 w 100"/>
                  <a:gd name="T43" fmla="*/ 28 h 91"/>
                  <a:gd name="T44" fmla="*/ 82 w 100"/>
                  <a:gd name="T45" fmla="*/ 36 h 91"/>
                  <a:gd name="T46" fmla="*/ 90 w 100"/>
                  <a:gd name="T47" fmla="*/ 42 h 91"/>
                  <a:gd name="T48" fmla="*/ 96 w 100"/>
                  <a:gd name="T49" fmla="*/ 48 h 91"/>
                  <a:gd name="T50" fmla="*/ 99 w 100"/>
                  <a:gd name="T51" fmla="*/ 51 h 91"/>
                  <a:gd name="T52" fmla="*/ 100 w 100"/>
                  <a:gd name="T53" fmla="*/ 55 h 91"/>
                  <a:gd name="T54" fmla="*/ 100 w 100"/>
                  <a:gd name="T55" fmla="*/ 60 h 91"/>
                  <a:gd name="T56" fmla="*/ 98 w 100"/>
                  <a:gd name="T57" fmla="*/ 65 h 91"/>
                  <a:gd name="T58" fmla="*/ 91 w 100"/>
                  <a:gd name="T59" fmla="*/ 75 h 91"/>
                  <a:gd name="T60" fmla="*/ 84 w 100"/>
                  <a:gd name="T61" fmla="*/ 82 h 91"/>
                  <a:gd name="T62" fmla="*/ 80 w 100"/>
                  <a:gd name="T63" fmla="*/ 86 h 91"/>
                  <a:gd name="T64" fmla="*/ 77 w 100"/>
                  <a:gd name="T65" fmla="*/ 88 h 91"/>
                  <a:gd name="T66" fmla="*/ 71 w 100"/>
                  <a:gd name="T67" fmla="*/ 89 h 91"/>
                  <a:gd name="T68" fmla="*/ 63 w 100"/>
                  <a:gd name="T69" fmla="*/ 91 h 91"/>
                  <a:gd name="T70" fmla="*/ 46 w 100"/>
                  <a:gd name="T71" fmla="*/ 8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91">
                    <a:moveTo>
                      <a:pt x="46" y="82"/>
                    </a:moveTo>
                    <a:lnTo>
                      <a:pt x="36" y="77"/>
                    </a:lnTo>
                    <a:lnTo>
                      <a:pt x="28" y="71"/>
                    </a:lnTo>
                    <a:lnTo>
                      <a:pt x="19" y="65"/>
                    </a:lnTo>
                    <a:lnTo>
                      <a:pt x="11" y="58"/>
                    </a:lnTo>
                    <a:lnTo>
                      <a:pt x="7" y="53"/>
                    </a:lnTo>
                    <a:lnTo>
                      <a:pt x="2" y="47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13" y="27"/>
                    </a:lnTo>
                    <a:lnTo>
                      <a:pt x="27" y="18"/>
                    </a:lnTo>
                    <a:lnTo>
                      <a:pt x="41" y="10"/>
                    </a:lnTo>
                    <a:lnTo>
                      <a:pt x="55" y="2"/>
                    </a:lnTo>
                    <a:lnTo>
                      <a:pt x="58" y="1"/>
                    </a:lnTo>
                    <a:lnTo>
                      <a:pt x="61" y="0"/>
                    </a:lnTo>
                    <a:lnTo>
                      <a:pt x="63" y="1"/>
                    </a:lnTo>
                    <a:lnTo>
                      <a:pt x="65" y="5"/>
                    </a:lnTo>
                    <a:lnTo>
                      <a:pt x="68" y="12"/>
                    </a:lnTo>
                    <a:lnTo>
                      <a:pt x="72" y="21"/>
                    </a:lnTo>
                    <a:lnTo>
                      <a:pt x="77" y="28"/>
                    </a:lnTo>
                    <a:lnTo>
                      <a:pt x="82" y="36"/>
                    </a:lnTo>
                    <a:lnTo>
                      <a:pt x="90" y="42"/>
                    </a:lnTo>
                    <a:lnTo>
                      <a:pt x="96" y="48"/>
                    </a:lnTo>
                    <a:lnTo>
                      <a:pt x="99" y="51"/>
                    </a:lnTo>
                    <a:lnTo>
                      <a:pt x="100" y="55"/>
                    </a:lnTo>
                    <a:lnTo>
                      <a:pt x="100" y="60"/>
                    </a:lnTo>
                    <a:lnTo>
                      <a:pt x="98" y="65"/>
                    </a:lnTo>
                    <a:lnTo>
                      <a:pt x="91" y="75"/>
                    </a:lnTo>
                    <a:lnTo>
                      <a:pt x="84" y="82"/>
                    </a:lnTo>
                    <a:lnTo>
                      <a:pt x="80" y="86"/>
                    </a:lnTo>
                    <a:lnTo>
                      <a:pt x="77" y="88"/>
                    </a:lnTo>
                    <a:lnTo>
                      <a:pt x="71" y="89"/>
                    </a:lnTo>
                    <a:lnTo>
                      <a:pt x="63" y="91"/>
                    </a:lnTo>
                    <a:lnTo>
                      <a:pt x="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9" name="Freeform 10"/>
              <p:cNvSpPr>
                <a:spLocks/>
              </p:cNvSpPr>
              <p:nvPr/>
            </p:nvSpPr>
            <p:spPr bwMode="auto">
              <a:xfrm>
                <a:off x="4065588" y="5981701"/>
                <a:ext cx="50800" cy="50800"/>
              </a:xfrm>
              <a:custGeom>
                <a:avLst/>
                <a:gdLst>
                  <a:gd name="T0" fmla="*/ 9 w 127"/>
                  <a:gd name="T1" fmla="*/ 102 h 130"/>
                  <a:gd name="T2" fmla="*/ 14 w 127"/>
                  <a:gd name="T3" fmla="*/ 87 h 130"/>
                  <a:gd name="T4" fmla="*/ 18 w 127"/>
                  <a:gd name="T5" fmla="*/ 74 h 130"/>
                  <a:gd name="T6" fmla="*/ 20 w 127"/>
                  <a:gd name="T7" fmla="*/ 67 h 130"/>
                  <a:gd name="T8" fmla="*/ 23 w 127"/>
                  <a:gd name="T9" fmla="*/ 61 h 130"/>
                  <a:gd name="T10" fmla="*/ 27 w 127"/>
                  <a:gd name="T11" fmla="*/ 55 h 130"/>
                  <a:gd name="T12" fmla="*/ 30 w 127"/>
                  <a:gd name="T13" fmla="*/ 49 h 130"/>
                  <a:gd name="T14" fmla="*/ 46 w 127"/>
                  <a:gd name="T15" fmla="*/ 37 h 130"/>
                  <a:gd name="T16" fmla="*/ 65 w 127"/>
                  <a:gd name="T17" fmla="*/ 27 h 130"/>
                  <a:gd name="T18" fmla="*/ 96 w 127"/>
                  <a:gd name="T19" fmla="*/ 4 h 130"/>
                  <a:gd name="T20" fmla="*/ 102 w 127"/>
                  <a:gd name="T21" fmla="*/ 0 h 130"/>
                  <a:gd name="T22" fmla="*/ 106 w 127"/>
                  <a:gd name="T23" fmla="*/ 0 h 130"/>
                  <a:gd name="T24" fmla="*/ 109 w 127"/>
                  <a:gd name="T25" fmla="*/ 3 h 130"/>
                  <a:gd name="T26" fmla="*/ 113 w 127"/>
                  <a:gd name="T27" fmla="*/ 7 h 130"/>
                  <a:gd name="T28" fmla="*/ 118 w 127"/>
                  <a:gd name="T29" fmla="*/ 12 h 130"/>
                  <a:gd name="T30" fmla="*/ 123 w 127"/>
                  <a:gd name="T31" fmla="*/ 17 h 130"/>
                  <a:gd name="T32" fmla="*/ 126 w 127"/>
                  <a:gd name="T33" fmla="*/ 21 h 130"/>
                  <a:gd name="T34" fmla="*/ 127 w 127"/>
                  <a:gd name="T35" fmla="*/ 25 h 130"/>
                  <a:gd name="T36" fmla="*/ 127 w 127"/>
                  <a:gd name="T37" fmla="*/ 28 h 130"/>
                  <a:gd name="T38" fmla="*/ 125 w 127"/>
                  <a:gd name="T39" fmla="*/ 33 h 130"/>
                  <a:gd name="T40" fmla="*/ 121 w 127"/>
                  <a:gd name="T41" fmla="*/ 38 h 130"/>
                  <a:gd name="T42" fmla="*/ 116 w 127"/>
                  <a:gd name="T43" fmla="*/ 45 h 130"/>
                  <a:gd name="T44" fmla="*/ 110 w 127"/>
                  <a:gd name="T45" fmla="*/ 53 h 130"/>
                  <a:gd name="T46" fmla="*/ 101 w 127"/>
                  <a:gd name="T47" fmla="*/ 59 h 130"/>
                  <a:gd name="T48" fmla="*/ 93 w 127"/>
                  <a:gd name="T49" fmla="*/ 64 h 130"/>
                  <a:gd name="T50" fmla="*/ 84 w 127"/>
                  <a:gd name="T51" fmla="*/ 67 h 130"/>
                  <a:gd name="T52" fmla="*/ 76 w 127"/>
                  <a:gd name="T53" fmla="*/ 71 h 130"/>
                  <a:gd name="T54" fmla="*/ 67 w 127"/>
                  <a:gd name="T55" fmla="*/ 75 h 130"/>
                  <a:gd name="T56" fmla="*/ 58 w 127"/>
                  <a:gd name="T57" fmla="*/ 81 h 130"/>
                  <a:gd name="T58" fmla="*/ 51 w 127"/>
                  <a:gd name="T59" fmla="*/ 88 h 130"/>
                  <a:gd name="T60" fmla="*/ 40 w 127"/>
                  <a:gd name="T61" fmla="*/ 99 h 130"/>
                  <a:gd name="T62" fmla="*/ 27 w 127"/>
                  <a:gd name="T63" fmla="*/ 113 h 130"/>
                  <a:gd name="T64" fmla="*/ 19 w 127"/>
                  <a:gd name="T65" fmla="*/ 120 h 130"/>
                  <a:gd name="T66" fmla="*/ 12 w 127"/>
                  <a:gd name="T67" fmla="*/ 125 h 130"/>
                  <a:gd name="T68" fmla="*/ 6 w 127"/>
                  <a:gd name="T69" fmla="*/ 129 h 130"/>
                  <a:gd name="T70" fmla="*/ 0 w 127"/>
                  <a:gd name="T71" fmla="*/ 130 h 130"/>
                  <a:gd name="T72" fmla="*/ 9 w 127"/>
                  <a:gd name="T73" fmla="*/ 102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7" h="130">
                    <a:moveTo>
                      <a:pt x="9" y="102"/>
                    </a:moveTo>
                    <a:lnTo>
                      <a:pt x="14" y="87"/>
                    </a:lnTo>
                    <a:lnTo>
                      <a:pt x="18" y="74"/>
                    </a:lnTo>
                    <a:lnTo>
                      <a:pt x="20" y="67"/>
                    </a:lnTo>
                    <a:lnTo>
                      <a:pt x="23" y="61"/>
                    </a:lnTo>
                    <a:lnTo>
                      <a:pt x="27" y="55"/>
                    </a:lnTo>
                    <a:lnTo>
                      <a:pt x="30" y="49"/>
                    </a:lnTo>
                    <a:lnTo>
                      <a:pt x="46" y="37"/>
                    </a:lnTo>
                    <a:lnTo>
                      <a:pt x="65" y="27"/>
                    </a:lnTo>
                    <a:lnTo>
                      <a:pt x="96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9" y="3"/>
                    </a:lnTo>
                    <a:lnTo>
                      <a:pt x="113" y="7"/>
                    </a:lnTo>
                    <a:lnTo>
                      <a:pt x="118" y="12"/>
                    </a:lnTo>
                    <a:lnTo>
                      <a:pt x="123" y="17"/>
                    </a:lnTo>
                    <a:lnTo>
                      <a:pt x="126" y="21"/>
                    </a:lnTo>
                    <a:lnTo>
                      <a:pt x="127" y="25"/>
                    </a:lnTo>
                    <a:lnTo>
                      <a:pt x="127" y="28"/>
                    </a:lnTo>
                    <a:lnTo>
                      <a:pt x="125" y="33"/>
                    </a:lnTo>
                    <a:lnTo>
                      <a:pt x="121" y="38"/>
                    </a:lnTo>
                    <a:lnTo>
                      <a:pt x="116" y="45"/>
                    </a:lnTo>
                    <a:lnTo>
                      <a:pt x="110" y="53"/>
                    </a:lnTo>
                    <a:lnTo>
                      <a:pt x="101" y="59"/>
                    </a:lnTo>
                    <a:lnTo>
                      <a:pt x="93" y="64"/>
                    </a:lnTo>
                    <a:lnTo>
                      <a:pt x="84" y="67"/>
                    </a:lnTo>
                    <a:lnTo>
                      <a:pt x="76" y="71"/>
                    </a:lnTo>
                    <a:lnTo>
                      <a:pt x="67" y="75"/>
                    </a:lnTo>
                    <a:lnTo>
                      <a:pt x="58" y="81"/>
                    </a:lnTo>
                    <a:lnTo>
                      <a:pt x="51" y="88"/>
                    </a:lnTo>
                    <a:lnTo>
                      <a:pt x="40" y="99"/>
                    </a:lnTo>
                    <a:lnTo>
                      <a:pt x="27" y="113"/>
                    </a:lnTo>
                    <a:lnTo>
                      <a:pt x="19" y="120"/>
                    </a:lnTo>
                    <a:lnTo>
                      <a:pt x="12" y="125"/>
                    </a:lnTo>
                    <a:lnTo>
                      <a:pt x="6" y="129"/>
                    </a:lnTo>
                    <a:lnTo>
                      <a:pt x="0" y="130"/>
                    </a:lnTo>
                    <a:lnTo>
                      <a:pt x="9" y="1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0" name="Freeform 11"/>
              <p:cNvSpPr>
                <a:spLocks/>
              </p:cNvSpPr>
              <p:nvPr/>
            </p:nvSpPr>
            <p:spPr bwMode="auto">
              <a:xfrm>
                <a:off x="6670675" y="4551363"/>
                <a:ext cx="22225" cy="23813"/>
              </a:xfrm>
              <a:custGeom>
                <a:avLst/>
                <a:gdLst>
                  <a:gd name="T0" fmla="*/ 38 w 57"/>
                  <a:gd name="T1" fmla="*/ 59 h 60"/>
                  <a:gd name="T2" fmla="*/ 32 w 57"/>
                  <a:gd name="T3" fmla="*/ 56 h 60"/>
                  <a:gd name="T4" fmla="*/ 27 w 57"/>
                  <a:gd name="T5" fmla="*/ 54 h 60"/>
                  <a:gd name="T6" fmla="*/ 21 w 57"/>
                  <a:gd name="T7" fmla="*/ 50 h 60"/>
                  <a:gd name="T8" fmla="*/ 17 w 57"/>
                  <a:gd name="T9" fmla="*/ 46 h 60"/>
                  <a:gd name="T10" fmla="*/ 15 w 57"/>
                  <a:gd name="T11" fmla="*/ 44 h 60"/>
                  <a:gd name="T12" fmla="*/ 15 w 57"/>
                  <a:gd name="T13" fmla="*/ 40 h 60"/>
                  <a:gd name="T14" fmla="*/ 13 w 57"/>
                  <a:gd name="T15" fmla="*/ 37 h 60"/>
                  <a:gd name="T16" fmla="*/ 13 w 57"/>
                  <a:gd name="T17" fmla="*/ 33 h 60"/>
                  <a:gd name="T18" fmla="*/ 12 w 57"/>
                  <a:gd name="T19" fmla="*/ 26 h 60"/>
                  <a:gd name="T20" fmla="*/ 9 w 57"/>
                  <a:gd name="T21" fmla="*/ 18 h 60"/>
                  <a:gd name="T22" fmla="*/ 6 w 57"/>
                  <a:gd name="T23" fmla="*/ 14 h 60"/>
                  <a:gd name="T24" fmla="*/ 2 w 57"/>
                  <a:gd name="T25" fmla="*/ 11 h 60"/>
                  <a:gd name="T26" fmla="*/ 0 w 57"/>
                  <a:gd name="T27" fmla="*/ 7 h 60"/>
                  <a:gd name="T28" fmla="*/ 0 w 57"/>
                  <a:gd name="T29" fmla="*/ 2 h 60"/>
                  <a:gd name="T30" fmla="*/ 2 w 57"/>
                  <a:gd name="T31" fmla="*/ 0 h 60"/>
                  <a:gd name="T32" fmla="*/ 5 w 57"/>
                  <a:gd name="T33" fmla="*/ 0 h 60"/>
                  <a:gd name="T34" fmla="*/ 9 w 57"/>
                  <a:gd name="T35" fmla="*/ 1 h 60"/>
                  <a:gd name="T36" fmla="*/ 13 w 57"/>
                  <a:gd name="T37" fmla="*/ 2 h 60"/>
                  <a:gd name="T38" fmla="*/ 22 w 57"/>
                  <a:gd name="T39" fmla="*/ 6 h 60"/>
                  <a:gd name="T40" fmla="*/ 27 w 57"/>
                  <a:gd name="T41" fmla="*/ 8 h 60"/>
                  <a:gd name="T42" fmla="*/ 33 w 57"/>
                  <a:gd name="T43" fmla="*/ 8 h 60"/>
                  <a:gd name="T44" fmla="*/ 39 w 57"/>
                  <a:gd name="T45" fmla="*/ 8 h 60"/>
                  <a:gd name="T46" fmla="*/ 42 w 57"/>
                  <a:gd name="T47" fmla="*/ 10 h 60"/>
                  <a:gd name="T48" fmla="*/ 43 w 57"/>
                  <a:gd name="T49" fmla="*/ 12 h 60"/>
                  <a:gd name="T50" fmla="*/ 44 w 57"/>
                  <a:gd name="T51" fmla="*/ 14 h 60"/>
                  <a:gd name="T52" fmla="*/ 44 w 57"/>
                  <a:gd name="T53" fmla="*/ 18 h 60"/>
                  <a:gd name="T54" fmla="*/ 43 w 57"/>
                  <a:gd name="T55" fmla="*/ 24 h 60"/>
                  <a:gd name="T56" fmla="*/ 43 w 57"/>
                  <a:gd name="T57" fmla="*/ 30 h 60"/>
                  <a:gd name="T58" fmla="*/ 43 w 57"/>
                  <a:gd name="T59" fmla="*/ 32 h 60"/>
                  <a:gd name="T60" fmla="*/ 44 w 57"/>
                  <a:gd name="T61" fmla="*/ 34 h 60"/>
                  <a:gd name="T62" fmla="*/ 45 w 57"/>
                  <a:gd name="T63" fmla="*/ 37 h 60"/>
                  <a:gd name="T64" fmla="*/ 49 w 57"/>
                  <a:gd name="T65" fmla="*/ 39 h 60"/>
                  <a:gd name="T66" fmla="*/ 53 w 57"/>
                  <a:gd name="T67" fmla="*/ 40 h 60"/>
                  <a:gd name="T68" fmla="*/ 55 w 57"/>
                  <a:gd name="T69" fmla="*/ 43 h 60"/>
                  <a:gd name="T70" fmla="*/ 57 w 57"/>
                  <a:gd name="T71" fmla="*/ 45 h 60"/>
                  <a:gd name="T72" fmla="*/ 57 w 57"/>
                  <a:gd name="T73" fmla="*/ 49 h 60"/>
                  <a:gd name="T74" fmla="*/ 56 w 57"/>
                  <a:gd name="T75" fmla="*/ 51 h 60"/>
                  <a:gd name="T76" fmla="*/ 54 w 57"/>
                  <a:gd name="T77" fmla="*/ 55 h 60"/>
                  <a:gd name="T78" fmla="*/ 50 w 57"/>
                  <a:gd name="T79" fmla="*/ 59 h 60"/>
                  <a:gd name="T80" fmla="*/ 46 w 57"/>
                  <a:gd name="T81" fmla="*/ 60 h 60"/>
                  <a:gd name="T82" fmla="*/ 38 w 57"/>
                  <a:gd name="T83" fmla="*/ 5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" h="60">
                    <a:moveTo>
                      <a:pt x="38" y="59"/>
                    </a:moveTo>
                    <a:lnTo>
                      <a:pt x="32" y="56"/>
                    </a:lnTo>
                    <a:lnTo>
                      <a:pt x="27" y="54"/>
                    </a:lnTo>
                    <a:lnTo>
                      <a:pt x="21" y="50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5" y="40"/>
                    </a:lnTo>
                    <a:lnTo>
                      <a:pt x="13" y="37"/>
                    </a:lnTo>
                    <a:lnTo>
                      <a:pt x="13" y="33"/>
                    </a:lnTo>
                    <a:lnTo>
                      <a:pt x="12" y="26"/>
                    </a:lnTo>
                    <a:lnTo>
                      <a:pt x="9" y="18"/>
                    </a:lnTo>
                    <a:lnTo>
                      <a:pt x="6" y="14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3" y="2"/>
                    </a:lnTo>
                    <a:lnTo>
                      <a:pt x="22" y="6"/>
                    </a:lnTo>
                    <a:lnTo>
                      <a:pt x="27" y="8"/>
                    </a:lnTo>
                    <a:lnTo>
                      <a:pt x="33" y="8"/>
                    </a:lnTo>
                    <a:lnTo>
                      <a:pt x="39" y="8"/>
                    </a:lnTo>
                    <a:lnTo>
                      <a:pt x="42" y="10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3" y="24"/>
                    </a:lnTo>
                    <a:lnTo>
                      <a:pt x="43" y="30"/>
                    </a:lnTo>
                    <a:lnTo>
                      <a:pt x="43" y="32"/>
                    </a:lnTo>
                    <a:lnTo>
                      <a:pt x="44" y="34"/>
                    </a:lnTo>
                    <a:lnTo>
                      <a:pt x="45" y="37"/>
                    </a:lnTo>
                    <a:lnTo>
                      <a:pt x="49" y="39"/>
                    </a:lnTo>
                    <a:lnTo>
                      <a:pt x="53" y="40"/>
                    </a:lnTo>
                    <a:lnTo>
                      <a:pt x="55" y="43"/>
                    </a:lnTo>
                    <a:lnTo>
                      <a:pt x="57" y="45"/>
                    </a:lnTo>
                    <a:lnTo>
                      <a:pt x="57" y="49"/>
                    </a:lnTo>
                    <a:lnTo>
                      <a:pt x="56" y="51"/>
                    </a:lnTo>
                    <a:lnTo>
                      <a:pt x="54" y="55"/>
                    </a:lnTo>
                    <a:lnTo>
                      <a:pt x="50" y="59"/>
                    </a:lnTo>
                    <a:lnTo>
                      <a:pt x="46" y="60"/>
                    </a:lnTo>
                    <a:lnTo>
                      <a:pt x="38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1" name="Freeform 12"/>
              <p:cNvSpPr>
                <a:spLocks/>
              </p:cNvSpPr>
              <p:nvPr/>
            </p:nvSpPr>
            <p:spPr bwMode="auto">
              <a:xfrm>
                <a:off x="7367588" y="4676776"/>
                <a:ext cx="273050" cy="198438"/>
              </a:xfrm>
              <a:custGeom>
                <a:avLst/>
                <a:gdLst>
                  <a:gd name="T0" fmla="*/ 181 w 688"/>
                  <a:gd name="T1" fmla="*/ 249 h 497"/>
                  <a:gd name="T2" fmla="*/ 124 w 688"/>
                  <a:gd name="T3" fmla="*/ 191 h 497"/>
                  <a:gd name="T4" fmla="*/ 90 w 688"/>
                  <a:gd name="T5" fmla="*/ 150 h 497"/>
                  <a:gd name="T6" fmla="*/ 58 w 688"/>
                  <a:gd name="T7" fmla="*/ 82 h 497"/>
                  <a:gd name="T8" fmla="*/ 8 w 688"/>
                  <a:gd name="T9" fmla="*/ 0 h 497"/>
                  <a:gd name="T10" fmla="*/ 41 w 688"/>
                  <a:gd name="T11" fmla="*/ 18 h 497"/>
                  <a:gd name="T12" fmla="*/ 88 w 688"/>
                  <a:gd name="T13" fmla="*/ 65 h 497"/>
                  <a:gd name="T14" fmla="*/ 123 w 688"/>
                  <a:gd name="T15" fmla="*/ 91 h 497"/>
                  <a:gd name="T16" fmla="*/ 151 w 688"/>
                  <a:gd name="T17" fmla="*/ 124 h 497"/>
                  <a:gd name="T18" fmla="*/ 174 w 688"/>
                  <a:gd name="T19" fmla="*/ 140 h 497"/>
                  <a:gd name="T20" fmla="*/ 202 w 688"/>
                  <a:gd name="T21" fmla="*/ 141 h 497"/>
                  <a:gd name="T22" fmla="*/ 213 w 688"/>
                  <a:gd name="T23" fmla="*/ 123 h 497"/>
                  <a:gd name="T24" fmla="*/ 219 w 688"/>
                  <a:gd name="T25" fmla="*/ 87 h 497"/>
                  <a:gd name="T26" fmla="*/ 249 w 688"/>
                  <a:gd name="T27" fmla="*/ 98 h 497"/>
                  <a:gd name="T28" fmla="*/ 310 w 688"/>
                  <a:gd name="T29" fmla="*/ 130 h 497"/>
                  <a:gd name="T30" fmla="*/ 338 w 688"/>
                  <a:gd name="T31" fmla="*/ 124 h 497"/>
                  <a:gd name="T32" fmla="*/ 355 w 688"/>
                  <a:gd name="T33" fmla="*/ 103 h 497"/>
                  <a:gd name="T34" fmla="*/ 376 w 688"/>
                  <a:gd name="T35" fmla="*/ 111 h 497"/>
                  <a:gd name="T36" fmla="*/ 400 w 688"/>
                  <a:gd name="T37" fmla="*/ 125 h 497"/>
                  <a:gd name="T38" fmla="*/ 431 w 688"/>
                  <a:gd name="T39" fmla="*/ 125 h 497"/>
                  <a:gd name="T40" fmla="*/ 451 w 688"/>
                  <a:gd name="T41" fmla="*/ 118 h 497"/>
                  <a:gd name="T42" fmla="*/ 497 w 688"/>
                  <a:gd name="T43" fmla="*/ 135 h 497"/>
                  <a:gd name="T44" fmla="*/ 584 w 688"/>
                  <a:gd name="T45" fmla="*/ 189 h 497"/>
                  <a:gd name="T46" fmla="*/ 661 w 688"/>
                  <a:gd name="T47" fmla="*/ 254 h 497"/>
                  <a:gd name="T48" fmla="*/ 681 w 688"/>
                  <a:gd name="T49" fmla="*/ 294 h 497"/>
                  <a:gd name="T50" fmla="*/ 686 w 688"/>
                  <a:gd name="T51" fmla="*/ 322 h 497"/>
                  <a:gd name="T52" fmla="*/ 638 w 688"/>
                  <a:gd name="T53" fmla="*/ 311 h 497"/>
                  <a:gd name="T54" fmla="*/ 602 w 688"/>
                  <a:gd name="T55" fmla="*/ 303 h 497"/>
                  <a:gd name="T56" fmla="*/ 597 w 688"/>
                  <a:gd name="T57" fmla="*/ 324 h 497"/>
                  <a:gd name="T58" fmla="*/ 602 w 688"/>
                  <a:gd name="T59" fmla="*/ 374 h 497"/>
                  <a:gd name="T60" fmla="*/ 579 w 688"/>
                  <a:gd name="T61" fmla="*/ 410 h 497"/>
                  <a:gd name="T62" fmla="*/ 566 w 688"/>
                  <a:gd name="T63" fmla="*/ 424 h 497"/>
                  <a:gd name="T64" fmla="*/ 561 w 688"/>
                  <a:gd name="T65" fmla="*/ 398 h 497"/>
                  <a:gd name="T66" fmla="*/ 544 w 688"/>
                  <a:gd name="T67" fmla="*/ 371 h 497"/>
                  <a:gd name="T68" fmla="*/ 501 w 688"/>
                  <a:gd name="T69" fmla="*/ 386 h 497"/>
                  <a:gd name="T70" fmla="*/ 468 w 688"/>
                  <a:gd name="T71" fmla="*/ 382 h 497"/>
                  <a:gd name="T72" fmla="*/ 449 w 688"/>
                  <a:gd name="T73" fmla="*/ 337 h 497"/>
                  <a:gd name="T74" fmla="*/ 429 w 688"/>
                  <a:gd name="T75" fmla="*/ 313 h 497"/>
                  <a:gd name="T76" fmla="*/ 386 w 688"/>
                  <a:gd name="T77" fmla="*/ 309 h 497"/>
                  <a:gd name="T78" fmla="*/ 322 w 688"/>
                  <a:gd name="T79" fmla="*/ 298 h 497"/>
                  <a:gd name="T80" fmla="*/ 299 w 688"/>
                  <a:gd name="T81" fmla="*/ 306 h 497"/>
                  <a:gd name="T82" fmla="*/ 306 w 688"/>
                  <a:gd name="T83" fmla="*/ 324 h 497"/>
                  <a:gd name="T84" fmla="*/ 344 w 688"/>
                  <a:gd name="T85" fmla="*/ 339 h 497"/>
                  <a:gd name="T86" fmla="*/ 382 w 688"/>
                  <a:gd name="T87" fmla="*/ 357 h 497"/>
                  <a:gd name="T88" fmla="*/ 391 w 688"/>
                  <a:gd name="T89" fmla="*/ 376 h 497"/>
                  <a:gd name="T90" fmla="*/ 394 w 688"/>
                  <a:gd name="T91" fmla="*/ 408 h 497"/>
                  <a:gd name="T92" fmla="*/ 404 w 688"/>
                  <a:gd name="T93" fmla="*/ 412 h 497"/>
                  <a:gd name="T94" fmla="*/ 418 w 688"/>
                  <a:gd name="T95" fmla="*/ 410 h 497"/>
                  <a:gd name="T96" fmla="*/ 420 w 688"/>
                  <a:gd name="T97" fmla="*/ 447 h 497"/>
                  <a:gd name="T98" fmla="*/ 413 w 688"/>
                  <a:gd name="T99" fmla="*/ 467 h 497"/>
                  <a:gd name="T100" fmla="*/ 415 w 688"/>
                  <a:gd name="T101" fmla="*/ 483 h 497"/>
                  <a:gd name="T102" fmla="*/ 411 w 688"/>
                  <a:gd name="T103" fmla="*/ 497 h 497"/>
                  <a:gd name="T104" fmla="*/ 397 w 688"/>
                  <a:gd name="T105" fmla="*/ 494 h 497"/>
                  <a:gd name="T106" fmla="*/ 337 w 688"/>
                  <a:gd name="T107" fmla="*/ 431 h 497"/>
                  <a:gd name="T108" fmla="*/ 294 w 688"/>
                  <a:gd name="T109" fmla="*/ 386 h 497"/>
                  <a:gd name="T110" fmla="*/ 287 w 688"/>
                  <a:gd name="T111" fmla="*/ 369 h 497"/>
                  <a:gd name="T112" fmla="*/ 282 w 688"/>
                  <a:gd name="T113" fmla="*/ 352 h 497"/>
                  <a:gd name="T114" fmla="*/ 265 w 688"/>
                  <a:gd name="T115" fmla="*/ 344 h 497"/>
                  <a:gd name="T116" fmla="*/ 227 w 688"/>
                  <a:gd name="T117" fmla="*/ 337 h 497"/>
                  <a:gd name="T118" fmla="*/ 211 w 688"/>
                  <a:gd name="T119" fmla="*/ 306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8" h="497">
                    <a:moveTo>
                      <a:pt x="201" y="281"/>
                    </a:moveTo>
                    <a:lnTo>
                      <a:pt x="196" y="270"/>
                    </a:lnTo>
                    <a:lnTo>
                      <a:pt x="189" y="259"/>
                    </a:lnTo>
                    <a:lnTo>
                      <a:pt x="181" y="249"/>
                    </a:lnTo>
                    <a:lnTo>
                      <a:pt x="174" y="240"/>
                    </a:lnTo>
                    <a:lnTo>
                      <a:pt x="157" y="223"/>
                    </a:lnTo>
                    <a:lnTo>
                      <a:pt x="140" y="207"/>
                    </a:lnTo>
                    <a:lnTo>
                      <a:pt x="124" y="191"/>
                    </a:lnTo>
                    <a:lnTo>
                      <a:pt x="108" y="175"/>
                    </a:lnTo>
                    <a:lnTo>
                      <a:pt x="101" y="167"/>
                    </a:lnTo>
                    <a:lnTo>
                      <a:pt x="94" y="158"/>
                    </a:lnTo>
                    <a:lnTo>
                      <a:pt x="90" y="150"/>
                    </a:lnTo>
                    <a:lnTo>
                      <a:pt x="86" y="140"/>
                    </a:lnTo>
                    <a:lnTo>
                      <a:pt x="77" y="119"/>
                    </a:lnTo>
                    <a:lnTo>
                      <a:pt x="68" y="100"/>
                    </a:lnTo>
                    <a:lnTo>
                      <a:pt x="58" y="82"/>
                    </a:lnTo>
                    <a:lnTo>
                      <a:pt x="48" y="65"/>
                    </a:lnTo>
                    <a:lnTo>
                      <a:pt x="25" y="34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5" y="3"/>
                    </a:lnTo>
                    <a:lnTo>
                      <a:pt x="22" y="5"/>
                    </a:lnTo>
                    <a:lnTo>
                      <a:pt x="28" y="9"/>
                    </a:lnTo>
                    <a:lnTo>
                      <a:pt x="41" y="18"/>
                    </a:lnTo>
                    <a:lnTo>
                      <a:pt x="52" y="29"/>
                    </a:lnTo>
                    <a:lnTo>
                      <a:pt x="63" y="41"/>
                    </a:lnTo>
                    <a:lnTo>
                      <a:pt x="75" y="53"/>
                    </a:lnTo>
                    <a:lnTo>
                      <a:pt x="88" y="65"/>
                    </a:lnTo>
                    <a:lnTo>
                      <a:pt x="104" y="76"/>
                    </a:lnTo>
                    <a:lnTo>
                      <a:pt x="112" y="81"/>
                    </a:lnTo>
                    <a:lnTo>
                      <a:pt x="116" y="86"/>
                    </a:lnTo>
                    <a:lnTo>
                      <a:pt x="123" y="91"/>
                    </a:lnTo>
                    <a:lnTo>
                      <a:pt x="127" y="96"/>
                    </a:lnTo>
                    <a:lnTo>
                      <a:pt x="136" y="108"/>
                    </a:lnTo>
                    <a:lnTo>
                      <a:pt x="146" y="119"/>
                    </a:lnTo>
                    <a:lnTo>
                      <a:pt x="151" y="124"/>
                    </a:lnTo>
                    <a:lnTo>
                      <a:pt x="156" y="129"/>
                    </a:lnTo>
                    <a:lnTo>
                      <a:pt x="161" y="133"/>
                    </a:lnTo>
                    <a:lnTo>
                      <a:pt x="167" y="136"/>
                    </a:lnTo>
                    <a:lnTo>
                      <a:pt x="174" y="140"/>
                    </a:lnTo>
                    <a:lnTo>
                      <a:pt x="181" y="141"/>
                    </a:lnTo>
                    <a:lnTo>
                      <a:pt x="189" y="142"/>
                    </a:lnTo>
                    <a:lnTo>
                      <a:pt x="198" y="142"/>
                    </a:lnTo>
                    <a:lnTo>
                      <a:pt x="202" y="141"/>
                    </a:lnTo>
                    <a:lnTo>
                      <a:pt x="205" y="140"/>
                    </a:lnTo>
                    <a:lnTo>
                      <a:pt x="207" y="136"/>
                    </a:lnTo>
                    <a:lnTo>
                      <a:pt x="209" y="133"/>
                    </a:lnTo>
                    <a:lnTo>
                      <a:pt x="213" y="123"/>
                    </a:lnTo>
                    <a:lnTo>
                      <a:pt x="216" y="112"/>
                    </a:lnTo>
                    <a:lnTo>
                      <a:pt x="217" y="101"/>
                    </a:lnTo>
                    <a:lnTo>
                      <a:pt x="219" y="91"/>
                    </a:lnTo>
                    <a:lnTo>
                      <a:pt x="219" y="87"/>
                    </a:lnTo>
                    <a:lnTo>
                      <a:pt x="221" y="85"/>
                    </a:lnTo>
                    <a:lnTo>
                      <a:pt x="222" y="84"/>
                    </a:lnTo>
                    <a:lnTo>
                      <a:pt x="223" y="84"/>
                    </a:lnTo>
                    <a:lnTo>
                      <a:pt x="249" y="98"/>
                    </a:lnTo>
                    <a:lnTo>
                      <a:pt x="284" y="120"/>
                    </a:lnTo>
                    <a:lnTo>
                      <a:pt x="293" y="124"/>
                    </a:lnTo>
                    <a:lnTo>
                      <a:pt x="301" y="128"/>
                    </a:lnTo>
                    <a:lnTo>
                      <a:pt x="310" y="130"/>
                    </a:lnTo>
                    <a:lnTo>
                      <a:pt x="318" y="131"/>
                    </a:lnTo>
                    <a:lnTo>
                      <a:pt x="326" y="130"/>
                    </a:lnTo>
                    <a:lnTo>
                      <a:pt x="333" y="128"/>
                    </a:lnTo>
                    <a:lnTo>
                      <a:pt x="338" y="124"/>
                    </a:lnTo>
                    <a:lnTo>
                      <a:pt x="343" y="117"/>
                    </a:lnTo>
                    <a:lnTo>
                      <a:pt x="347" y="109"/>
                    </a:lnTo>
                    <a:lnTo>
                      <a:pt x="351" y="106"/>
                    </a:lnTo>
                    <a:lnTo>
                      <a:pt x="355" y="103"/>
                    </a:lnTo>
                    <a:lnTo>
                      <a:pt x="360" y="103"/>
                    </a:lnTo>
                    <a:lnTo>
                      <a:pt x="365" y="105"/>
                    </a:lnTo>
                    <a:lnTo>
                      <a:pt x="370" y="107"/>
                    </a:lnTo>
                    <a:lnTo>
                      <a:pt x="376" y="111"/>
                    </a:lnTo>
                    <a:lnTo>
                      <a:pt x="382" y="114"/>
                    </a:lnTo>
                    <a:lnTo>
                      <a:pt x="388" y="118"/>
                    </a:lnTo>
                    <a:lnTo>
                      <a:pt x="394" y="122"/>
                    </a:lnTo>
                    <a:lnTo>
                      <a:pt x="400" y="125"/>
                    </a:lnTo>
                    <a:lnTo>
                      <a:pt x="408" y="128"/>
                    </a:lnTo>
                    <a:lnTo>
                      <a:pt x="415" y="129"/>
                    </a:lnTo>
                    <a:lnTo>
                      <a:pt x="424" y="128"/>
                    </a:lnTo>
                    <a:lnTo>
                      <a:pt x="431" y="125"/>
                    </a:lnTo>
                    <a:lnTo>
                      <a:pt x="440" y="119"/>
                    </a:lnTo>
                    <a:lnTo>
                      <a:pt x="443" y="118"/>
                    </a:lnTo>
                    <a:lnTo>
                      <a:pt x="447" y="118"/>
                    </a:lnTo>
                    <a:lnTo>
                      <a:pt x="451" y="118"/>
                    </a:lnTo>
                    <a:lnTo>
                      <a:pt x="456" y="119"/>
                    </a:lnTo>
                    <a:lnTo>
                      <a:pt x="468" y="123"/>
                    </a:lnTo>
                    <a:lnTo>
                      <a:pt x="481" y="128"/>
                    </a:lnTo>
                    <a:lnTo>
                      <a:pt x="497" y="135"/>
                    </a:lnTo>
                    <a:lnTo>
                      <a:pt x="513" y="145"/>
                    </a:lnTo>
                    <a:lnTo>
                      <a:pt x="530" y="155"/>
                    </a:lnTo>
                    <a:lnTo>
                      <a:pt x="549" y="166"/>
                    </a:lnTo>
                    <a:lnTo>
                      <a:pt x="584" y="189"/>
                    </a:lnTo>
                    <a:lnTo>
                      <a:pt x="616" y="212"/>
                    </a:lnTo>
                    <a:lnTo>
                      <a:pt x="640" y="232"/>
                    </a:lnTo>
                    <a:lnTo>
                      <a:pt x="655" y="245"/>
                    </a:lnTo>
                    <a:lnTo>
                      <a:pt x="661" y="254"/>
                    </a:lnTo>
                    <a:lnTo>
                      <a:pt x="666" y="261"/>
                    </a:lnTo>
                    <a:lnTo>
                      <a:pt x="671" y="270"/>
                    </a:lnTo>
                    <a:lnTo>
                      <a:pt x="675" y="277"/>
                    </a:lnTo>
                    <a:lnTo>
                      <a:pt x="681" y="294"/>
                    </a:lnTo>
                    <a:lnTo>
                      <a:pt x="687" y="313"/>
                    </a:lnTo>
                    <a:lnTo>
                      <a:pt x="688" y="316"/>
                    </a:lnTo>
                    <a:lnTo>
                      <a:pt x="688" y="320"/>
                    </a:lnTo>
                    <a:lnTo>
                      <a:pt x="686" y="322"/>
                    </a:lnTo>
                    <a:lnTo>
                      <a:pt x="683" y="324"/>
                    </a:lnTo>
                    <a:lnTo>
                      <a:pt x="673" y="324"/>
                    </a:lnTo>
                    <a:lnTo>
                      <a:pt x="662" y="321"/>
                    </a:lnTo>
                    <a:lnTo>
                      <a:pt x="638" y="311"/>
                    </a:lnTo>
                    <a:lnTo>
                      <a:pt x="622" y="305"/>
                    </a:lnTo>
                    <a:lnTo>
                      <a:pt x="613" y="302"/>
                    </a:lnTo>
                    <a:lnTo>
                      <a:pt x="607" y="302"/>
                    </a:lnTo>
                    <a:lnTo>
                      <a:pt x="602" y="303"/>
                    </a:lnTo>
                    <a:lnTo>
                      <a:pt x="599" y="306"/>
                    </a:lnTo>
                    <a:lnTo>
                      <a:pt x="597" y="310"/>
                    </a:lnTo>
                    <a:lnTo>
                      <a:pt x="597" y="316"/>
                    </a:lnTo>
                    <a:lnTo>
                      <a:pt x="597" y="324"/>
                    </a:lnTo>
                    <a:lnTo>
                      <a:pt x="599" y="332"/>
                    </a:lnTo>
                    <a:lnTo>
                      <a:pt x="601" y="349"/>
                    </a:lnTo>
                    <a:lnTo>
                      <a:pt x="602" y="366"/>
                    </a:lnTo>
                    <a:lnTo>
                      <a:pt x="602" y="374"/>
                    </a:lnTo>
                    <a:lnTo>
                      <a:pt x="601" y="382"/>
                    </a:lnTo>
                    <a:lnTo>
                      <a:pt x="599" y="388"/>
                    </a:lnTo>
                    <a:lnTo>
                      <a:pt x="595" y="393"/>
                    </a:lnTo>
                    <a:lnTo>
                      <a:pt x="579" y="410"/>
                    </a:lnTo>
                    <a:lnTo>
                      <a:pt x="571" y="420"/>
                    </a:lnTo>
                    <a:lnTo>
                      <a:pt x="568" y="423"/>
                    </a:lnTo>
                    <a:lnTo>
                      <a:pt x="566" y="424"/>
                    </a:lnTo>
                    <a:lnTo>
                      <a:pt x="566" y="424"/>
                    </a:lnTo>
                    <a:lnTo>
                      <a:pt x="566" y="423"/>
                    </a:lnTo>
                    <a:lnTo>
                      <a:pt x="564" y="415"/>
                    </a:lnTo>
                    <a:lnTo>
                      <a:pt x="563" y="404"/>
                    </a:lnTo>
                    <a:lnTo>
                      <a:pt x="561" y="398"/>
                    </a:lnTo>
                    <a:lnTo>
                      <a:pt x="558" y="390"/>
                    </a:lnTo>
                    <a:lnTo>
                      <a:pt x="553" y="381"/>
                    </a:lnTo>
                    <a:lnTo>
                      <a:pt x="547" y="372"/>
                    </a:lnTo>
                    <a:lnTo>
                      <a:pt x="544" y="371"/>
                    </a:lnTo>
                    <a:lnTo>
                      <a:pt x="538" y="372"/>
                    </a:lnTo>
                    <a:lnTo>
                      <a:pt x="530" y="375"/>
                    </a:lnTo>
                    <a:lnTo>
                      <a:pt x="520" y="379"/>
                    </a:lnTo>
                    <a:lnTo>
                      <a:pt x="501" y="386"/>
                    </a:lnTo>
                    <a:lnTo>
                      <a:pt x="487" y="390"/>
                    </a:lnTo>
                    <a:lnTo>
                      <a:pt x="480" y="388"/>
                    </a:lnTo>
                    <a:lnTo>
                      <a:pt x="473" y="386"/>
                    </a:lnTo>
                    <a:lnTo>
                      <a:pt x="468" y="382"/>
                    </a:lnTo>
                    <a:lnTo>
                      <a:pt x="464" y="376"/>
                    </a:lnTo>
                    <a:lnTo>
                      <a:pt x="458" y="361"/>
                    </a:lnTo>
                    <a:lnTo>
                      <a:pt x="452" y="346"/>
                    </a:lnTo>
                    <a:lnTo>
                      <a:pt x="449" y="337"/>
                    </a:lnTo>
                    <a:lnTo>
                      <a:pt x="446" y="330"/>
                    </a:lnTo>
                    <a:lnTo>
                      <a:pt x="441" y="324"/>
                    </a:lnTo>
                    <a:lnTo>
                      <a:pt x="436" y="317"/>
                    </a:lnTo>
                    <a:lnTo>
                      <a:pt x="429" y="313"/>
                    </a:lnTo>
                    <a:lnTo>
                      <a:pt x="420" y="310"/>
                    </a:lnTo>
                    <a:lnTo>
                      <a:pt x="409" y="309"/>
                    </a:lnTo>
                    <a:lnTo>
                      <a:pt x="396" y="309"/>
                    </a:lnTo>
                    <a:lnTo>
                      <a:pt x="386" y="309"/>
                    </a:lnTo>
                    <a:lnTo>
                      <a:pt x="371" y="308"/>
                    </a:lnTo>
                    <a:lnTo>
                      <a:pt x="354" y="304"/>
                    </a:lnTo>
                    <a:lnTo>
                      <a:pt x="337" y="300"/>
                    </a:lnTo>
                    <a:lnTo>
                      <a:pt x="322" y="298"/>
                    </a:lnTo>
                    <a:lnTo>
                      <a:pt x="309" y="299"/>
                    </a:lnTo>
                    <a:lnTo>
                      <a:pt x="304" y="300"/>
                    </a:lnTo>
                    <a:lnTo>
                      <a:pt x="300" y="303"/>
                    </a:lnTo>
                    <a:lnTo>
                      <a:pt x="299" y="306"/>
                    </a:lnTo>
                    <a:lnTo>
                      <a:pt x="299" y="311"/>
                    </a:lnTo>
                    <a:lnTo>
                      <a:pt x="300" y="315"/>
                    </a:lnTo>
                    <a:lnTo>
                      <a:pt x="303" y="320"/>
                    </a:lnTo>
                    <a:lnTo>
                      <a:pt x="306" y="324"/>
                    </a:lnTo>
                    <a:lnTo>
                      <a:pt x="310" y="326"/>
                    </a:lnTo>
                    <a:lnTo>
                      <a:pt x="320" y="332"/>
                    </a:lnTo>
                    <a:lnTo>
                      <a:pt x="332" y="336"/>
                    </a:lnTo>
                    <a:lnTo>
                      <a:pt x="344" y="339"/>
                    </a:lnTo>
                    <a:lnTo>
                      <a:pt x="356" y="343"/>
                    </a:lnTo>
                    <a:lnTo>
                      <a:pt x="369" y="348"/>
                    </a:lnTo>
                    <a:lnTo>
                      <a:pt x="378" y="354"/>
                    </a:lnTo>
                    <a:lnTo>
                      <a:pt x="382" y="357"/>
                    </a:lnTo>
                    <a:lnTo>
                      <a:pt x="386" y="360"/>
                    </a:lnTo>
                    <a:lnTo>
                      <a:pt x="387" y="364"/>
                    </a:lnTo>
                    <a:lnTo>
                      <a:pt x="389" y="368"/>
                    </a:lnTo>
                    <a:lnTo>
                      <a:pt x="391" y="376"/>
                    </a:lnTo>
                    <a:lnTo>
                      <a:pt x="392" y="386"/>
                    </a:lnTo>
                    <a:lnTo>
                      <a:pt x="392" y="394"/>
                    </a:lnTo>
                    <a:lnTo>
                      <a:pt x="393" y="402"/>
                    </a:lnTo>
                    <a:lnTo>
                      <a:pt x="394" y="408"/>
                    </a:lnTo>
                    <a:lnTo>
                      <a:pt x="397" y="410"/>
                    </a:lnTo>
                    <a:lnTo>
                      <a:pt x="399" y="412"/>
                    </a:lnTo>
                    <a:lnTo>
                      <a:pt x="402" y="412"/>
                    </a:lnTo>
                    <a:lnTo>
                      <a:pt x="404" y="412"/>
                    </a:lnTo>
                    <a:lnTo>
                      <a:pt x="407" y="410"/>
                    </a:lnTo>
                    <a:lnTo>
                      <a:pt x="411" y="408"/>
                    </a:lnTo>
                    <a:lnTo>
                      <a:pt x="416" y="408"/>
                    </a:lnTo>
                    <a:lnTo>
                      <a:pt x="418" y="410"/>
                    </a:lnTo>
                    <a:lnTo>
                      <a:pt x="419" y="417"/>
                    </a:lnTo>
                    <a:lnTo>
                      <a:pt x="420" y="426"/>
                    </a:lnTo>
                    <a:lnTo>
                      <a:pt x="420" y="436"/>
                    </a:lnTo>
                    <a:lnTo>
                      <a:pt x="420" y="447"/>
                    </a:lnTo>
                    <a:lnTo>
                      <a:pt x="418" y="457"/>
                    </a:lnTo>
                    <a:lnTo>
                      <a:pt x="416" y="461"/>
                    </a:lnTo>
                    <a:lnTo>
                      <a:pt x="415" y="464"/>
                    </a:lnTo>
                    <a:lnTo>
                      <a:pt x="413" y="467"/>
                    </a:lnTo>
                    <a:lnTo>
                      <a:pt x="409" y="468"/>
                    </a:lnTo>
                    <a:lnTo>
                      <a:pt x="410" y="472"/>
                    </a:lnTo>
                    <a:lnTo>
                      <a:pt x="414" y="479"/>
                    </a:lnTo>
                    <a:lnTo>
                      <a:pt x="415" y="483"/>
                    </a:lnTo>
                    <a:lnTo>
                      <a:pt x="415" y="487"/>
                    </a:lnTo>
                    <a:lnTo>
                      <a:pt x="415" y="491"/>
                    </a:lnTo>
                    <a:lnTo>
                      <a:pt x="413" y="495"/>
                    </a:lnTo>
                    <a:lnTo>
                      <a:pt x="411" y="497"/>
                    </a:lnTo>
                    <a:lnTo>
                      <a:pt x="409" y="497"/>
                    </a:lnTo>
                    <a:lnTo>
                      <a:pt x="407" y="497"/>
                    </a:lnTo>
                    <a:lnTo>
                      <a:pt x="404" y="497"/>
                    </a:lnTo>
                    <a:lnTo>
                      <a:pt x="397" y="494"/>
                    </a:lnTo>
                    <a:lnTo>
                      <a:pt x="389" y="489"/>
                    </a:lnTo>
                    <a:lnTo>
                      <a:pt x="374" y="473"/>
                    </a:lnTo>
                    <a:lnTo>
                      <a:pt x="355" y="453"/>
                    </a:lnTo>
                    <a:lnTo>
                      <a:pt x="337" y="431"/>
                    </a:lnTo>
                    <a:lnTo>
                      <a:pt x="321" y="412"/>
                    </a:lnTo>
                    <a:lnTo>
                      <a:pt x="307" y="397"/>
                    </a:lnTo>
                    <a:lnTo>
                      <a:pt x="298" y="388"/>
                    </a:lnTo>
                    <a:lnTo>
                      <a:pt x="294" y="386"/>
                    </a:lnTo>
                    <a:lnTo>
                      <a:pt x="291" y="383"/>
                    </a:lnTo>
                    <a:lnTo>
                      <a:pt x="289" y="380"/>
                    </a:lnTo>
                    <a:lnTo>
                      <a:pt x="288" y="376"/>
                    </a:lnTo>
                    <a:lnTo>
                      <a:pt x="287" y="369"/>
                    </a:lnTo>
                    <a:lnTo>
                      <a:pt x="287" y="361"/>
                    </a:lnTo>
                    <a:lnTo>
                      <a:pt x="285" y="358"/>
                    </a:lnTo>
                    <a:lnTo>
                      <a:pt x="284" y="355"/>
                    </a:lnTo>
                    <a:lnTo>
                      <a:pt x="282" y="352"/>
                    </a:lnTo>
                    <a:lnTo>
                      <a:pt x="279" y="349"/>
                    </a:lnTo>
                    <a:lnTo>
                      <a:pt x="276" y="347"/>
                    </a:lnTo>
                    <a:lnTo>
                      <a:pt x="271" y="346"/>
                    </a:lnTo>
                    <a:lnTo>
                      <a:pt x="265" y="344"/>
                    </a:lnTo>
                    <a:lnTo>
                      <a:pt x="256" y="344"/>
                    </a:lnTo>
                    <a:lnTo>
                      <a:pt x="244" y="343"/>
                    </a:lnTo>
                    <a:lnTo>
                      <a:pt x="234" y="341"/>
                    </a:lnTo>
                    <a:lnTo>
                      <a:pt x="227" y="337"/>
                    </a:lnTo>
                    <a:lnTo>
                      <a:pt x="222" y="332"/>
                    </a:lnTo>
                    <a:lnTo>
                      <a:pt x="217" y="325"/>
                    </a:lnTo>
                    <a:lnTo>
                      <a:pt x="214" y="317"/>
                    </a:lnTo>
                    <a:lnTo>
                      <a:pt x="211" y="306"/>
                    </a:lnTo>
                    <a:lnTo>
                      <a:pt x="207" y="295"/>
                    </a:lnTo>
                    <a:lnTo>
                      <a:pt x="201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2" name="Freeform 13"/>
              <p:cNvSpPr>
                <a:spLocks/>
              </p:cNvSpPr>
              <p:nvPr/>
            </p:nvSpPr>
            <p:spPr bwMode="auto">
              <a:xfrm>
                <a:off x="7383463" y="4775201"/>
                <a:ext cx="23813" cy="41275"/>
              </a:xfrm>
              <a:custGeom>
                <a:avLst/>
                <a:gdLst>
                  <a:gd name="T0" fmla="*/ 54 w 57"/>
                  <a:gd name="T1" fmla="*/ 68 h 103"/>
                  <a:gd name="T2" fmla="*/ 55 w 57"/>
                  <a:gd name="T3" fmla="*/ 59 h 103"/>
                  <a:gd name="T4" fmla="*/ 55 w 57"/>
                  <a:gd name="T5" fmla="*/ 51 h 103"/>
                  <a:gd name="T6" fmla="*/ 55 w 57"/>
                  <a:gd name="T7" fmla="*/ 46 h 103"/>
                  <a:gd name="T8" fmla="*/ 54 w 57"/>
                  <a:gd name="T9" fmla="*/ 42 h 103"/>
                  <a:gd name="T10" fmla="*/ 52 w 57"/>
                  <a:gd name="T11" fmla="*/ 38 h 103"/>
                  <a:gd name="T12" fmla="*/ 51 w 57"/>
                  <a:gd name="T13" fmla="*/ 35 h 103"/>
                  <a:gd name="T14" fmla="*/ 44 w 57"/>
                  <a:gd name="T15" fmla="*/ 16 h 103"/>
                  <a:gd name="T16" fmla="*/ 39 w 57"/>
                  <a:gd name="T17" fmla="*/ 0 h 103"/>
                  <a:gd name="T18" fmla="*/ 39 w 57"/>
                  <a:gd name="T19" fmla="*/ 7 h 103"/>
                  <a:gd name="T20" fmla="*/ 39 w 57"/>
                  <a:gd name="T21" fmla="*/ 14 h 103"/>
                  <a:gd name="T22" fmla="*/ 37 w 57"/>
                  <a:gd name="T23" fmla="*/ 20 h 103"/>
                  <a:gd name="T24" fmla="*/ 33 w 57"/>
                  <a:gd name="T25" fmla="*/ 25 h 103"/>
                  <a:gd name="T26" fmla="*/ 17 w 57"/>
                  <a:gd name="T27" fmla="*/ 27 h 103"/>
                  <a:gd name="T28" fmla="*/ 2 w 57"/>
                  <a:gd name="T29" fmla="*/ 30 h 103"/>
                  <a:gd name="T30" fmla="*/ 0 w 57"/>
                  <a:gd name="T31" fmla="*/ 33 h 103"/>
                  <a:gd name="T32" fmla="*/ 0 w 57"/>
                  <a:gd name="T33" fmla="*/ 37 h 103"/>
                  <a:gd name="T34" fmla="*/ 0 w 57"/>
                  <a:gd name="T35" fmla="*/ 41 h 103"/>
                  <a:gd name="T36" fmla="*/ 2 w 57"/>
                  <a:gd name="T37" fmla="*/ 44 h 103"/>
                  <a:gd name="T38" fmla="*/ 7 w 57"/>
                  <a:gd name="T39" fmla="*/ 53 h 103"/>
                  <a:gd name="T40" fmla="*/ 11 w 57"/>
                  <a:gd name="T41" fmla="*/ 59 h 103"/>
                  <a:gd name="T42" fmla="*/ 12 w 57"/>
                  <a:gd name="T43" fmla="*/ 70 h 103"/>
                  <a:gd name="T44" fmla="*/ 13 w 57"/>
                  <a:gd name="T45" fmla="*/ 78 h 103"/>
                  <a:gd name="T46" fmla="*/ 14 w 57"/>
                  <a:gd name="T47" fmla="*/ 81 h 103"/>
                  <a:gd name="T48" fmla="*/ 17 w 57"/>
                  <a:gd name="T49" fmla="*/ 84 h 103"/>
                  <a:gd name="T50" fmla="*/ 21 w 57"/>
                  <a:gd name="T51" fmla="*/ 86 h 103"/>
                  <a:gd name="T52" fmla="*/ 26 w 57"/>
                  <a:gd name="T53" fmla="*/ 89 h 103"/>
                  <a:gd name="T54" fmla="*/ 30 w 57"/>
                  <a:gd name="T55" fmla="*/ 91 h 103"/>
                  <a:gd name="T56" fmla="*/ 34 w 57"/>
                  <a:gd name="T57" fmla="*/ 93 h 103"/>
                  <a:gd name="T58" fmla="*/ 38 w 57"/>
                  <a:gd name="T59" fmla="*/ 97 h 103"/>
                  <a:gd name="T60" fmla="*/ 41 w 57"/>
                  <a:gd name="T61" fmla="*/ 101 h 103"/>
                  <a:gd name="T62" fmla="*/ 45 w 57"/>
                  <a:gd name="T63" fmla="*/ 103 h 103"/>
                  <a:gd name="T64" fmla="*/ 48 w 57"/>
                  <a:gd name="T65" fmla="*/ 103 h 103"/>
                  <a:gd name="T66" fmla="*/ 50 w 57"/>
                  <a:gd name="T67" fmla="*/ 102 h 103"/>
                  <a:gd name="T68" fmla="*/ 52 w 57"/>
                  <a:gd name="T69" fmla="*/ 100 h 103"/>
                  <a:gd name="T70" fmla="*/ 56 w 57"/>
                  <a:gd name="T71" fmla="*/ 92 h 103"/>
                  <a:gd name="T72" fmla="*/ 57 w 57"/>
                  <a:gd name="T73" fmla="*/ 86 h 103"/>
                  <a:gd name="T74" fmla="*/ 54 w 57"/>
                  <a:gd name="T75" fmla="*/ 6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" h="103">
                    <a:moveTo>
                      <a:pt x="54" y="68"/>
                    </a:moveTo>
                    <a:lnTo>
                      <a:pt x="55" y="59"/>
                    </a:lnTo>
                    <a:lnTo>
                      <a:pt x="55" y="51"/>
                    </a:lnTo>
                    <a:lnTo>
                      <a:pt x="55" y="46"/>
                    </a:lnTo>
                    <a:lnTo>
                      <a:pt x="54" y="42"/>
                    </a:lnTo>
                    <a:lnTo>
                      <a:pt x="52" y="38"/>
                    </a:lnTo>
                    <a:lnTo>
                      <a:pt x="51" y="35"/>
                    </a:lnTo>
                    <a:lnTo>
                      <a:pt x="44" y="16"/>
                    </a:lnTo>
                    <a:lnTo>
                      <a:pt x="39" y="0"/>
                    </a:lnTo>
                    <a:lnTo>
                      <a:pt x="39" y="7"/>
                    </a:lnTo>
                    <a:lnTo>
                      <a:pt x="39" y="14"/>
                    </a:lnTo>
                    <a:lnTo>
                      <a:pt x="37" y="20"/>
                    </a:lnTo>
                    <a:lnTo>
                      <a:pt x="33" y="25"/>
                    </a:lnTo>
                    <a:lnTo>
                      <a:pt x="17" y="27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4"/>
                    </a:lnTo>
                    <a:lnTo>
                      <a:pt x="7" y="53"/>
                    </a:lnTo>
                    <a:lnTo>
                      <a:pt x="11" y="59"/>
                    </a:lnTo>
                    <a:lnTo>
                      <a:pt x="12" y="70"/>
                    </a:lnTo>
                    <a:lnTo>
                      <a:pt x="13" y="78"/>
                    </a:lnTo>
                    <a:lnTo>
                      <a:pt x="14" y="81"/>
                    </a:lnTo>
                    <a:lnTo>
                      <a:pt x="17" y="84"/>
                    </a:lnTo>
                    <a:lnTo>
                      <a:pt x="21" y="86"/>
                    </a:lnTo>
                    <a:lnTo>
                      <a:pt x="26" y="89"/>
                    </a:lnTo>
                    <a:lnTo>
                      <a:pt x="30" y="91"/>
                    </a:lnTo>
                    <a:lnTo>
                      <a:pt x="34" y="93"/>
                    </a:lnTo>
                    <a:lnTo>
                      <a:pt x="38" y="97"/>
                    </a:lnTo>
                    <a:lnTo>
                      <a:pt x="41" y="101"/>
                    </a:lnTo>
                    <a:lnTo>
                      <a:pt x="45" y="103"/>
                    </a:lnTo>
                    <a:lnTo>
                      <a:pt x="48" y="103"/>
                    </a:lnTo>
                    <a:lnTo>
                      <a:pt x="50" y="102"/>
                    </a:lnTo>
                    <a:lnTo>
                      <a:pt x="52" y="100"/>
                    </a:lnTo>
                    <a:lnTo>
                      <a:pt x="56" y="92"/>
                    </a:lnTo>
                    <a:lnTo>
                      <a:pt x="57" y="86"/>
                    </a:lnTo>
                    <a:lnTo>
                      <a:pt x="54" y="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3" name="Freeform 14"/>
              <p:cNvSpPr>
                <a:spLocks/>
              </p:cNvSpPr>
              <p:nvPr/>
            </p:nvSpPr>
            <p:spPr bwMode="auto">
              <a:xfrm>
                <a:off x="7664450" y="4751388"/>
                <a:ext cx="39688" cy="31750"/>
              </a:xfrm>
              <a:custGeom>
                <a:avLst/>
                <a:gdLst>
                  <a:gd name="T0" fmla="*/ 79 w 97"/>
                  <a:gd name="T1" fmla="*/ 33 h 82"/>
                  <a:gd name="T2" fmla="*/ 83 w 97"/>
                  <a:gd name="T3" fmla="*/ 31 h 82"/>
                  <a:gd name="T4" fmla="*/ 89 w 97"/>
                  <a:gd name="T5" fmla="*/ 27 h 82"/>
                  <a:gd name="T6" fmla="*/ 94 w 97"/>
                  <a:gd name="T7" fmla="*/ 25 h 82"/>
                  <a:gd name="T8" fmla="*/ 97 w 97"/>
                  <a:gd name="T9" fmla="*/ 20 h 82"/>
                  <a:gd name="T10" fmla="*/ 95 w 97"/>
                  <a:gd name="T11" fmla="*/ 14 h 82"/>
                  <a:gd name="T12" fmla="*/ 91 w 97"/>
                  <a:gd name="T13" fmla="*/ 5 h 82"/>
                  <a:gd name="T14" fmla="*/ 90 w 97"/>
                  <a:gd name="T15" fmla="*/ 3 h 82"/>
                  <a:gd name="T16" fmla="*/ 89 w 97"/>
                  <a:gd name="T17" fmla="*/ 1 h 82"/>
                  <a:gd name="T18" fmla="*/ 87 w 97"/>
                  <a:gd name="T19" fmla="*/ 0 h 82"/>
                  <a:gd name="T20" fmla="*/ 86 w 97"/>
                  <a:gd name="T21" fmla="*/ 0 h 82"/>
                  <a:gd name="T22" fmla="*/ 83 w 97"/>
                  <a:gd name="T23" fmla="*/ 1 h 82"/>
                  <a:gd name="T24" fmla="*/ 78 w 97"/>
                  <a:gd name="T25" fmla="*/ 4 h 82"/>
                  <a:gd name="T26" fmla="*/ 70 w 97"/>
                  <a:gd name="T27" fmla="*/ 11 h 82"/>
                  <a:gd name="T28" fmla="*/ 67 w 97"/>
                  <a:gd name="T29" fmla="*/ 19 h 82"/>
                  <a:gd name="T30" fmla="*/ 65 w 97"/>
                  <a:gd name="T31" fmla="*/ 25 h 82"/>
                  <a:gd name="T32" fmla="*/ 63 w 97"/>
                  <a:gd name="T33" fmla="*/ 33 h 82"/>
                  <a:gd name="T34" fmla="*/ 62 w 97"/>
                  <a:gd name="T35" fmla="*/ 37 h 82"/>
                  <a:gd name="T36" fmla="*/ 59 w 97"/>
                  <a:gd name="T37" fmla="*/ 39 h 82"/>
                  <a:gd name="T38" fmla="*/ 57 w 97"/>
                  <a:gd name="T39" fmla="*/ 41 h 82"/>
                  <a:gd name="T40" fmla="*/ 54 w 97"/>
                  <a:gd name="T41" fmla="*/ 39 h 82"/>
                  <a:gd name="T42" fmla="*/ 46 w 97"/>
                  <a:gd name="T43" fmla="*/ 35 h 82"/>
                  <a:gd name="T44" fmla="*/ 37 w 97"/>
                  <a:gd name="T45" fmla="*/ 27 h 82"/>
                  <a:gd name="T46" fmla="*/ 35 w 97"/>
                  <a:gd name="T47" fmla="*/ 24 h 82"/>
                  <a:gd name="T48" fmla="*/ 32 w 97"/>
                  <a:gd name="T49" fmla="*/ 22 h 82"/>
                  <a:gd name="T50" fmla="*/ 30 w 97"/>
                  <a:gd name="T51" fmla="*/ 22 h 82"/>
                  <a:gd name="T52" fmla="*/ 25 w 97"/>
                  <a:gd name="T53" fmla="*/ 22 h 82"/>
                  <a:gd name="T54" fmla="*/ 14 w 97"/>
                  <a:gd name="T55" fmla="*/ 22 h 82"/>
                  <a:gd name="T56" fmla="*/ 3 w 97"/>
                  <a:gd name="T57" fmla="*/ 24 h 82"/>
                  <a:gd name="T58" fmla="*/ 0 w 97"/>
                  <a:gd name="T59" fmla="*/ 25 h 82"/>
                  <a:gd name="T60" fmla="*/ 0 w 97"/>
                  <a:gd name="T61" fmla="*/ 26 h 82"/>
                  <a:gd name="T62" fmla="*/ 0 w 97"/>
                  <a:gd name="T63" fmla="*/ 28 h 82"/>
                  <a:gd name="T64" fmla="*/ 3 w 97"/>
                  <a:gd name="T65" fmla="*/ 30 h 82"/>
                  <a:gd name="T66" fmla="*/ 7 w 97"/>
                  <a:gd name="T67" fmla="*/ 32 h 82"/>
                  <a:gd name="T68" fmla="*/ 10 w 97"/>
                  <a:gd name="T69" fmla="*/ 35 h 82"/>
                  <a:gd name="T70" fmla="*/ 19 w 97"/>
                  <a:gd name="T71" fmla="*/ 42 h 82"/>
                  <a:gd name="T72" fmla="*/ 29 w 97"/>
                  <a:gd name="T73" fmla="*/ 49 h 82"/>
                  <a:gd name="T74" fmla="*/ 35 w 97"/>
                  <a:gd name="T75" fmla="*/ 54 h 82"/>
                  <a:gd name="T76" fmla="*/ 38 w 97"/>
                  <a:gd name="T77" fmla="*/ 59 h 82"/>
                  <a:gd name="T78" fmla="*/ 42 w 97"/>
                  <a:gd name="T79" fmla="*/ 65 h 82"/>
                  <a:gd name="T80" fmla="*/ 46 w 97"/>
                  <a:gd name="T81" fmla="*/ 70 h 82"/>
                  <a:gd name="T82" fmla="*/ 54 w 97"/>
                  <a:gd name="T83" fmla="*/ 75 h 82"/>
                  <a:gd name="T84" fmla="*/ 62 w 97"/>
                  <a:gd name="T85" fmla="*/ 77 h 82"/>
                  <a:gd name="T86" fmla="*/ 65 w 97"/>
                  <a:gd name="T87" fmla="*/ 80 h 82"/>
                  <a:gd name="T88" fmla="*/ 70 w 97"/>
                  <a:gd name="T89" fmla="*/ 81 h 82"/>
                  <a:gd name="T90" fmla="*/ 74 w 97"/>
                  <a:gd name="T91" fmla="*/ 82 h 82"/>
                  <a:gd name="T92" fmla="*/ 78 w 97"/>
                  <a:gd name="T93" fmla="*/ 81 h 82"/>
                  <a:gd name="T94" fmla="*/ 80 w 97"/>
                  <a:gd name="T95" fmla="*/ 80 h 82"/>
                  <a:gd name="T96" fmla="*/ 81 w 97"/>
                  <a:gd name="T97" fmla="*/ 77 h 82"/>
                  <a:gd name="T98" fmla="*/ 80 w 97"/>
                  <a:gd name="T99" fmla="*/ 74 h 82"/>
                  <a:gd name="T100" fmla="*/ 78 w 97"/>
                  <a:gd name="T101" fmla="*/ 69 h 82"/>
                  <a:gd name="T102" fmla="*/ 74 w 97"/>
                  <a:gd name="T103" fmla="*/ 65 h 82"/>
                  <a:gd name="T104" fmla="*/ 73 w 97"/>
                  <a:gd name="T105" fmla="*/ 61 h 82"/>
                  <a:gd name="T106" fmla="*/ 71 w 97"/>
                  <a:gd name="T107" fmla="*/ 58 h 82"/>
                  <a:gd name="T108" fmla="*/ 70 w 97"/>
                  <a:gd name="T109" fmla="*/ 54 h 82"/>
                  <a:gd name="T110" fmla="*/ 71 w 97"/>
                  <a:gd name="T111" fmla="*/ 47 h 82"/>
                  <a:gd name="T112" fmla="*/ 73 w 97"/>
                  <a:gd name="T113" fmla="*/ 38 h 82"/>
                  <a:gd name="T114" fmla="*/ 79 w 97"/>
                  <a:gd name="T115" fmla="*/ 3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7" h="82">
                    <a:moveTo>
                      <a:pt x="79" y="33"/>
                    </a:moveTo>
                    <a:lnTo>
                      <a:pt x="83" y="31"/>
                    </a:lnTo>
                    <a:lnTo>
                      <a:pt x="89" y="27"/>
                    </a:lnTo>
                    <a:lnTo>
                      <a:pt x="94" y="25"/>
                    </a:lnTo>
                    <a:lnTo>
                      <a:pt x="97" y="20"/>
                    </a:lnTo>
                    <a:lnTo>
                      <a:pt x="95" y="14"/>
                    </a:lnTo>
                    <a:lnTo>
                      <a:pt x="91" y="5"/>
                    </a:lnTo>
                    <a:lnTo>
                      <a:pt x="90" y="3"/>
                    </a:lnTo>
                    <a:lnTo>
                      <a:pt x="89" y="1"/>
                    </a:lnTo>
                    <a:lnTo>
                      <a:pt x="87" y="0"/>
                    </a:lnTo>
                    <a:lnTo>
                      <a:pt x="86" y="0"/>
                    </a:lnTo>
                    <a:lnTo>
                      <a:pt x="83" y="1"/>
                    </a:lnTo>
                    <a:lnTo>
                      <a:pt x="78" y="4"/>
                    </a:lnTo>
                    <a:lnTo>
                      <a:pt x="70" y="11"/>
                    </a:lnTo>
                    <a:lnTo>
                      <a:pt x="67" y="19"/>
                    </a:lnTo>
                    <a:lnTo>
                      <a:pt x="65" y="25"/>
                    </a:lnTo>
                    <a:lnTo>
                      <a:pt x="63" y="33"/>
                    </a:lnTo>
                    <a:lnTo>
                      <a:pt x="62" y="37"/>
                    </a:lnTo>
                    <a:lnTo>
                      <a:pt x="59" y="39"/>
                    </a:lnTo>
                    <a:lnTo>
                      <a:pt x="57" y="41"/>
                    </a:lnTo>
                    <a:lnTo>
                      <a:pt x="54" y="39"/>
                    </a:lnTo>
                    <a:lnTo>
                      <a:pt x="46" y="35"/>
                    </a:lnTo>
                    <a:lnTo>
                      <a:pt x="37" y="27"/>
                    </a:lnTo>
                    <a:lnTo>
                      <a:pt x="35" y="24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5" y="22"/>
                    </a:lnTo>
                    <a:lnTo>
                      <a:pt x="14" y="22"/>
                    </a:lnTo>
                    <a:lnTo>
                      <a:pt x="3" y="24"/>
                    </a:lnTo>
                    <a:lnTo>
                      <a:pt x="0" y="25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3" y="30"/>
                    </a:lnTo>
                    <a:lnTo>
                      <a:pt x="7" y="32"/>
                    </a:lnTo>
                    <a:lnTo>
                      <a:pt x="10" y="35"/>
                    </a:lnTo>
                    <a:lnTo>
                      <a:pt x="19" y="42"/>
                    </a:lnTo>
                    <a:lnTo>
                      <a:pt x="29" y="49"/>
                    </a:lnTo>
                    <a:lnTo>
                      <a:pt x="35" y="54"/>
                    </a:lnTo>
                    <a:lnTo>
                      <a:pt x="38" y="59"/>
                    </a:lnTo>
                    <a:lnTo>
                      <a:pt x="42" y="65"/>
                    </a:lnTo>
                    <a:lnTo>
                      <a:pt x="46" y="70"/>
                    </a:lnTo>
                    <a:lnTo>
                      <a:pt x="54" y="75"/>
                    </a:lnTo>
                    <a:lnTo>
                      <a:pt x="62" y="77"/>
                    </a:lnTo>
                    <a:lnTo>
                      <a:pt x="65" y="80"/>
                    </a:lnTo>
                    <a:lnTo>
                      <a:pt x="70" y="81"/>
                    </a:lnTo>
                    <a:lnTo>
                      <a:pt x="74" y="82"/>
                    </a:lnTo>
                    <a:lnTo>
                      <a:pt x="78" y="81"/>
                    </a:lnTo>
                    <a:lnTo>
                      <a:pt x="80" y="80"/>
                    </a:lnTo>
                    <a:lnTo>
                      <a:pt x="81" y="77"/>
                    </a:lnTo>
                    <a:lnTo>
                      <a:pt x="80" y="74"/>
                    </a:lnTo>
                    <a:lnTo>
                      <a:pt x="78" y="69"/>
                    </a:lnTo>
                    <a:lnTo>
                      <a:pt x="74" y="65"/>
                    </a:lnTo>
                    <a:lnTo>
                      <a:pt x="73" y="61"/>
                    </a:lnTo>
                    <a:lnTo>
                      <a:pt x="71" y="58"/>
                    </a:lnTo>
                    <a:lnTo>
                      <a:pt x="70" y="54"/>
                    </a:lnTo>
                    <a:lnTo>
                      <a:pt x="71" y="47"/>
                    </a:lnTo>
                    <a:lnTo>
                      <a:pt x="73" y="38"/>
                    </a:lnTo>
                    <a:lnTo>
                      <a:pt x="79" y="33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4" name="Freeform 15"/>
              <p:cNvSpPr>
                <a:spLocks/>
              </p:cNvSpPr>
              <p:nvPr/>
            </p:nvSpPr>
            <p:spPr bwMode="auto">
              <a:xfrm>
                <a:off x="6653213" y="4946651"/>
                <a:ext cx="42863" cy="23813"/>
              </a:xfrm>
              <a:custGeom>
                <a:avLst/>
                <a:gdLst>
                  <a:gd name="T0" fmla="*/ 45 w 108"/>
                  <a:gd name="T1" fmla="*/ 47 h 61"/>
                  <a:gd name="T2" fmla="*/ 36 w 108"/>
                  <a:gd name="T3" fmla="*/ 47 h 61"/>
                  <a:gd name="T4" fmla="*/ 27 w 108"/>
                  <a:gd name="T5" fmla="*/ 49 h 61"/>
                  <a:gd name="T6" fmla="*/ 20 w 108"/>
                  <a:gd name="T7" fmla="*/ 51 h 61"/>
                  <a:gd name="T8" fmla="*/ 12 w 108"/>
                  <a:gd name="T9" fmla="*/ 53 h 61"/>
                  <a:gd name="T10" fmla="*/ 9 w 108"/>
                  <a:gd name="T11" fmla="*/ 55 h 61"/>
                  <a:gd name="T12" fmla="*/ 6 w 108"/>
                  <a:gd name="T13" fmla="*/ 53 h 61"/>
                  <a:gd name="T14" fmla="*/ 6 w 108"/>
                  <a:gd name="T15" fmla="*/ 51 h 61"/>
                  <a:gd name="T16" fmla="*/ 6 w 108"/>
                  <a:gd name="T17" fmla="*/ 45 h 61"/>
                  <a:gd name="T18" fmla="*/ 7 w 108"/>
                  <a:gd name="T19" fmla="*/ 40 h 61"/>
                  <a:gd name="T20" fmla="*/ 7 w 108"/>
                  <a:gd name="T21" fmla="*/ 35 h 61"/>
                  <a:gd name="T22" fmla="*/ 7 w 108"/>
                  <a:gd name="T23" fmla="*/ 30 h 61"/>
                  <a:gd name="T24" fmla="*/ 4 w 108"/>
                  <a:gd name="T25" fmla="*/ 25 h 61"/>
                  <a:gd name="T26" fmla="*/ 1 w 108"/>
                  <a:gd name="T27" fmla="*/ 19 h 61"/>
                  <a:gd name="T28" fmla="*/ 0 w 108"/>
                  <a:gd name="T29" fmla="*/ 11 h 61"/>
                  <a:gd name="T30" fmla="*/ 0 w 108"/>
                  <a:gd name="T31" fmla="*/ 6 h 61"/>
                  <a:gd name="T32" fmla="*/ 1 w 108"/>
                  <a:gd name="T33" fmla="*/ 2 h 61"/>
                  <a:gd name="T34" fmla="*/ 4 w 108"/>
                  <a:gd name="T35" fmla="*/ 0 h 61"/>
                  <a:gd name="T36" fmla="*/ 7 w 108"/>
                  <a:gd name="T37" fmla="*/ 0 h 61"/>
                  <a:gd name="T38" fmla="*/ 15 w 108"/>
                  <a:gd name="T39" fmla="*/ 1 h 61"/>
                  <a:gd name="T40" fmla="*/ 22 w 108"/>
                  <a:gd name="T41" fmla="*/ 3 h 61"/>
                  <a:gd name="T42" fmla="*/ 33 w 108"/>
                  <a:gd name="T43" fmla="*/ 6 h 61"/>
                  <a:gd name="T44" fmla="*/ 44 w 108"/>
                  <a:gd name="T45" fmla="*/ 9 h 61"/>
                  <a:gd name="T46" fmla="*/ 50 w 108"/>
                  <a:gd name="T47" fmla="*/ 11 h 61"/>
                  <a:gd name="T48" fmla="*/ 55 w 108"/>
                  <a:gd name="T49" fmla="*/ 13 h 61"/>
                  <a:gd name="T50" fmla="*/ 60 w 108"/>
                  <a:gd name="T51" fmla="*/ 17 h 61"/>
                  <a:gd name="T52" fmla="*/ 64 w 108"/>
                  <a:gd name="T53" fmla="*/ 19 h 61"/>
                  <a:gd name="T54" fmla="*/ 66 w 108"/>
                  <a:gd name="T55" fmla="*/ 22 h 61"/>
                  <a:gd name="T56" fmla="*/ 67 w 108"/>
                  <a:gd name="T57" fmla="*/ 24 h 61"/>
                  <a:gd name="T58" fmla="*/ 70 w 108"/>
                  <a:gd name="T59" fmla="*/ 24 h 61"/>
                  <a:gd name="T60" fmla="*/ 71 w 108"/>
                  <a:gd name="T61" fmla="*/ 24 h 61"/>
                  <a:gd name="T62" fmla="*/ 75 w 108"/>
                  <a:gd name="T63" fmla="*/ 23 h 61"/>
                  <a:gd name="T64" fmla="*/ 78 w 108"/>
                  <a:gd name="T65" fmla="*/ 19 h 61"/>
                  <a:gd name="T66" fmla="*/ 85 w 108"/>
                  <a:gd name="T67" fmla="*/ 11 h 61"/>
                  <a:gd name="T68" fmla="*/ 89 w 108"/>
                  <a:gd name="T69" fmla="*/ 4 h 61"/>
                  <a:gd name="T70" fmla="*/ 91 w 108"/>
                  <a:gd name="T71" fmla="*/ 11 h 61"/>
                  <a:gd name="T72" fmla="*/ 92 w 108"/>
                  <a:gd name="T73" fmla="*/ 17 h 61"/>
                  <a:gd name="T74" fmla="*/ 93 w 108"/>
                  <a:gd name="T75" fmla="*/ 22 h 61"/>
                  <a:gd name="T76" fmla="*/ 96 w 108"/>
                  <a:gd name="T77" fmla="*/ 27 h 61"/>
                  <a:gd name="T78" fmla="*/ 100 w 108"/>
                  <a:gd name="T79" fmla="*/ 36 h 61"/>
                  <a:gd name="T80" fmla="*/ 107 w 108"/>
                  <a:gd name="T81" fmla="*/ 47 h 61"/>
                  <a:gd name="T82" fmla="*/ 108 w 108"/>
                  <a:gd name="T83" fmla="*/ 51 h 61"/>
                  <a:gd name="T84" fmla="*/ 108 w 108"/>
                  <a:gd name="T85" fmla="*/ 55 h 61"/>
                  <a:gd name="T86" fmla="*/ 108 w 108"/>
                  <a:gd name="T87" fmla="*/ 56 h 61"/>
                  <a:gd name="T88" fmla="*/ 107 w 108"/>
                  <a:gd name="T89" fmla="*/ 57 h 61"/>
                  <a:gd name="T90" fmla="*/ 102 w 108"/>
                  <a:gd name="T91" fmla="*/ 60 h 61"/>
                  <a:gd name="T92" fmla="*/ 96 w 108"/>
                  <a:gd name="T93" fmla="*/ 61 h 61"/>
                  <a:gd name="T94" fmla="*/ 78 w 108"/>
                  <a:gd name="T95" fmla="*/ 57 h 61"/>
                  <a:gd name="T96" fmla="*/ 65 w 108"/>
                  <a:gd name="T97" fmla="*/ 53 h 61"/>
                  <a:gd name="T98" fmla="*/ 45 w 108"/>
                  <a:gd name="T9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8" h="61">
                    <a:moveTo>
                      <a:pt x="45" y="47"/>
                    </a:moveTo>
                    <a:lnTo>
                      <a:pt x="36" y="47"/>
                    </a:lnTo>
                    <a:lnTo>
                      <a:pt x="27" y="49"/>
                    </a:lnTo>
                    <a:lnTo>
                      <a:pt x="20" y="51"/>
                    </a:lnTo>
                    <a:lnTo>
                      <a:pt x="12" y="53"/>
                    </a:lnTo>
                    <a:lnTo>
                      <a:pt x="9" y="55"/>
                    </a:lnTo>
                    <a:lnTo>
                      <a:pt x="6" y="53"/>
                    </a:lnTo>
                    <a:lnTo>
                      <a:pt x="6" y="51"/>
                    </a:lnTo>
                    <a:lnTo>
                      <a:pt x="6" y="45"/>
                    </a:lnTo>
                    <a:lnTo>
                      <a:pt x="7" y="40"/>
                    </a:lnTo>
                    <a:lnTo>
                      <a:pt x="7" y="35"/>
                    </a:lnTo>
                    <a:lnTo>
                      <a:pt x="7" y="30"/>
                    </a:lnTo>
                    <a:lnTo>
                      <a:pt x="4" y="25"/>
                    </a:lnTo>
                    <a:lnTo>
                      <a:pt x="1" y="19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5" y="1"/>
                    </a:lnTo>
                    <a:lnTo>
                      <a:pt x="22" y="3"/>
                    </a:lnTo>
                    <a:lnTo>
                      <a:pt x="33" y="6"/>
                    </a:lnTo>
                    <a:lnTo>
                      <a:pt x="44" y="9"/>
                    </a:lnTo>
                    <a:lnTo>
                      <a:pt x="50" y="11"/>
                    </a:lnTo>
                    <a:lnTo>
                      <a:pt x="55" y="13"/>
                    </a:lnTo>
                    <a:lnTo>
                      <a:pt x="60" y="17"/>
                    </a:lnTo>
                    <a:lnTo>
                      <a:pt x="64" y="19"/>
                    </a:lnTo>
                    <a:lnTo>
                      <a:pt x="66" y="22"/>
                    </a:lnTo>
                    <a:lnTo>
                      <a:pt x="67" y="24"/>
                    </a:lnTo>
                    <a:lnTo>
                      <a:pt x="70" y="24"/>
                    </a:lnTo>
                    <a:lnTo>
                      <a:pt x="71" y="24"/>
                    </a:lnTo>
                    <a:lnTo>
                      <a:pt x="75" y="23"/>
                    </a:lnTo>
                    <a:lnTo>
                      <a:pt x="78" y="19"/>
                    </a:lnTo>
                    <a:lnTo>
                      <a:pt x="85" y="11"/>
                    </a:lnTo>
                    <a:lnTo>
                      <a:pt x="89" y="4"/>
                    </a:lnTo>
                    <a:lnTo>
                      <a:pt x="91" y="11"/>
                    </a:lnTo>
                    <a:lnTo>
                      <a:pt x="92" y="17"/>
                    </a:lnTo>
                    <a:lnTo>
                      <a:pt x="93" y="22"/>
                    </a:lnTo>
                    <a:lnTo>
                      <a:pt x="96" y="27"/>
                    </a:lnTo>
                    <a:lnTo>
                      <a:pt x="100" y="36"/>
                    </a:lnTo>
                    <a:lnTo>
                      <a:pt x="107" y="47"/>
                    </a:lnTo>
                    <a:lnTo>
                      <a:pt x="108" y="51"/>
                    </a:lnTo>
                    <a:lnTo>
                      <a:pt x="108" y="55"/>
                    </a:lnTo>
                    <a:lnTo>
                      <a:pt x="108" y="56"/>
                    </a:lnTo>
                    <a:lnTo>
                      <a:pt x="107" y="57"/>
                    </a:lnTo>
                    <a:lnTo>
                      <a:pt x="102" y="60"/>
                    </a:lnTo>
                    <a:lnTo>
                      <a:pt x="96" y="61"/>
                    </a:lnTo>
                    <a:lnTo>
                      <a:pt x="78" y="57"/>
                    </a:lnTo>
                    <a:lnTo>
                      <a:pt x="65" y="53"/>
                    </a:lnTo>
                    <a:lnTo>
                      <a:pt x="45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5" name="Freeform 16"/>
              <p:cNvSpPr>
                <a:spLocks/>
              </p:cNvSpPr>
              <p:nvPr/>
            </p:nvSpPr>
            <p:spPr bwMode="auto">
              <a:xfrm>
                <a:off x="14622117" y="4733010"/>
                <a:ext cx="858836" cy="236547"/>
              </a:xfrm>
              <a:custGeom>
                <a:avLst/>
                <a:gdLst>
                  <a:gd name="T0" fmla="*/ 1492 w 2163"/>
                  <a:gd name="T1" fmla="*/ 45 h 598"/>
                  <a:gd name="T2" fmla="*/ 1505 w 2163"/>
                  <a:gd name="T3" fmla="*/ 84 h 598"/>
                  <a:gd name="T4" fmla="*/ 1607 w 2163"/>
                  <a:gd name="T5" fmla="*/ 78 h 598"/>
                  <a:gd name="T6" fmla="*/ 1727 w 2163"/>
                  <a:gd name="T7" fmla="*/ 129 h 598"/>
                  <a:gd name="T8" fmla="*/ 1761 w 2163"/>
                  <a:gd name="T9" fmla="*/ 116 h 598"/>
                  <a:gd name="T10" fmla="*/ 1979 w 2163"/>
                  <a:gd name="T11" fmla="*/ 176 h 598"/>
                  <a:gd name="T12" fmla="*/ 2012 w 2163"/>
                  <a:gd name="T13" fmla="*/ 125 h 598"/>
                  <a:gd name="T14" fmla="*/ 2120 w 2163"/>
                  <a:gd name="T15" fmla="*/ 186 h 598"/>
                  <a:gd name="T16" fmla="*/ 2117 w 2163"/>
                  <a:gd name="T17" fmla="*/ 226 h 598"/>
                  <a:gd name="T18" fmla="*/ 2038 w 2163"/>
                  <a:gd name="T19" fmla="*/ 220 h 598"/>
                  <a:gd name="T20" fmla="*/ 1963 w 2163"/>
                  <a:gd name="T21" fmla="*/ 219 h 598"/>
                  <a:gd name="T22" fmla="*/ 1890 w 2163"/>
                  <a:gd name="T23" fmla="*/ 206 h 598"/>
                  <a:gd name="T24" fmla="*/ 1890 w 2163"/>
                  <a:gd name="T25" fmla="*/ 272 h 598"/>
                  <a:gd name="T26" fmla="*/ 1827 w 2163"/>
                  <a:gd name="T27" fmla="*/ 264 h 598"/>
                  <a:gd name="T28" fmla="*/ 1716 w 2163"/>
                  <a:gd name="T29" fmla="*/ 284 h 598"/>
                  <a:gd name="T30" fmla="*/ 1629 w 2163"/>
                  <a:gd name="T31" fmla="*/ 372 h 598"/>
                  <a:gd name="T32" fmla="*/ 1592 w 2163"/>
                  <a:gd name="T33" fmla="*/ 363 h 598"/>
                  <a:gd name="T34" fmla="*/ 1667 w 2163"/>
                  <a:gd name="T35" fmla="*/ 316 h 598"/>
                  <a:gd name="T36" fmla="*/ 1564 w 2163"/>
                  <a:gd name="T37" fmla="*/ 266 h 598"/>
                  <a:gd name="T38" fmla="*/ 1497 w 2163"/>
                  <a:gd name="T39" fmla="*/ 251 h 598"/>
                  <a:gd name="T40" fmla="*/ 1487 w 2163"/>
                  <a:gd name="T41" fmla="*/ 283 h 598"/>
                  <a:gd name="T42" fmla="*/ 1442 w 2163"/>
                  <a:gd name="T43" fmla="*/ 278 h 598"/>
                  <a:gd name="T44" fmla="*/ 1400 w 2163"/>
                  <a:gd name="T45" fmla="*/ 385 h 598"/>
                  <a:gd name="T46" fmla="*/ 1259 w 2163"/>
                  <a:gd name="T47" fmla="*/ 379 h 598"/>
                  <a:gd name="T48" fmla="*/ 1193 w 2163"/>
                  <a:gd name="T49" fmla="*/ 367 h 598"/>
                  <a:gd name="T50" fmla="*/ 1161 w 2163"/>
                  <a:gd name="T51" fmla="*/ 406 h 598"/>
                  <a:gd name="T52" fmla="*/ 1098 w 2163"/>
                  <a:gd name="T53" fmla="*/ 433 h 598"/>
                  <a:gd name="T54" fmla="*/ 1060 w 2163"/>
                  <a:gd name="T55" fmla="*/ 379 h 598"/>
                  <a:gd name="T56" fmla="*/ 1056 w 2163"/>
                  <a:gd name="T57" fmla="*/ 449 h 598"/>
                  <a:gd name="T58" fmla="*/ 1084 w 2163"/>
                  <a:gd name="T59" fmla="*/ 487 h 598"/>
                  <a:gd name="T60" fmla="*/ 979 w 2163"/>
                  <a:gd name="T61" fmla="*/ 520 h 598"/>
                  <a:gd name="T62" fmla="*/ 969 w 2163"/>
                  <a:gd name="T63" fmla="*/ 439 h 598"/>
                  <a:gd name="T64" fmla="*/ 887 w 2163"/>
                  <a:gd name="T65" fmla="*/ 442 h 598"/>
                  <a:gd name="T66" fmla="*/ 942 w 2163"/>
                  <a:gd name="T67" fmla="*/ 477 h 598"/>
                  <a:gd name="T68" fmla="*/ 901 w 2163"/>
                  <a:gd name="T69" fmla="*/ 540 h 598"/>
                  <a:gd name="T70" fmla="*/ 881 w 2163"/>
                  <a:gd name="T71" fmla="*/ 560 h 598"/>
                  <a:gd name="T72" fmla="*/ 860 w 2163"/>
                  <a:gd name="T73" fmla="*/ 527 h 598"/>
                  <a:gd name="T74" fmla="*/ 836 w 2163"/>
                  <a:gd name="T75" fmla="*/ 485 h 598"/>
                  <a:gd name="T76" fmla="*/ 765 w 2163"/>
                  <a:gd name="T77" fmla="*/ 502 h 598"/>
                  <a:gd name="T78" fmla="*/ 682 w 2163"/>
                  <a:gd name="T79" fmla="*/ 492 h 598"/>
                  <a:gd name="T80" fmla="*/ 508 w 2163"/>
                  <a:gd name="T81" fmla="*/ 525 h 598"/>
                  <a:gd name="T82" fmla="*/ 329 w 2163"/>
                  <a:gd name="T83" fmla="*/ 598 h 598"/>
                  <a:gd name="T84" fmla="*/ 103 w 2163"/>
                  <a:gd name="T85" fmla="*/ 548 h 598"/>
                  <a:gd name="T86" fmla="*/ 39 w 2163"/>
                  <a:gd name="T87" fmla="*/ 476 h 598"/>
                  <a:gd name="T88" fmla="*/ 0 w 2163"/>
                  <a:gd name="T89" fmla="*/ 432 h 598"/>
                  <a:gd name="T90" fmla="*/ 6 w 2163"/>
                  <a:gd name="T91" fmla="*/ 327 h 598"/>
                  <a:gd name="T92" fmla="*/ 70 w 2163"/>
                  <a:gd name="T93" fmla="*/ 322 h 598"/>
                  <a:gd name="T94" fmla="*/ 105 w 2163"/>
                  <a:gd name="T95" fmla="*/ 363 h 598"/>
                  <a:gd name="T96" fmla="*/ 122 w 2163"/>
                  <a:gd name="T97" fmla="*/ 337 h 598"/>
                  <a:gd name="T98" fmla="*/ 261 w 2163"/>
                  <a:gd name="T99" fmla="*/ 313 h 598"/>
                  <a:gd name="T100" fmla="*/ 471 w 2163"/>
                  <a:gd name="T101" fmla="*/ 217 h 598"/>
                  <a:gd name="T102" fmla="*/ 631 w 2163"/>
                  <a:gd name="T103" fmla="*/ 188 h 598"/>
                  <a:gd name="T104" fmla="*/ 908 w 2163"/>
                  <a:gd name="T105" fmla="*/ 120 h 598"/>
                  <a:gd name="T106" fmla="*/ 947 w 2163"/>
                  <a:gd name="T107" fmla="*/ 40 h 598"/>
                  <a:gd name="T108" fmla="*/ 1086 w 2163"/>
                  <a:gd name="T109" fmla="*/ 36 h 598"/>
                  <a:gd name="T110" fmla="*/ 1184 w 2163"/>
                  <a:gd name="T111" fmla="*/ 20 h 598"/>
                  <a:gd name="T112" fmla="*/ 1281 w 2163"/>
                  <a:gd name="T113" fmla="*/ 1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63" h="598">
                    <a:moveTo>
                      <a:pt x="1348" y="18"/>
                    </a:moveTo>
                    <a:lnTo>
                      <a:pt x="1382" y="26"/>
                    </a:lnTo>
                    <a:lnTo>
                      <a:pt x="1416" y="34"/>
                    </a:lnTo>
                    <a:lnTo>
                      <a:pt x="1433" y="38"/>
                    </a:lnTo>
                    <a:lnTo>
                      <a:pt x="1450" y="40"/>
                    </a:lnTo>
                    <a:lnTo>
                      <a:pt x="1467" y="42"/>
                    </a:lnTo>
                    <a:lnTo>
                      <a:pt x="1486" y="43"/>
                    </a:lnTo>
                    <a:lnTo>
                      <a:pt x="1490" y="44"/>
                    </a:lnTo>
                    <a:lnTo>
                      <a:pt x="1492" y="45"/>
                    </a:lnTo>
                    <a:lnTo>
                      <a:pt x="1493" y="48"/>
                    </a:lnTo>
                    <a:lnTo>
                      <a:pt x="1494" y="51"/>
                    </a:lnTo>
                    <a:lnTo>
                      <a:pt x="1494" y="60"/>
                    </a:lnTo>
                    <a:lnTo>
                      <a:pt x="1494" y="70"/>
                    </a:lnTo>
                    <a:lnTo>
                      <a:pt x="1496" y="73"/>
                    </a:lnTo>
                    <a:lnTo>
                      <a:pt x="1497" y="78"/>
                    </a:lnTo>
                    <a:lnTo>
                      <a:pt x="1498" y="81"/>
                    </a:lnTo>
                    <a:lnTo>
                      <a:pt x="1502" y="83"/>
                    </a:lnTo>
                    <a:lnTo>
                      <a:pt x="1505" y="84"/>
                    </a:lnTo>
                    <a:lnTo>
                      <a:pt x="1512" y="84"/>
                    </a:lnTo>
                    <a:lnTo>
                      <a:pt x="1519" y="83"/>
                    </a:lnTo>
                    <a:lnTo>
                      <a:pt x="1527" y="80"/>
                    </a:lnTo>
                    <a:lnTo>
                      <a:pt x="1536" y="77"/>
                    </a:lnTo>
                    <a:lnTo>
                      <a:pt x="1545" y="75"/>
                    </a:lnTo>
                    <a:lnTo>
                      <a:pt x="1554" y="73"/>
                    </a:lnTo>
                    <a:lnTo>
                      <a:pt x="1564" y="73"/>
                    </a:lnTo>
                    <a:lnTo>
                      <a:pt x="1585" y="75"/>
                    </a:lnTo>
                    <a:lnTo>
                      <a:pt x="1607" y="78"/>
                    </a:lnTo>
                    <a:lnTo>
                      <a:pt x="1629" y="83"/>
                    </a:lnTo>
                    <a:lnTo>
                      <a:pt x="1650" y="91"/>
                    </a:lnTo>
                    <a:lnTo>
                      <a:pt x="1671" y="98"/>
                    </a:lnTo>
                    <a:lnTo>
                      <a:pt x="1690" y="105"/>
                    </a:lnTo>
                    <a:lnTo>
                      <a:pt x="1701" y="111"/>
                    </a:lnTo>
                    <a:lnTo>
                      <a:pt x="1714" y="121"/>
                    </a:lnTo>
                    <a:lnTo>
                      <a:pt x="1718" y="126"/>
                    </a:lnTo>
                    <a:lnTo>
                      <a:pt x="1725" y="129"/>
                    </a:lnTo>
                    <a:lnTo>
                      <a:pt x="1727" y="129"/>
                    </a:lnTo>
                    <a:lnTo>
                      <a:pt x="1729" y="129"/>
                    </a:lnTo>
                    <a:lnTo>
                      <a:pt x="1731" y="129"/>
                    </a:lnTo>
                    <a:lnTo>
                      <a:pt x="1733" y="126"/>
                    </a:lnTo>
                    <a:lnTo>
                      <a:pt x="1737" y="122"/>
                    </a:lnTo>
                    <a:lnTo>
                      <a:pt x="1742" y="119"/>
                    </a:lnTo>
                    <a:lnTo>
                      <a:pt x="1745" y="116"/>
                    </a:lnTo>
                    <a:lnTo>
                      <a:pt x="1748" y="115"/>
                    </a:lnTo>
                    <a:lnTo>
                      <a:pt x="1755" y="115"/>
                    </a:lnTo>
                    <a:lnTo>
                      <a:pt x="1761" y="116"/>
                    </a:lnTo>
                    <a:lnTo>
                      <a:pt x="1775" y="122"/>
                    </a:lnTo>
                    <a:lnTo>
                      <a:pt x="1793" y="129"/>
                    </a:lnTo>
                    <a:lnTo>
                      <a:pt x="1969" y="153"/>
                    </a:lnTo>
                    <a:lnTo>
                      <a:pt x="1973" y="154"/>
                    </a:lnTo>
                    <a:lnTo>
                      <a:pt x="1977" y="157"/>
                    </a:lnTo>
                    <a:lnTo>
                      <a:pt x="1978" y="159"/>
                    </a:lnTo>
                    <a:lnTo>
                      <a:pt x="1979" y="163"/>
                    </a:lnTo>
                    <a:lnTo>
                      <a:pt x="1980" y="170"/>
                    </a:lnTo>
                    <a:lnTo>
                      <a:pt x="1979" y="176"/>
                    </a:lnTo>
                    <a:lnTo>
                      <a:pt x="1978" y="179"/>
                    </a:lnTo>
                    <a:lnTo>
                      <a:pt x="1983" y="158"/>
                    </a:lnTo>
                    <a:lnTo>
                      <a:pt x="1986" y="149"/>
                    </a:lnTo>
                    <a:lnTo>
                      <a:pt x="1989" y="143"/>
                    </a:lnTo>
                    <a:lnTo>
                      <a:pt x="1993" y="137"/>
                    </a:lnTo>
                    <a:lnTo>
                      <a:pt x="1997" y="132"/>
                    </a:lnTo>
                    <a:lnTo>
                      <a:pt x="2002" y="129"/>
                    </a:lnTo>
                    <a:lnTo>
                      <a:pt x="2007" y="126"/>
                    </a:lnTo>
                    <a:lnTo>
                      <a:pt x="2012" y="125"/>
                    </a:lnTo>
                    <a:lnTo>
                      <a:pt x="2017" y="125"/>
                    </a:lnTo>
                    <a:lnTo>
                      <a:pt x="2023" y="125"/>
                    </a:lnTo>
                    <a:lnTo>
                      <a:pt x="2029" y="126"/>
                    </a:lnTo>
                    <a:lnTo>
                      <a:pt x="2035" y="129"/>
                    </a:lnTo>
                    <a:lnTo>
                      <a:pt x="2042" y="131"/>
                    </a:lnTo>
                    <a:lnTo>
                      <a:pt x="2054" y="137"/>
                    </a:lnTo>
                    <a:lnTo>
                      <a:pt x="2067" y="146"/>
                    </a:lnTo>
                    <a:lnTo>
                      <a:pt x="2094" y="166"/>
                    </a:lnTo>
                    <a:lnTo>
                      <a:pt x="2120" y="186"/>
                    </a:lnTo>
                    <a:lnTo>
                      <a:pt x="2132" y="195"/>
                    </a:lnTo>
                    <a:lnTo>
                      <a:pt x="2143" y="202"/>
                    </a:lnTo>
                    <a:lnTo>
                      <a:pt x="2154" y="206"/>
                    </a:lnTo>
                    <a:lnTo>
                      <a:pt x="2163" y="208"/>
                    </a:lnTo>
                    <a:lnTo>
                      <a:pt x="2152" y="215"/>
                    </a:lnTo>
                    <a:lnTo>
                      <a:pt x="2142" y="220"/>
                    </a:lnTo>
                    <a:lnTo>
                      <a:pt x="2133" y="224"/>
                    </a:lnTo>
                    <a:lnTo>
                      <a:pt x="2125" y="225"/>
                    </a:lnTo>
                    <a:lnTo>
                      <a:pt x="2117" y="226"/>
                    </a:lnTo>
                    <a:lnTo>
                      <a:pt x="2110" y="225"/>
                    </a:lnTo>
                    <a:lnTo>
                      <a:pt x="2104" y="224"/>
                    </a:lnTo>
                    <a:lnTo>
                      <a:pt x="2098" y="222"/>
                    </a:lnTo>
                    <a:lnTo>
                      <a:pt x="2086" y="217"/>
                    </a:lnTo>
                    <a:lnTo>
                      <a:pt x="2072" y="214"/>
                    </a:lnTo>
                    <a:lnTo>
                      <a:pt x="2065" y="214"/>
                    </a:lnTo>
                    <a:lnTo>
                      <a:pt x="2057" y="214"/>
                    </a:lnTo>
                    <a:lnTo>
                      <a:pt x="2048" y="217"/>
                    </a:lnTo>
                    <a:lnTo>
                      <a:pt x="2038" y="220"/>
                    </a:lnTo>
                    <a:lnTo>
                      <a:pt x="2021" y="229"/>
                    </a:lnTo>
                    <a:lnTo>
                      <a:pt x="2006" y="234"/>
                    </a:lnTo>
                    <a:lnTo>
                      <a:pt x="1995" y="236"/>
                    </a:lnTo>
                    <a:lnTo>
                      <a:pt x="1985" y="237"/>
                    </a:lnTo>
                    <a:lnTo>
                      <a:pt x="1979" y="236"/>
                    </a:lnTo>
                    <a:lnTo>
                      <a:pt x="1974" y="234"/>
                    </a:lnTo>
                    <a:lnTo>
                      <a:pt x="1971" y="229"/>
                    </a:lnTo>
                    <a:lnTo>
                      <a:pt x="1967" y="225"/>
                    </a:lnTo>
                    <a:lnTo>
                      <a:pt x="1963" y="219"/>
                    </a:lnTo>
                    <a:lnTo>
                      <a:pt x="1960" y="214"/>
                    </a:lnTo>
                    <a:lnTo>
                      <a:pt x="1956" y="209"/>
                    </a:lnTo>
                    <a:lnTo>
                      <a:pt x="1950" y="204"/>
                    </a:lnTo>
                    <a:lnTo>
                      <a:pt x="1942" y="201"/>
                    </a:lnTo>
                    <a:lnTo>
                      <a:pt x="1933" y="199"/>
                    </a:lnTo>
                    <a:lnTo>
                      <a:pt x="1920" y="198"/>
                    </a:lnTo>
                    <a:lnTo>
                      <a:pt x="1904" y="199"/>
                    </a:lnTo>
                    <a:lnTo>
                      <a:pt x="1896" y="202"/>
                    </a:lnTo>
                    <a:lnTo>
                      <a:pt x="1890" y="206"/>
                    </a:lnTo>
                    <a:lnTo>
                      <a:pt x="1886" y="209"/>
                    </a:lnTo>
                    <a:lnTo>
                      <a:pt x="1882" y="215"/>
                    </a:lnTo>
                    <a:lnTo>
                      <a:pt x="1881" y="222"/>
                    </a:lnTo>
                    <a:lnTo>
                      <a:pt x="1881" y="229"/>
                    </a:lnTo>
                    <a:lnTo>
                      <a:pt x="1882" y="235"/>
                    </a:lnTo>
                    <a:lnTo>
                      <a:pt x="1884" y="242"/>
                    </a:lnTo>
                    <a:lnTo>
                      <a:pt x="1887" y="256"/>
                    </a:lnTo>
                    <a:lnTo>
                      <a:pt x="1890" y="268"/>
                    </a:lnTo>
                    <a:lnTo>
                      <a:pt x="1890" y="272"/>
                    </a:lnTo>
                    <a:lnTo>
                      <a:pt x="1889" y="275"/>
                    </a:lnTo>
                    <a:lnTo>
                      <a:pt x="1886" y="278"/>
                    </a:lnTo>
                    <a:lnTo>
                      <a:pt x="1881" y="278"/>
                    </a:lnTo>
                    <a:lnTo>
                      <a:pt x="1868" y="277"/>
                    </a:lnTo>
                    <a:lnTo>
                      <a:pt x="1853" y="274"/>
                    </a:lnTo>
                    <a:lnTo>
                      <a:pt x="1847" y="273"/>
                    </a:lnTo>
                    <a:lnTo>
                      <a:pt x="1841" y="270"/>
                    </a:lnTo>
                    <a:lnTo>
                      <a:pt x="1833" y="268"/>
                    </a:lnTo>
                    <a:lnTo>
                      <a:pt x="1827" y="264"/>
                    </a:lnTo>
                    <a:lnTo>
                      <a:pt x="1824" y="263"/>
                    </a:lnTo>
                    <a:lnTo>
                      <a:pt x="1818" y="262"/>
                    </a:lnTo>
                    <a:lnTo>
                      <a:pt x="1811" y="262"/>
                    </a:lnTo>
                    <a:lnTo>
                      <a:pt x="1803" y="262"/>
                    </a:lnTo>
                    <a:lnTo>
                      <a:pt x="1784" y="264"/>
                    </a:lnTo>
                    <a:lnTo>
                      <a:pt x="1764" y="269"/>
                    </a:lnTo>
                    <a:lnTo>
                      <a:pt x="1745" y="274"/>
                    </a:lnTo>
                    <a:lnTo>
                      <a:pt x="1728" y="279"/>
                    </a:lnTo>
                    <a:lnTo>
                      <a:pt x="1716" y="284"/>
                    </a:lnTo>
                    <a:lnTo>
                      <a:pt x="1711" y="286"/>
                    </a:lnTo>
                    <a:lnTo>
                      <a:pt x="1704" y="297"/>
                    </a:lnTo>
                    <a:lnTo>
                      <a:pt x="1693" y="312"/>
                    </a:lnTo>
                    <a:lnTo>
                      <a:pt x="1679" y="329"/>
                    </a:lnTo>
                    <a:lnTo>
                      <a:pt x="1663" y="346"/>
                    </a:lnTo>
                    <a:lnTo>
                      <a:pt x="1655" y="355"/>
                    </a:lnTo>
                    <a:lnTo>
                      <a:pt x="1646" y="362"/>
                    </a:lnTo>
                    <a:lnTo>
                      <a:pt x="1638" y="367"/>
                    </a:lnTo>
                    <a:lnTo>
                      <a:pt x="1629" y="372"/>
                    </a:lnTo>
                    <a:lnTo>
                      <a:pt x="1620" y="376"/>
                    </a:lnTo>
                    <a:lnTo>
                      <a:pt x="1612" y="377"/>
                    </a:lnTo>
                    <a:lnTo>
                      <a:pt x="1608" y="376"/>
                    </a:lnTo>
                    <a:lnTo>
                      <a:pt x="1605" y="376"/>
                    </a:lnTo>
                    <a:lnTo>
                      <a:pt x="1600" y="373"/>
                    </a:lnTo>
                    <a:lnTo>
                      <a:pt x="1596" y="372"/>
                    </a:lnTo>
                    <a:lnTo>
                      <a:pt x="1594" y="370"/>
                    </a:lnTo>
                    <a:lnTo>
                      <a:pt x="1592" y="367"/>
                    </a:lnTo>
                    <a:lnTo>
                      <a:pt x="1592" y="363"/>
                    </a:lnTo>
                    <a:lnTo>
                      <a:pt x="1595" y="361"/>
                    </a:lnTo>
                    <a:lnTo>
                      <a:pt x="1602" y="357"/>
                    </a:lnTo>
                    <a:lnTo>
                      <a:pt x="1612" y="352"/>
                    </a:lnTo>
                    <a:lnTo>
                      <a:pt x="1633" y="345"/>
                    </a:lnTo>
                    <a:lnTo>
                      <a:pt x="1646" y="340"/>
                    </a:lnTo>
                    <a:lnTo>
                      <a:pt x="1660" y="329"/>
                    </a:lnTo>
                    <a:lnTo>
                      <a:pt x="1666" y="322"/>
                    </a:lnTo>
                    <a:lnTo>
                      <a:pt x="1667" y="318"/>
                    </a:lnTo>
                    <a:lnTo>
                      <a:pt x="1667" y="316"/>
                    </a:lnTo>
                    <a:lnTo>
                      <a:pt x="1666" y="315"/>
                    </a:lnTo>
                    <a:lnTo>
                      <a:pt x="1665" y="312"/>
                    </a:lnTo>
                    <a:lnTo>
                      <a:pt x="1649" y="308"/>
                    </a:lnTo>
                    <a:lnTo>
                      <a:pt x="1627" y="303"/>
                    </a:lnTo>
                    <a:lnTo>
                      <a:pt x="1609" y="297"/>
                    </a:lnTo>
                    <a:lnTo>
                      <a:pt x="1596" y="290"/>
                    </a:lnTo>
                    <a:lnTo>
                      <a:pt x="1585" y="281"/>
                    </a:lnTo>
                    <a:lnTo>
                      <a:pt x="1574" y="273"/>
                    </a:lnTo>
                    <a:lnTo>
                      <a:pt x="1564" y="266"/>
                    </a:lnTo>
                    <a:lnTo>
                      <a:pt x="1552" y="258"/>
                    </a:lnTo>
                    <a:lnTo>
                      <a:pt x="1545" y="256"/>
                    </a:lnTo>
                    <a:lnTo>
                      <a:pt x="1537" y="252"/>
                    </a:lnTo>
                    <a:lnTo>
                      <a:pt x="1529" y="251"/>
                    </a:lnTo>
                    <a:lnTo>
                      <a:pt x="1519" y="248"/>
                    </a:lnTo>
                    <a:lnTo>
                      <a:pt x="1512" y="247"/>
                    </a:lnTo>
                    <a:lnTo>
                      <a:pt x="1505" y="248"/>
                    </a:lnTo>
                    <a:lnTo>
                      <a:pt x="1501" y="248"/>
                    </a:lnTo>
                    <a:lnTo>
                      <a:pt x="1497" y="251"/>
                    </a:lnTo>
                    <a:lnTo>
                      <a:pt x="1494" y="252"/>
                    </a:lnTo>
                    <a:lnTo>
                      <a:pt x="1493" y="256"/>
                    </a:lnTo>
                    <a:lnTo>
                      <a:pt x="1492" y="258"/>
                    </a:lnTo>
                    <a:lnTo>
                      <a:pt x="1492" y="262"/>
                    </a:lnTo>
                    <a:lnTo>
                      <a:pt x="1492" y="269"/>
                    </a:lnTo>
                    <a:lnTo>
                      <a:pt x="1491" y="275"/>
                    </a:lnTo>
                    <a:lnTo>
                      <a:pt x="1491" y="278"/>
                    </a:lnTo>
                    <a:lnTo>
                      <a:pt x="1490" y="280"/>
                    </a:lnTo>
                    <a:lnTo>
                      <a:pt x="1487" y="283"/>
                    </a:lnTo>
                    <a:lnTo>
                      <a:pt x="1483" y="284"/>
                    </a:lnTo>
                    <a:lnTo>
                      <a:pt x="1478" y="285"/>
                    </a:lnTo>
                    <a:lnTo>
                      <a:pt x="1474" y="285"/>
                    </a:lnTo>
                    <a:lnTo>
                      <a:pt x="1469" y="284"/>
                    </a:lnTo>
                    <a:lnTo>
                      <a:pt x="1464" y="284"/>
                    </a:lnTo>
                    <a:lnTo>
                      <a:pt x="1455" y="280"/>
                    </a:lnTo>
                    <a:lnTo>
                      <a:pt x="1448" y="278"/>
                    </a:lnTo>
                    <a:lnTo>
                      <a:pt x="1444" y="278"/>
                    </a:lnTo>
                    <a:lnTo>
                      <a:pt x="1442" y="278"/>
                    </a:lnTo>
                    <a:lnTo>
                      <a:pt x="1438" y="279"/>
                    </a:lnTo>
                    <a:lnTo>
                      <a:pt x="1436" y="281"/>
                    </a:lnTo>
                    <a:lnTo>
                      <a:pt x="1432" y="284"/>
                    </a:lnTo>
                    <a:lnTo>
                      <a:pt x="1430" y="289"/>
                    </a:lnTo>
                    <a:lnTo>
                      <a:pt x="1427" y="296"/>
                    </a:lnTo>
                    <a:lnTo>
                      <a:pt x="1425" y="303"/>
                    </a:lnTo>
                    <a:lnTo>
                      <a:pt x="1410" y="385"/>
                    </a:lnTo>
                    <a:lnTo>
                      <a:pt x="1408" y="387"/>
                    </a:lnTo>
                    <a:lnTo>
                      <a:pt x="1400" y="385"/>
                    </a:lnTo>
                    <a:lnTo>
                      <a:pt x="1392" y="383"/>
                    </a:lnTo>
                    <a:lnTo>
                      <a:pt x="1381" y="379"/>
                    </a:lnTo>
                    <a:lnTo>
                      <a:pt x="1357" y="372"/>
                    </a:lnTo>
                    <a:lnTo>
                      <a:pt x="1341" y="368"/>
                    </a:lnTo>
                    <a:lnTo>
                      <a:pt x="1325" y="370"/>
                    </a:lnTo>
                    <a:lnTo>
                      <a:pt x="1308" y="372"/>
                    </a:lnTo>
                    <a:lnTo>
                      <a:pt x="1292" y="376"/>
                    </a:lnTo>
                    <a:lnTo>
                      <a:pt x="1275" y="378"/>
                    </a:lnTo>
                    <a:lnTo>
                      <a:pt x="1259" y="379"/>
                    </a:lnTo>
                    <a:lnTo>
                      <a:pt x="1243" y="379"/>
                    </a:lnTo>
                    <a:lnTo>
                      <a:pt x="1236" y="379"/>
                    </a:lnTo>
                    <a:lnTo>
                      <a:pt x="1229" y="377"/>
                    </a:lnTo>
                    <a:lnTo>
                      <a:pt x="1221" y="374"/>
                    </a:lnTo>
                    <a:lnTo>
                      <a:pt x="1214" y="371"/>
                    </a:lnTo>
                    <a:lnTo>
                      <a:pt x="1208" y="367"/>
                    </a:lnTo>
                    <a:lnTo>
                      <a:pt x="1202" y="366"/>
                    </a:lnTo>
                    <a:lnTo>
                      <a:pt x="1197" y="366"/>
                    </a:lnTo>
                    <a:lnTo>
                      <a:pt x="1193" y="367"/>
                    </a:lnTo>
                    <a:lnTo>
                      <a:pt x="1190" y="370"/>
                    </a:lnTo>
                    <a:lnTo>
                      <a:pt x="1186" y="372"/>
                    </a:lnTo>
                    <a:lnTo>
                      <a:pt x="1184" y="376"/>
                    </a:lnTo>
                    <a:lnTo>
                      <a:pt x="1181" y="381"/>
                    </a:lnTo>
                    <a:lnTo>
                      <a:pt x="1177" y="389"/>
                    </a:lnTo>
                    <a:lnTo>
                      <a:pt x="1172" y="398"/>
                    </a:lnTo>
                    <a:lnTo>
                      <a:pt x="1169" y="401"/>
                    </a:lnTo>
                    <a:lnTo>
                      <a:pt x="1166" y="404"/>
                    </a:lnTo>
                    <a:lnTo>
                      <a:pt x="1161" y="406"/>
                    </a:lnTo>
                    <a:lnTo>
                      <a:pt x="1157" y="406"/>
                    </a:lnTo>
                    <a:lnTo>
                      <a:pt x="1149" y="408"/>
                    </a:lnTo>
                    <a:lnTo>
                      <a:pt x="1142" y="409"/>
                    </a:lnTo>
                    <a:lnTo>
                      <a:pt x="1136" y="411"/>
                    </a:lnTo>
                    <a:lnTo>
                      <a:pt x="1131" y="415"/>
                    </a:lnTo>
                    <a:lnTo>
                      <a:pt x="1120" y="422"/>
                    </a:lnTo>
                    <a:lnTo>
                      <a:pt x="1109" y="431"/>
                    </a:lnTo>
                    <a:lnTo>
                      <a:pt x="1103" y="433"/>
                    </a:lnTo>
                    <a:lnTo>
                      <a:pt x="1098" y="433"/>
                    </a:lnTo>
                    <a:lnTo>
                      <a:pt x="1093" y="432"/>
                    </a:lnTo>
                    <a:lnTo>
                      <a:pt x="1088" y="430"/>
                    </a:lnTo>
                    <a:lnTo>
                      <a:pt x="1084" y="425"/>
                    </a:lnTo>
                    <a:lnTo>
                      <a:pt x="1081" y="420"/>
                    </a:lnTo>
                    <a:lnTo>
                      <a:pt x="1077" y="414"/>
                    </a:lnTo>
                    <a:lnTo>
                      <a:pt x="1073" y="408"/>
                    </a:lnTo>
                    <a:lnTo>
                      <a:pt x="1068" y="395"/>
                    </a:lnTo>
                    <a:lnTo>
                      <a:pt x="1062" y="384"/>
                    </a:lnTo>
                    <a:lnTo>
                      <a:pt x="1060" y="379"/>
                    </a:lnTo>
                    <a:lnTo>
                      <a:pt x="1057" y="377"/>
                    </a:lnTo>
                    <a:lnTo>
                      <a:pt x="1055" y="376"/>
                    </a:lnTo>
                    <a:lnTo>
                      <a:pt x="1053" y="377"/>
                    </a:lnTo>
                    <a:lnTo>
                      <a:pt x="1049" y="387"/>
                    </a:lnTo>
                    <a:lnTo>
                      <a:pt x="1045" y="408"/>
                    </a:lnTo>
                    <a:lnTo>
                      <a:pt x="1043" y="427"/>
                    </a:lnTo>
                    <a:lnTo>
                      <a:pt x="1042" y="438"/>
                    </a:lnTo>
                    <a:lnTo>
                      <a:pt x="1048" y="444"/>
                    </a:lnTo>
                    <a:lnTo>
                      <a:pt x="1056" y="449"/>
                    </a:lnTo>
                    <a:lnTo>
                      <a:pt x="1066" y="455"/>
                    </a:lnTo>
                    <a:lnTo>
                      <a:pt x="1075" y="461"/>
                    </a:lnTo>
                    <a:lnTo>
                      <a:pt x="1079" y="465"/>
                    </a:lnTo>
                    <a:lnTo>
                      <a:pt x="1083" y="469"/>
                    </a:lnTo>
                    <a:lnTo>
                      <a:pt x="1086" y="472"/>
                    </a:lnTo>
                    <a:lnTo>
                      <a:pt x="1087" y="475"/>
                    </a:lnTo>
                    <a:lnTo>
                      <a:pt x="1088" y="478"/>
                    </a:lnTo>
                    <a:lnTo>
                      <a:pt x="1087" y="483"/>
                    </a:lnTo>
                    <a:lnTo>
                      <a:pt x="1084" y="487"/>
                    </a:lnTo>
                    <a:lnTo>
                      <a:pt x="1081" y="491"/>
                    </a:lnTo>
                    <a:lnTo>
                      <a:pt x="1073" y="496"/>
                    </a:lnTo>
                    <a:lnTo>
                      <a:pt x="1060" y="500"/>
                    </a:lnTo>
                    <a:lnTo>
                      <a:pt x="1044" y="507"/>
                    </a:lnTo>
                    <a:lnTo>
                      <a:pt x="1026" y="512"/>
                    </a:lnTo>
                    <a:lnTo>
                      <a:pt x="1007" y="516"/>
                    </a:lnTo>
                    <a:lnTo>
                      <a:pt x="991" y="519"/>
                    </a:lnTo>
                    <a:lnTo>
                      <a:pt x="984" y="520"/>
                    </a:lnTo>
                    <a:lnTo>
                      <a:pt x="979" y="520"/>
                    </a:lnTo>
                    <a:lnTo>
                      <a:pt x="975" y="519"/>
                    </a:lnTo>
                    <a:lnTo>
                      <a:pt x="973" y="518"/>
                    </a:lnTo>
                    <a:lnTo>
                      <a:pt x="971" y="515"/>
                    </a:lnTo>
                    <a:lnTo>
                      <a:pt x="969" y="510"/>
                    </a:lnTo>
                    <a:lnTo>
                      <a:pt x="968" y="504"/>
                    </a:lnTo>
                    <a:lnTo>
                      <a:pt x="968" y="498"/>
                    </a:lnTo>
                    <a:lnTo>
                      <a:pt x="968" y="483"/>
                    </a:lnTo>
                    <a:lnTo>
                      <a:pt x="968" y="467"/>
                    </a:lnTo>
                    <a:lnTo>
                      <a:pt x="969" y="439"/>
                    </a:lnTo>
                    <a:lnTo>
                      <a:pt x="969" y="426"/>
                    </a:lnTo>
                    <a:lnTo>
                      <a:pt x="962" y="425"/>
                    </a:lnTo>
                    <a:lnTo>
                      <a:pt x="947" y="425"/>
                    </a:lnTo>
                    <a:lnTo>
                      <a:pt x="929" y="426"/>
                    </a:lnTo>
                    <a:lnTo>
                      <a:pt x="911" y="428"/>
                    </a:lnTo>
                    <a:lnTo>
                      <a:pt x="902" y="431"/>
                    </a:lnTo>
                    <a:lnTo>
                      <a:pt x="895" y="433"/>
                    </a:lnTo>
                    <a:lnTo>
                      <a:pt x="890" y="437"/>
                    </a:lnTo>
                    <a:lnTo>
                      <a:pt x="887" y="442"/>
                    </a:lnTo>
                    <a:lnTo>
                      <a:pt x="887" y="443"/>
                    </a:lnTo>
                    <a:lnTo>
                      <a:pt x="887" y="447"/>
                    </a:lnTo>
                    <a:lnTo>
                      <a:pt x="889" y="449"/>
                    </a:lnTo>
                    <a:lnTo>
                      <a:pt x="890" y="452"/>
                    </a:lnTo>
                    <a:lnTo>
                      <a:pt x="897" y="458"/>
                    </a:lnTo>
                    <a:lnTo>
                      <a:pt x="908" y="465"/>
                    </a:lnTo>
                    <a:lnTo>
                      <a:pt x="920" y="470"/>
                    </a:lnTo>
                    <a:lnTo>
                      <a:pt x="936" y="475"/>
                    </a:lnTo>
                    <a:lnTo>
                      <a:pt x="942" y="477"/>
                    </a:lnTo>
                    <a:lnTo>
                      <a:pt x="947" y="481"/>
                    </a:lnTo>
                    <a:lnTo>
                      <a:pt x="949" y="483"/>
                    </a:lnTo>
                    <a:lnTo>
                      <a:pt x="950" y="485"/>
                    </a:lnTo>
                    <a:lnTo>
                      <a:pt x="950" y="487"/>
                    </a:lnTo>
                    <a:lnTo>
                      <a:pt x="949" y="489"/>
                    </a:lnTo>
                    <a:lnTo>
                      <a:pt x="918" y="548"/>
                    </a:lnTo>
                    <a:lnTo>
                      <a:pt x="912" y="547"/>
                    </a:lnTo>
                    <a:lnTo>
                      <a:pt x="906" y="543"/>
                    </a:lnTo>
                    <a:lnTo>
                      <a:pt x="901" y="540"/>
                    </a:lnTo>
                    <a:lnTo>
                      <a:pt x="896" y="536"/>
                    </a:lnTo>
                    <a:lnTo>
                      <a:pt x="895" y="535"/>
                    </a:lnTo>
                    <a:lnTo>
                      <a:pt x="892" y="535"/>
                    </a:lnTo>
                    <a:lnTo>
                      <a:pt x="891" y="535"/>
                    </a:lnTo>
                    <a:lnTo>
                      <a:pt x="890" y="536"/>
                    </a:lnTo>
                    <a:lnTo>
                      <a:pt x="886" y="543"/>
                    </a:lnTo>
                    <a:lnTo>
                      <a:pt x="884" y="556"/>
                    </a:lnTo>
                    <a:lnTo>
                      <a:pt x="882" y="558"/>
                    </a:lnTo>
                    <a:lnTo>
                      <a:pt x="881" y="560"/>
                    </a:lnTo>
                    <a:lnTo>
                      <a:pt x="880" y="562"/>
                    </a:lnTo>
                    <a:lnTo>
                      <a:pt x="878" y="562"/>
                    </a:lnTo>
                    <a:lnTo>
                      <a:pt x="873" y="560"/>
                    </a:lnTo>
                    <a:lnTo>
                      <a:pt x="868" y="558"/>
                    </a:lnTo>
                    <a:lnTo>
                      <a:pt x="864" y="553"/>
                    </a:lnTo>
                    <a:lnTo>
                      <a:pt x="859" y="548"/>
                    </a:lnTo>
                    <a:lnTo>
                      <a:pt x="858" y="542"/>
                    </a:lnTo>
                    <a:lnTo>
                      <a:pt x="858" y="537"/>
                    </a:lnTo>
                    <a:lnTo>
                      <a:pt x="860" y="527"/>
                    </a:lnTo>
                    <a:lnTo>
                      <a:pt x="862" y="520"/>
                    </a:lnTo>
                    <a:lnTo>
                      <a:pt x="862" y="513"/>
                    </a:lnTo>
                    <a:lnTo>
                      <a:pt x="860" y="505"/>
                    </a:lnTo>
                    <a:lnTo>
                      <a:pt x="858" y="500"/>
                    </a:lnTo>
                    <a:lnTo>
                      <a:pt x="855" y="496"/>
                    </a:lnTo>
                    <a:lnTo>
                      <a:pt x="852" y="491"/>
                    </a:lnTo>
                    <a:lnTo>
                      <a:pt x="848" y="488"/>
                    </a:lnTo>
                    <a:lnTo>
                      <a:pt x="842" y="486"/>
                    </a:lnTo>
                    <a:lnTo>
                      <a:pt x="836" y="485"/>
                    </a:lnTo>
                    <a:lnTo>
                      <a:pt x="830" y="485"/>
                    </a:lnTo>
                    <a:lnTo>
                      <a:pt x="822" y="485"/>
                    </a:lnTo>
                    <a:lnTo>
                      <a:pt x="815" y="486"/>
                    </a:lnTo>
                    <a:lnTo>
                      <a:pt x="807" y="488"/>
                    </a:lnTo>
                    <a:lnTo>
                      <a:pt x="798" y="491"/>
                    </a:lnTo>
                    <a:lnTo>
                      <a:pt x="788" y="496"/>
                    </a:lnTo>
                    <a:lnTo>
                      <a:pt x="781" y="498"/>
                    </a:lnTo>
                    <a:lnTo>
                      <a:pt x="772" y="500"/>
                    </a:lnTo>
                    <a:lnTo>
                      <a:pt x="765" y="502"/>
                    </a:lnTo>
                    <a:lnTo>
                      <a:pt x="759" y="503"/>
                    </a:lnTo>
                    <a:lnTo>
                      <a:pt x="747" y="502"/>
                    </a:lnTo>
                    <a:lnTo>
                      <a:pt x="734" y="499"/>
                    </a:lnTo>
                    <a:lnTo>
                      <a:pt x="722" y="496"/>
                    </a:lnTo>
                    <a:lnTo>
                      <a:pt x="710" y="493"/>
                    </a:lnTo>
                    <a:lnTo>
                      <a:pt x="704" y="492"/>
                    </a:lnTo>
                    <a:lnTo>
                      <a:pt x="698" y="491"/>
                    </a:lnTo>
                    <a:lnTo>
                      <a:pt x="690" y="492"/>
                    </a:lnTo>
                    <a:lnTo>
                      <a:pt x="682" y="492"/>
                    </a:lnTo>
                    <a:lnTo>
                      <a:pt x="661" y="493"/>
                    </a:lnTo>
                    <a:lnTo>
                      <a:pt x="641" y="494"/>
                    </a:lnTo>
                    <a:lnTo>
                      <a:pt x="620" y="497"/>
                    </a:lnTo>
                    <a:lnTo>
                      <a:pt x="601" y="499"/>
                    </a:lnTo>
                    <a:lnTo>
                      <a:pt x="583" y="503"/>
                    </a:lnTo>
                    <a:lnTo>
                      <a:pt x="563" y="508"/>
                    </a:lnTo>
                    <a:lnTo>
                      <a:pt x="545" y="513"/>
                    </a:lnTo>
                    <a:lnTo>
                      <a:pt x="526" y="519"/>
                    </a:lnTo>
                    <a:lnTo>
                      <a:pt x="508" y="525"/>
                    </a:lnTo>
                    <a:lnTo>
                      <a:pt x="490" y="532"/>
                    </a:lnTo>
                    <a:lnTo>
                      <a:pt x="472" y="540"/>
                    </a:lnTo>
                    <a:lnTo>
                      <a:pt x="454" y="548"/>
                    </a:lnTo>
                    <a:lnTo>
                      <a:pt x="419" y="568"/>
                    </a:lnTo>
                    <a:lnTo>
                      <a:pt x="384" y="587"/>
                    </a:lnTo>
                    <a:lnTo>
                      <a:pt x="373" y="592"/>
                    </a:lnTo>
                    <a:lnTo>
                      <a:pt x="361" y="596"/>
                    </a:lnTo>
                    <a:lnTo>
                      <a:pt x="345" y="597"/>
                    </a:lnTo>
                    <a:lnTo>
                      <a:pt x="329" y="598"/>
                    </a:lnTo>
                    <a:lnTo>
                      <a:pt x="311" y="597"/>
                    </a:lnTo>
                    <a:lnTo>
                      <a:pt x="291" y="595"/>
                    </a:lnTo>
                    <a:lnTo>
                      <a:pt x="272" y="592"/>
                    </a:lnTo>
                    <a:lnTo>
                      <a:pt x="251" y="589"/>
                    </a:lnTo>
                    <a:lnTo>
                      <a:pt x="210" y="580"/>
                    </a:lnTo>
                    <a:lnTo>
                      <a:pt x="174" y="570"/>
                    </a:lnTo>
                    <a:lnTo>
                      <a:pt x="141" y="560"/>
                    </a:lnTo>
                    <a:lnTo>
                      <a:pt x="116" y="553"/>
                    </a:lnTo>
                    <a:lnTo>
                      <a:pt x="103" y="548"/>
                    </a:lnTo>
                    <a:lnTo>
                      <a:pt x="92" y="542"/>
                    </a:lnTo>
                    <a:lnTo>
                      <a:pt x="82" y="536"/>
                    </a:lnTo>
                    <a:lnTo>
                      <a:pt x="75" y="530"/>
                    </a:lnTo>
                    <a:lnTo>
                      <a:pt x="68" y="524"/>
                    </a:lnTo>
                    <a:lnTo>
                      <a:pt x="62" y="518"/>
                    </a:lnTo>
                    <a:lnTo>
                      <a:pt x="59" y="510"/>
                    </a:lnTo>
                    <a:lnTo>
                      <a:pt x="55" y="503"/>
                    </a:lnTo>
                    <a:lnTo>
                      <a:pt x="48" y="489"/>
                    </a:lnTo>
                    <a:lnTo>
                      <a:pt x="39" y="476"/>
                    </a:lnTo>
                    <a:lnTo>
                      <a:pt x="34" y="470"/>
                    </a:lnTo>
                    <a:lnTo>
                      <a:pt x="28" y="464"/>
                    </a:lnTo>
                    <a:lnTo>
                      <a:pt x="21" y="458"/>
                    </a:lnTo>
                    <a:lnTo>
                      <a:pt x="11" y="452"/>
                    </a:lnTo>
                    <a:lnTo>
                      <a:pt x="7" y="449"/>
                    </a:lnTo>
                    <a:lnTo>
                      <a:pt x="4" y="445"/>
                    </a:lnTo>
                    <a:lnTo>
                      <a:pt x="2" y="443"/>
                    </a:lnTo>
                    <a:lnTo>
                      <a:pt x="0" y="439"/>
                    </a:lnTo>
                    <a:lnTo>
                      <a:pt x="0" y="432"/>
                    </a:lnTo>
                    <a:lnTo>
                      <a:pt x="1" y="425"/>
                    </a:lnTo>
                    <a:lnTo>
                      <a:pt x="5" y="417"/>
                    </a:lnTo>
                    <a:lnTo>
                      <a:pt x="7" y="409"/>
                    </a:lnTo>
                    <a:lnTo>
                      <a:pt x="11" y="400"/>
                    </a:lnTo>
                    <a:lnTo>
                      <a:pt x="11" y="392"/>
                    </a:lnTo>
                    <a:lnTo>
                      <a:pt x="10" y="371"/>
                    </a:lnTo>
                    <a:lnTo>
                      <a:pt x="6" y="346"/>
                    </a:lnTo>
                    <a:lnTo>
                      <a:pt x="5" y="335"/>
                    </a:lnTo>
                    <a:lnTo>
                      <a:pt x="6" y="327"/>
                    </a:lnTo>
                    <a:lnTo>
                      <a:pt x="7" y="323"/>
                    </a:lnTo>
                    <a:lnTo>
                      <a:pt x="8" y="322"/>
                    </a:lnTo>
                    <a:lnTo>
                      <a:pt x="11" y="321"/>
                    </a:lnTo>
                    <a:lnTo>
                      <a:pt x="13" y="322"/>
                    </a:lnTo>
                    <a:lnTo>
                      <a:pt x="23" y="326"/>
                    </a:lnTo>
                    <a:lnTo>
                      <a:pt x="33" y="327"/>
                    </a:lnTo>
                    <a:lnTo>
                      <a:pt x="43" y="327"/>
                    </a:lnTo>
                    <a:lnTo>
                      <a:pt x="51" y="326"/>
                    </a:lnTo>
                    <a:lnTo>
                      <a:pt x="70" y="322"/>
                    </a:lnTo>
                    <a:lnTo>
                      <a:pt x="87" y="319"/>
                    </a:lnTo>
                    <a:lnTo>
                      <a:pt x="90" y="326"/>
                    </a:lnTo>
                    <a:lnTo>
                      <a:pt x="94" y="330"/>
                    </a:lnTo>
                    <a:lnTo>
                      <a:pt x="100" y="333"/>
                    </a:lnTo>
                    <a:lnTo>
                      <a:pt x="108" y="334"/>
                    </a:lnTo>
                    <a:lnTo>
                      <a:pt x="109" y="341"/>
                    </a:lnTo>
                    <a:lnTo>
                      <a:pt x="109" y="349"/>
                    </a:lnTo>
                    <a:lnTo>
                      <a:pt x="108" y="356"/>
                    </a:lnTo>
                    <a:lnTo>
                      <a:pt x="105" y="363"/>
                    </a:lnTo>
                    <a:lnTo>
                      <a:pt x="105" y="368"/>
                    </a:lnTo>
                    <a:lnTo>
                      <a:pt x="106" y="370"/>
                    </a:lnTo>
                    <a:lnTo>
                      <a:pt x="108" y="370"/>
                    </a:lnTo>
                    <a:lnTo>
                      <a:pt x="110" y="367"/>
                    </a:lnTo>
                    <a:lnTo>
                      <a:pt x="115" y="360"/>
                    </a:lnTo>
                    <a:lnTo>
                      <a:pt x="117" y="355"/>
                    </a:lnTo>
                    <a:lnTo>
                      <a:pt x="124" y="341"/>
                    </a:lnTo>
                    <a:lnTo>
                      <a:pt x="124" y="339"/>
                    </a:lnTo>
                    <a:lnTo>
                      <a:pt x="122" y="337"/>
                    </a:lnTo>
                    <a:lnTo>
                      <a:pt x="121" y="326"/>
                    </a:lnTo>
                    <a:lnTo>
                      <a:pt x="122" y="326"/>
                    </a:lnTo>
                    <a:lnTo>
                      <a:pt x="122" y="326"/>
                    </a:lnTo>
                    <a:lnTo>
                      <a:pt x="148" y="326"/>
                    </a:lnTo>
                    <a:lnTo>
                      <a:pt x="172" y="324"/>
                    </a:lnTo>
                    <a:lnTo>
                      <a:pt x="195" y="324"/>
                    </a:lnTo>
                    <a:lnTo>
                      <a:pt x="217" y="322"/>
                    </a:lnTo>
                    <a:lnTo>
                      <a:pt x="237" y="318"/>
                    </a:lnTo>
                    <a:lnTo>
                      <a:pt x="261" y="313"/>
                    </a:lnTo>
                    <a:lnTo>
                      <a:pt x="284" y="305"/>
                    </a:lnTo>
                    <a:lnTo>
                      <a:pt x="308" y="294"/>
                    </a:lnTo>
                    <a:lnTo>
                      <a:pt x="345" y="274"/>
                    </a:lnTo>
                    <a:lnTo>
                      <a:pt x="393" y="248"/>
                    </a:lnTo>
                    <a:lnTo>
                      <a:pt x="417" y="235"/>
                    </a:lnTo>
                    <a:lnTo>
                      <a:pt x="441" y="225"/>
                    </a:lnTo>
                    <a:lnTo>
                      <a:pt x="452" y="222"/>
                    </a:lnTo>
                    <a:lnTo>
                      <a:pt x="461" y="218"/>
                    </a:lnTo>
                    <a:lnTo>
                      <a:pt x="471" y="217"/>
                    </a:lnTo>
                    <a:lnTo>
                      <a:pt x="478" y="215"/>
                    </a:lnTo>
                    <a:lnTo>
                      <a:pt x="502" y="214"/>
                    </a:lnTo>
                    <a:lnTo>
                      <a:pt x="537" y="211"/>
                    </a:lnTo>
                    <a:lnTo>
                      <a:pt x="556" y="208"/>
                    </a:lnTo>
                    <a:lnTo>
                      <a:pt x="572" y="206"/>
                    </a:lnTo>
                    <a:lnTo>
                      <a:pt x="584" y="203"/>
                    </a:lnTo>
                    <a:lnTo>
                      <a:pt x="592" y="201"/>
                    </a:lnTo>
                    <a:lnTo>
                      <a:pt x="612" y="195"/>
                    </a:lnTo>
                    <a:lnTo>
                      <a:pt x="631" y="188"/>
                    </a:lnTo>
                    <a:lnTo>
                      <a:pt x="650" y="181"/>
                    </a:lnTo>
                    <a:lnTo>
                      <a:pt x="669" y="174"/>
                    </a:lnTo>
                    <a:lnTo>
                      <a:pt x="689" y="165"/>
                    </a:lnTo>
                    <a:lnTo>
                      <a:pt x="707" y="159"/>
                    </a:lnTo>
                    <a:lnTo>
                      <a:pt x="728" y="153"/>
                    </a:lnTo>
                    <a:lnTo>
                      <a:pt x="748" y="148"/>
                    </a:lnTo>
                    <a:lnTo>
                      <a:pt x="871" y="129"/>
                    </a:lnTo>
                    <a:lnTo>
                      <a:pt x="887" y="126"/>
                    </a:lnTo>
                    <a:lnTo>
                      <a:pt x="908" y="120"/>
                    </a:lnTo>
                    <a:lnTo>
                      <a:pt x="918" y="116"/>
                    </a:lnTo>
                    <a:lnTo>
                      <a:pt x="926" y="111"/>
                    </a:lnTo>
                    <a:lnTo>
                      <a:pt x="930" y="109"/>
                    </a:lnTo>
                    <a:lnTo>
                      <a:pt x="933" y="106"/>
                    </a:lnTo>
                    <a:lnTo>
                      <a:pt x="935" y="103"/>
                    </a:lnTo>
                    <a:lnTo>
                      <a:pt x="936" y="99"/>
                    </a:lnTo>
                    <a:lnTo>
                      <a:pt x="941" y="65"/>
                    </a:lnTo>
                    <a:lnTo>
                      <a:pt x="946" y="43"/>
                    </a:lnTo>
                    <a:lnTo>
                      <a:pt x="947" y="40"/>
                    </a:lnTo>
                    <a:lnTo>
                      <a:pt x="951" y="37"/>
                    </a:lnTo>
                    <a:lnTo>
                      <a:pt x="955" y="36"/>
                    </a:lnTo>
                    <a:lnTo>
                      <a:pt x="961" y="33"/>
                    </a:lnTo>
                    <a:lnTo>
                      <a:pt x="974" y="33"/>
                    </a:lnTo>
                    <a:lnTo>
                      <a:pt x="995" y="33"/>
                    </a:lnTo>
                    <a:lnTo>
                      <a:pt x="1013" y="34"/>
                    </a:lnTo>
                    <a:lnTo>
                      <a:pt x="1035" y="36"/>
                    </a:lnTo>
                    <a:lnTo>
                      <a:pt x="1060" y="36"/>
                    </a:lnTo>
                    <a:lnTo>
                      <a:pt x="1086" y="36"/>
                    </a:lnTo>
                    <a:lnTo>
                      <a:pt x="1110" y="33"/>
                    </a:lnTo>
                    <a:lnTo>
                      <a:pt x="1133" y="31"/>
                    </a:lnTo>
                    <a:lnTo>
                      <a:pt x="1144" y="28"/>
                    </a:lnTo>
                    <a:lnTo>
                      <a:pt x="1154" y="27"/>
                    </a:lnTo>
                    <a:lnTo>
                      <a:pt x="1164" y="23"/>
                    </a:lnTo>
                    <a:lnTo>
                      <a:pt x="1171" y="21"/>
                    </a:lnTo>
                    <a:lnTo>
                      <a:pt x="1177" y="21"/>
                    </a:lnTo>
                    <a:lnTo>
                      <a:pt x="1181" y="21"/>
                    </a:lnTo>
                    <a:lnTo>
                      <a:pt x="1184" y="20"/>
                    </a:lnTo>
                    <a:lnTo>
                      <a:pt x="1186" y="18"/>
                    </a:lnTo>
                    <a:lnTo>
                      <a:pt x="1198" y="15"/>
                    </a:lnTo>
                    <a:lnTo>
                      <a:pt x="1213" y="11"/>
                    </a:lnTo>
                    <a:lnTo>
                      <a:pt x="1228" y="6"/>
                    </a:lnTo>
                    <a:lnTo>
                      <a:pt x="1241" y="2"/>
                    </a:lnTo>
                    <a:lnTo>
                      <a:pt x="1251" y="0"/>
                    </a:lnTo>
                    <a:lnTo>
                      <a:pt x="1261" y="0"/>
                    </a:lnTo>
                    <a:lnTo>
                      <a:pt x="1270" y="0"/>
                    </a:lnTo>
                    <a:lnTo>
                      <a:pt x="1281" y="1"/>
                    </a:lnTo>
                    <a:lnTo>
                      <a:pt x="1292" y="4"/>
                    </a:lnTo>
                    <a:lnTo>
                      <a:pt x="1302" y="6"/>
                    </a:lnTo>
                    <a:lnTo>
                      <a:pt x="1312" y="9"/>
                    </a:lnTo>
                    <a:lnTo>
                      <a:pt x="1321" y="12"/>
                    </a:lnTo>
                    <a:lnTo>
                      <a:pt x="1348" y="18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6" name="Freeform 17"/>
              <p:cNvSpPr>
                <a:spLocks/>
              </p:cNvSpPr>
              <p:nvPr/>
            </p:nvSpPr>
            <p:spPr bwMode="auto">
              <a:xfrm>
                <a:off x="2711450" y="5781676"/>
                <a:ext cx="41275" cy="31750"/>
              </a:xfrm>
              <a:custGeom>
                <a:avLst/>
                <a:gdLst>
                  <a:gd name="T0" fmla="*/ 89 w 102"/>
                  <a:gd name="T1" fmla="*/ 41 h 82"/>
                  <a:gd name="T2" fmla="*/ 84 w 102"/>
                  <a:gd name="T3" fmla="*/ 38 h 82"/>
                  <a:gd name="T4" fmla="*/ 80 w 102"/>
                  <a:gd name="T5" fmla="*/ 32 h 82"/>
                  <a:gd name="T6" fmla="*/ 75 w 102"/>
                  <a:gd name="T7" fmla="*/ 24 h 82"/>
                  <a:gd name="T8" fmla="*/ 71 w 102"/>
                  <a:gd name="T9" fmla="*/ 17 h 82"/>
                  <a:gd name="T10" fmla="*/ 67 w 102"/>
                  <a:gd name="T11" fmla="*/ 10 h 82"/>
                  <a:gd name="T12" fmla="*/ 62 w 102"/>
                  <a:gd name="T13" fmla="*/ 5 h 82"/>
                  <a:gd name="T14" fmla="*/ 58 w 102"/>
                  <a:gd name="T15" fmla="*/ 2 h 82"/>
                  <a:gd name="T16" fmla="*/ 56 w 102"/>
                  <a:gd name="T17" fmla="*/ 1 h 82"/>
                  <a:gd name="T18" fmla="*/ 52 w 102"/>
                  <a:gd name="T19" fmla="*/ 0 h 82"/>
                  <a:gd name="T20" fmla="*/ 49 w 102"/>
                  <a:gd name="T21" fmla="*/ 0 h 82"/>
                  <a:gd name="T22" fmla="*/ 42 w 102"/>
                  <a:gd name="T23" fmla="*/ 2 h 82"/>
                  <a:gd name="T24" fmla="*/ 36 w 102"/>
                  <a:gd name="T25" fmla="*/ 6 h 82"/>
                  <a:gd name="T26" fmla="*/ 27 w 102"/>
                  <a:gd name="T27" fmla="*/ 8 h 82"/>
                  <a:gd name="T28" fmla="*/ 12 w 102"/>
                  <a:gd name="T29" fmla="*/ 13 h 82"/>
                  <a:gd name="T30" fmla="*/ 4 w 102"/>
                  <a:gd name="T31" fmla="*/ 17 h 82"/>
                  <a:gd name="T32" fmla="*/ 1 w 102"/>
                  <a:gd name="T33" fmla="*/ 19 h 82"/>
                  <a:gd name="T34" fmla="*/ 0 w 102"/>
                  <a:gd name="T35" fmla="*/ 21 h 82"/>
                  <a:gd name="T36" fmla="*/ 0 w 102"/>
                  <a:gd name="T37" fmla="*/ 23 h 82"/>
                  <a:gd name="T38" fmla="*/ 1 w 102"/>
                  <a:gd name="T39" fmla="*/ 24 h 82"/>
                  <a:gd name="T40" fmla="*/ 3 w 102"/>
                  <a:gd name="T41" fmla="*/ 25 h 82"/>
                  <a:gd name="T42" fmla="*/ 13 w 102"/>
                  <a:gd name="T43" fmla="*/ 30 h 82"/>
                  <a:gd name="T44" fmla="*/ 23 w 102"/>
                  <a:gd name="T45" fmla="*/ 35 h 82"/>
                  <a:gd name="T46" fmla="*/ 29 w 102"/>
                  <a:gd name="T47" fmla="*/ 40 h 82"/>
                  <a:gd name="T48" fmla="*/ 36 w 102"/>
                  <a:gd name="T49" fmla="*/ 43 h 82"/>
                  <a:gd name="T50" fmla="*/ 42 w 102"/>
                  <a:gd name="T51" fmla="*/ 45 h 82"/>
                  <a:gd name="T52" fmla="*/ 50 w 102"/>
                  <a:gd name="T53" fmla="*/ 47 h 82"/>
                  <a:gd name="T54" fmla="*/ 56 w 102"/>
                  <a:gd name="T55" fmla="*/ 50 h 82"/>
                  <a:gd name="T56" fmla="*/ 63 w 102"/>
                  <a:gd name="T57" fmla="*/ 54 h 82"/>
                  <a:gd name="T58" fmla="*/ 68 w 102"/>
                  <a:gd name="T59" fmla="*/ 57 h 82"/>
                  <a:gd name="T60" fmla="*/ 74 w 102"/>
                  <a:gd name="T61" fmla="*/ 63 h 82"/>
                  <a:gd name="T62" fmla="*/ 80 w 102"/>
                  <a:gd name="T63" fmla="*/ 73 h 82"/>
                  <a:gd name="T64" fmla="*/ 88 w 102"/>
                  <a:gd name="T65" fmla="*/ 81 h 82"/>
                  <a:gd name="T66" fmla="*/ 91 w 102"/>
                  <a:gd name="T67" fmla="*/ 82 h 82"/>
                  <a:gd name="T68" fmla="*/ 95 w 102"/>
                  <a:gd name="T69" fmla="*/ 82 h 82"/>
                  <a:gd name="T70" fmla="*/ 98 w 102"/>
                  <a:gd name="T71" fmla="*/ 81 h 82"/>
                  <a:gd name="T72" fmla="*/ 100 w 102"/>
                  <a:gd name="T73" fmla="*/ 77 h 82"/>
                  <a:gd name="T74" fmla="*/ 101 w 102"/>
                  <a:gd name="T75" fmla="*/ 69 h 82"/>
                  <a:gd name="T76" fmla="*/ 102 w 102"/>
                  <a:gd name="T77" fmla="*/ 62 h 82"/>
                  <a:gd name="T78" fmla="*/ 89 w 102"/>
                  <a:gd name="T79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2" h="82">
                    <a:moveTo>
                      <a:pt x="89" y="41"/>
                    </a:moveTo>
                    <a:lnTo>
                      <a:pt x="84" y="38"/>
                    </a:lnTo>
                    <a:lnTo>
                      <a:pt x="80" y="32"/>
                    </a:lnTo>
                    <a:lnTo>
                      <a:pt x="75" y="24"/>
                    </a:lnTo>
                    <a:lnTo>
                      <a:pt x="71" y="17"/>
                    </a:lnTo>
                    <a:lnTo>
                      <a:pt x="67" y="10"/>
                    </a:lnTo>
                    <a:lnTo>
                      <a:pt x="62" y="5"/>
                    </a:lnTo>
                    <a:lnTo>
                      <a:pt x="58" y="2"/>
                    </a:lnTo>
                    <a:lnTo>
                      <a:pt x="56" y="1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2" y="2"/>
                    </a:lnTo>
                    <a:lnTo>
                      <a:pt x="36" y="6"/>
                    </a:lnTo>
                    <a:lnTo>
                      <a:pt x="27" y="8"/>
                    </a:lnTo>
                    <a:lnTo>
                      <a:pt x="12" y="13"/>
                    </a:lnTo>
                    <a:lnTo>
                      <a:pt x="4" y="17"/>
                    </a:lnTo>
                    <a:lnTo>
                      <a:pt x="1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1" y="24"/>
                    </a:lnTo>
                    <a:lnTo>
                      <a:pt x="3" y="25"/>
                    </a:lnTo>
                    <a:lnTo>
                      <a:pt x="13" y="30"/>
                    </a:lnTo>
                    <a:lnTo>
                      <a:pt x="23" y="35"/>
                    </a:lnTo>
                    <a:lnTo>
                      <a:pt x="29" y="40"/>
                    </a:lnTo>
                    <a:lnTo>
                      <a:pt x="36" y="43"/>
                    </a:lnTo>
                    <a:lnTo>
                      <a:pt x="42" y="45"/>
                    </a:lnTo>
                    <a:lnTo>
                      <a:pt x="50" y="47"/>
                    </a:lnTo>
                    <a:lnTo>
                      <a:pt x="56" y="50"/>
                    </a:lnTo>
                    <a:lnTo>
                      <a:pt x="63" y="54"/>
                    </a:lnTo>
                    <a:lnTo>
                      <a:pt x="68" y="57"/>
                    </a:lnTo>
                    <a:lnTo>
                      <a:pt x="74" y="63"/>
                    </a:lnTo>
                    <a:lnTo>
                      <a:pt x="80" y="73"/>
                    </a:lnTo>
                    <a:lnTo>
                      <a:pt x="88" y="81"/>
                    </a:lnTo>
                    <a:lnTo>
                      <a:pt x="91" y="82"/>
                    </a:lnTo>
                    <a:lnTo>
                      <a:pt x="95" y="82"/>
                    </a:lnTo>
                    <a:lnTo>
                      <a:pt x="98" y="81"/>
                    </a:lnTo>
                    <a:lnTo>
                      <a:pt x="100" y="77"/>
                    </a:lnTo>
                    <a:lnTo>
                      <a:pt x="101" y="69"/>
                    </a:lnTo>
                    <a:lnTo>
                      <a:pt x="102" y="62"/>
                    </a:lnTo>
                    <a:lnTo>
                      <a:pt x="89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7" name="Freeform 18"/>
              <p:cNvSpPr>
                <a:spLocks/>
              </p:cNvSpPr>
              <p:nvPr/>
            </p:nvSpPr>
            <p:spPr bwMode="auto">
              <a:xfrm>
                <a:off x="2230438" y="5875338"/>
                <a:ext cx="12700" cy="22225"/>
              </a:xfrm>
              <a:custGeom>
                <a:avLst/>
                <a:gdLst>
                  <a:gd name="T0" fmla="*/ 11 w 30"/>
                  <a:gd name="T1" fmla="*/ 53 h 56"/>
                  <a:gd name="T2" fmla="*/ 7 w 30"/>
                  <a:gd name="T3" fmla="*/ 50 h 56"/>
                  <a:gd name="T4" fmla="*/ 5 w 30"/>
                  <a:gd name="T5" fmla="*/ 46 h 56"/>
                  <a:gd name="T6" fmla="*/ 3 w 30"/>
                  <a:gd name="T7" fmla="*/ 44 h 56"/>
                  <a:gd name="T8" fmla="*/ 2 w 30"/>
                  <a:gd name="T9" fmla="*/ 40 h 56"/>
                  <a:gd name="T10" fmla="*/ 1 w 30"/>
                  <a:gd name="T11" fmla="*/ 33 h 56"/>
                  <a:gd name="T12" fmla="*/ 0 w 30"/>
                  <a:gd name="T13" fmla="*/ 26 h 56"/>
                  <a:gd name="T14" fmla="*/ 0 w 30"/>
                  <a:gd name="T15" fmla="*/ 18 h 56"/>
                  <a:gd name="T16" fmla="*/ 0 w 30"/>
                  <a:gd name="T17" fmla="*/ 12 h 56"/>
                  <a:gd name="T18" fmla="*/ 2 w 30"/>
                  <a:gd name="T19" fmla="*/ 7 h 56"/>
                  <a:gd name="T20" fmla="*/ 6 w 30"/>
                  <a:gd name="T21" fmla="*/ 2 h 56"/>
                  <a:gd name="T22" fmla="*/ 9 w 30"/>
                  <a:gd name="T23" fmla="*/ 0 h 56"/>
                  <a:gd name="T24" fmla="*/ 13 w 30"/>
                  <a:gd name="T25" fmla="*/ 0 h 56"/>
                  <a:gd name="T26" fmla="*/ 16 w 30"/>
                  <a:gd name="T27" fmla="*/ 2 h 56"/>
                  <a:gd name="T28" fmla="*/ 19 w 30"/>
                  <a:gd name="T29" fmla="*/ 5 h 56"/>
                  <a:gd name="T30" fmla="*/ 23 w 30"/>
                  <a:gd name="T31" fmla="*/ 11 h 56"/>
                  <a:gd name="T32" fmla="*/ 24 w 30"/>
                  <a:gd name="T33" fmla="*/ 17 h 56"/>
                  <a:gd name="T34" fmla="*/ 24 w 30"/>
                  <a:gd name="T35" fmla="*/ 23 h 56"/>
                  <a:gd name="T36" fmla="*/ 25 w 30"/>
                  <a:gd name="T37" fmla="*/ 28 h 56"/>
                  <a:gd name="T38" fmla="*/ 28 w 30"/>
                  <a:gd name="T39" fmla="*/ 35 h 56"/>
                  <a:gd name="T40" fmla="*/ 30 w 30"/>
                  <a:gd name="T41" fmla="*/ 43 h 56"/>
                  <a:gd name="T42" fmla="*/ 30 w 30"/>
                  <a:gd name="T43" fmla="*/ 46 h 56"/>
                  <a:gd name="T44" fmla="*/ 30 w 30"/>
                  <a:gd name="T45" fmla="*/ 50 h 56"/>
                  <a:gd name="T46" fmla="*/ 28 w 30"/>
                  <a:gd name="T47" fmla="*/ 54 h 56"/>
                  <a:gd name="T48" fmla="*/ 24 w 30"/>
                  <a:gd name="T49" fmla="*/ 56 h 56"/>
                  <a:gd name="T50" fmla="*/ 11 w 30"/>
                  <a:gd name="T51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56">
                    <a:moveTo>
                      <a:pt x="11" y="53"/>
                    </a:moveTo>
                    <a:lnTo>
                      <a:pt x="7" y="50"/>
                    </a:lnTo>
                    <a:lnTo>
                      <a:pt x="5" y="46"/>
                    </a:lnTo>
                    <a:lnTo>
                      <a:pt x="3" y="44"/>
                    </a:lnTo>
                    <a:lnTo>
                      <a:pt x="2" y="40"/>
                    </a:lnTo>
                    <a:lnTo>
                      <a:pt x="1" y="33"/>
                    </a:lnTo>
                    <a:lnTo>
                      <a:pt x="0" y="26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2" y="7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6" y="2"/>
                    </a:lnTo>
                    <a:lnTo>
                      <a:pt x="19" y="5"/>
                    </a:lnTo>
                    <a:lnTo>
                      <a:pt x="23" y="11"/>
                    </a:lnTo>
                    <a:lnTo>
                      <a:pt x="24" y="17"/>
                    </a:lnTo>
                    <a:lnTo>
                      <a:pt x="24" y="23"/>
                    </a:lnTo>
                    <a:lnTo>
                      <a:pt x="25" y="28"/>
                    </a:lnTo>
                    <a:lnTo>
                      <a:pt x="28" y="35"/>
                    </a:lnTo>
                    <a:lnTo>
                      <a:pt x="30" y="43"/>
                    </a:lnTo>
                    <a:lnTo>
                      <a:pt x="30" y="46"/>
                    </a:lnTo>
                    <a:lnTo>
                      <a:pt x="30" y="50"/>
                    </a:lnTo>
                    <a:lnTo>
                      <a:pt x="28" y="54"/>
                    </a:lnTo>
                    <a:lnTo>
                      <a:pt x="24" y="56"/>
                    </a:lnTo>
                    <a:lnTo>
                      <a:pt x="1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94" name="Group 393"/>
            <p:cNvGrpSpPr>
              <a:grpSpLocks noChangeAspect="1"/>
            </p:cNvGrpSpPr>
            <p:nvPr/>
          </p:nvGrpSpPr>
          <p:grpSpPr>
            <a:xfrm>
              <a:off x="6288538" y="5269836"/>
              <a:ext cx="282921" cy="178871"/>
              <a:chOff x="-1211263" y="4277810"/>
              <a:chExt cx="6764338" cy="4276620"/>
            </a:xfrm>
            <a:solidFill>
              <a:srgbClr val="D1E8F7"/>
            </a:solidFill>
          </p:grpSpPr>
          <p:sp>
            <p:nvSpPr>
              <p:cNvPr id="484" name="Freeform 7"/>
              <p:cNvSpPr>
                <a:spLocks/>
              </p:cNvSpPr>
              <p:nvPr/>
            </p:nvSpPr>
            <p:spPr bwMode="auto">
              <a:xfrm>
                <a:off x="-447676" y="7522555"/>
                <a:ext cx="1728788" cy="981075"/>
              </a:xfrm>
              <a:custGeom>
                <a:avLst/>
                <a:gdLst>
                  <a:gd name="T0" fmla="*/ 2449 w 4355"/>
                  <a:gd name="T1" fmla="*/ 2096 h 2472"/>
                  <a:gd name="T2" fmla="*/ 2608 w 4355"/>
                  <a:gd name="T3" fmla="*/ 2045 h 2472"/>
                  <a:gd name="T4" fmla="*/ 2677 w 4355"/>
                  <a:gd name="T5" fmla="*/ 2063 h 2472"/>
                  <a:gd name="T6" fmla="*/ 2729 w 4355"/>
                  <a:gd name="T7" fmla="*/ 2128 h 2472"/>
                  <a:gd name="T8" fmla="*/ 2883 w 4355"/>
                  <a:gd name="T9" fmla="*/ 2137 h 2472"/>
                  <a:gd name="T10" fmla="*/ 2970 w 4355"/>
                  <a:gd name="T11" fmla="*/ 2270 h 2472"/>
                  <a:gd name="T12" fmla="*/ 3072 w 4355"/>
                  <a:gd name="T13" fmla="*/ 2428 h 2472"/>
                  <a:gd name="T14" fmla="*/ 3061 w 4355"/>
                  <a:gd name="T15" fmla="*/ 2036 h 2472"/>
                  <a:gd name="T16" fmla="*/ 3085 w 4355"/>
                  <a:gd name="T17" fmla="*/ 1835 h 2472"/>
                  <a:gd name="T18" fmla="*/ 3123 w 4355"/>
                  <a:gd name="T19" fmla="*/ 1613 h 2472"/>
                  <a:gd name="T20" fmla="*/ 2985 w 4355"/>
                  <a:gd name="T21" fmla="*/ 1417 h 2472"/>
                  <a:gd name="T22" fmla="*/ 2739 w 4355"/>
                  <a:gd name="T23" fmla="*/ 1177 h 2472"/>
                  <a:gd name="T24" fmla="*/ 2697 w 4355"/>
                  <a:gd name="T25" fmla="*/ 866 h 2472"/>
                  <a:gd name="T26" fmla="*/ 2892 w 4355"/>
                  <a:gd name="T27" fmla="*/ 1063 h 2472"/>
                  <a:gd name="T28" fmla="*/ 3041 w 4355"/>
                  <a:gd name="T29" fmla="*/ 945 h 2472"/>
                  <a:gd name="T30" fmla="*/ 2990 w 4355"/>
                  <a:gd name="T31" fmla="*/ 659 h 2472"/>
                  <a:gd name="T32" fmla="*/ 3149 w 4355"/>
                  <a:gd name="T33" fmla="*/ 691 h 2472"/>
                  <a:gd name="T34" fmla="*/ 3402 w 4355"/>
                  <a:gd name="T35" fmla="*/ 579 h 2472"/>
                  <a:gd name="T36" fmla="*/ 3399 w 4355"/>
                  <a:gd name="T37" fmla="*/ 759 h 2472"/>
                  <a:gd name="T38" fmla="*/ 3462 w 4355"/>
                  <a:gd name="T39" fmla="*/ 787 h 2472"/>
                  <a:gd name="T40" fmla="*/ 3393 w 4355"/>
                  <a:gd name="T41" fmla="*/ 1016 h 2472"/>
                  <a:gd name="T42" fmla="*/ 3543 w 4355"/>
                  <a:gd name="T43" fmla="*/ 918 h 2472"/>
                  <a:gd name="T44" fmla="*/ 3762 w 4355"/>
                  <a:gd name="T45" fmla="*/ 894 h 2472"/>
                  <a:gd name="T46" fmla="*/ 3931 w 4355"/>
                  <a:gd name="T47" fmla="*/ 1062 h 2472"/>
                  <a:gd name="T48" fmla="*/ 3843 w 4355"/>
                  <a:gd name="T49" fmla="*/ 1362 h 2472"/>
                  <a:gd name="T50" fmla="*/ 3996 w 4355"/>
                  <a:gd name="T51" fmla="*/ 1422 h 2472"/>
                  <a:gd name="T52" fmla="*/ 4186 w 4355"/>
                  <a:gd name="T53" fmla="*/ 1231 h 2472"/>
                  <a:gd name="T54" fmla="*/ 4305 w 4355"/>
                  <a:gd name="T55" fmla="*/ 1248 h 2472"/>
                  <a:gd name="T56" fmla="*/ 4344 w 4355"/>
                  <a:gd name="T57" fmla="*/ 991 h 2472"/>
                  <a:gd name="T58" fmla="*/ 4095 w 4355"/>
                  <a:gd name="T59" fmla="*/ 867 h 2472"/>
                  <a:gd name="T60" fmla="*/ 3823 w 4355"/>
                  <a:gd name="T61" fmla="*/ 857 h 2472"/>
                  <a:gd name="T62" fmla="*/ 3557 w 4355"/>
                  <a:gd name="T63" fmla="*/ 639 h 2472"/>
                  <a:gd name="T64" fmla="*/ 3158 w 4355"/>
                  <a:gd name="T65" fmla="*/ 372 h 2472"/>
                  <a:gd name="T66" fmla="*/ 2913 w 4355"/>
                  <a:gd name="T67" fmla="*/ 354 h 2472"/>
                  <a:gd name="T68" fmla="*/ 2613 w 4355"/>
                  <a:gd name="T69" fmla="*/ 233 h 2472"/>
                  <a:gd name="T70" fmla="*/ 2467 w 4355"/>
                  <a:gd name="T71" fmla="*/ 347 h 2472"/>
                  <a:gd name="T72" fmla="*/ 2215 w 4355"/>
                  <a:gd name="T73" fmla="*/ 301 h 2472"/>
                  <a:gd name="T74" fmla="*/ 1896 w 4355"/>
                  <a:gd name="T75" fmla="*/ 239 h 2472"/>
                  <a:gd name="T76" fmla="*/ 1679 w 4355"/>
                  <a:gd name="T77" fmla="*/ 23 h 2472"/>
                  <a:gd name="T78" fmla="*/ 1727 w 4355"/>
                  <a:gd name="T79" fmla="*/ 248 h 2472"/>
                  <a:gd name="T80" fmla="*/ 1601 w 4355"/>
                  <a:gd name="T81" fmla="*/ 566 h 2472"/>
                  <a:gd name="T82" fmla="*/ 1154 w 4355"/>
                  <a:gd name="T83" fmla="*/ 647 h 2472"/>
                  <a:gd name="T84" fmla="*/ 865 w 4355"/>
                  <a:gd name="T85" fmla="*/ 738 h 2472"/>
                  <a:gd name="T86" fmla="*/ 700 w 4355"/>
                  <a:gd name="T87" fmla="*/ 827 h 2472"/>
                  <a:gd name="T88" fmla="*/ 445 w 4355"/>
                  <a:gd name="T89" fmla="*/ 779 h 2472"/>
                  <a:gd name="T90" fmla="*/ 372 w 4355"/>
                  <a:gd name="T91" fmla="*/ 767 h 2472"/>
                  <a:gd name="T92" fmla="*/ 377 w 4355"/>
                  <a:gd name="T93" fmla="*/ 1041 h 2472"/>
                  <a:gd name="T94" fmla="*/ 21 w 4355"/>
                  <a:gd name="T95" fmla="*/ 1238 h 2472"/>
                  <a:gd name="T96" fmla="*/ 134 w 4355"/>
                  <a:gd name="T97" fmla="*/ 1371 h 2472"/>
                  <a:gd name="T98" fmla="*/ 1 w 4355"/>
                  <a:gd name="T99" fmla="*/ 1539 h 2472"/>
                  <a:gd name="T100" fmla="*/ 132 w 4355"/>
                  <a:gd name="T101" fmla="*/ 1664 h 2472"/>
                  <a:gd name="T102" fmla="*/ 341 w 4355"/>
                  <a:gd name="T103" fmla="*/ 1691 h 2472"/>
                  <a:gd name="T104" fmla="*/ 274 w 4355"/>
                  <a:gd name="T105" fmla="*/ 1942 h 2472"/>
                  <a:gd name="T106" fmla="*/ 472 w 4355"/>
                  <a:gd name="T107" fmla="*/ 1911 h 2472"/>
                  <a:gd name="T108" fmla="*/ 593 w 4355"/>
                  <a:gd name="T109" fmla="*/ 2058 h 2472"/>
                  <a:gd name="T110" fmla="*/ 732 w 4355"/>
                  <a:gd name="T111" fmla="*/ 1875 h 2472"/>
                  <a:gd name="T112" fmla="*/ 1007 w 4355"/>
                  <a:gd name="T113" fmla="*/ 1849 h 2472"/>
                  <a:gd name="T114" fmla="*/ 1049 w 4355"/>
                  <a:gd name="T115" fmla="*/ 2051 h 2472"/>
                  <a:gd name="T116" fmla="*/ 1156 w 4355"/>
                  <a:gd name="T117" fmla="*/ 1702 h 2472"/>
                  <a:gd name="T118" fmla="*/ 1432 w 4355"/>
                  <a:gd name="T119" fmla="*/ 1807 h 2472"/>
                  <a:gd name="T120" fmla="*/ 1842 w 4355"/>
                  <a:gd name="T121" fmla="*/ 1807 h 2472"/>
                  <a:gd name="T122" fmla="*/ 2207 w 4355"/>
                  <a:gd name="T123" fmla="*/ 1853 h 2472"/>
                  <a:gd name="T124" fmla="*/ 2327 w 4355"/>
                  <a:gd name="T125" fmla="*/ 1891 h 2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55" h="2472">
                    <a:moveTo>
                      <a:pt x="2455" y="1849"/>
                    </a:moveTo>
                    <a:lnTo>
                      <a:pt x="2461" y="1859"/>
                    </a:lnTo>
                    <a:lnTo>
                      <a:pt x="2465" y="1871"/>
                    </a:lnTo>
                    <a:lnTo>
                      <a:pt x="2469" y="1884"/>
                    </a:lnTo>
                    <a:lnTo>
                      <a:pt x="2472" y="1898"/>
                    </a:lnTo>
                    <a:lnTo>
                      <a:pt x="2473" y="1913"/>
                    </a:lnTo>
                    <a:lnTo>
                      <a:pt x="2475" y="1926"/>
                    </a:lnTo>
                    <a:lnTo>
                      <a:pt x="2475" y="1940"/>
                    </a:lnTo>
                    <a:lnTo>
                      <a:pt x="2472" y="1951"/>
                    </a:lnTo>
                    <a:lnTo>
                      <a:pt x="2467" y="1962"/>
                    </a:lnTo>
                    <a:lnTo>
                      <a:pt x="2460" y="1973"/>
                    </a:lnTo>
                    <a:lnTo>
                      <a:pt x="2451" y="1984"/>
                    </a:lnTo>
                    <a:lnTo>
                      <a:pt x="2442" y="1995"/>
                    </a:lnTo>
                    <a:lnTo>
                      <a:pt x="2433" y="2006"/>
                    </a:lnTo>
                    <a:lnTo>
                      <a:pt x="2427" y="2017"/>
                    </a:lnTo>
                    <a:lnTo>
                      <a:pt x="2424" y="2022"/>
                    </a:lnTo>
                    <a:lnTo>
                      <a:pt x="2422" y="2028"/>
                    </a:lnTo>
                    <a:lnTo>
                      <a:pt x="2421" y="2034"/>
                    </a:lnTo>
                    <a:lnTo>
                      <a:pt x="2422" y="2039"/>
                    </a:lnTo>
                    <a:lnTo>
                      <a:pt x="2429" y="2045"/>
                    </a:lnTo>
                    <a:lnTo>
                      <a:pt x="2437" y="2051"/>
                    </a:lnTo>
                    <a:lnTo>
                      <a:pt x="2442" y="2057"/>
                    </a:lnTo>
                    <a:lnTo>
                      <a:pt x="2446" y="2063"/>
                    </a:lnTo>
                    <a:lnTo>
                      <a:pt x="2449" y="2071"/>
                    </a:lnTo>
                    <a:lnTo>
                      <a:pt x="2451" y="2078"/>
                    </a:lnTo>
                    <a:lnTo>
                      <a:pt x="2450" y="2086"/>
                    </a:lnTo>
                    <a:lnTo>
                      <a:pt x="2449" y="2096"/>
                    </a:lnTo>
                    <a:lnTo>
                      <a:pt x="2443" y="2115"/>
                    </a:lnTo>
                    <a:lnTo>
                      <a:pt x="2437" y="2137"/>
                    </a:lnTo>
                    <a:lnTo>
                      <a:pt x="2435" y="2148"/>
                    </a:lnTo>
                    <a:lnTo>
                      <a:pt x="2437" y="2157"/>
                    </a:lnTo>
                    <a:lnTo>
                      <a:pt x="2439" y="2161"/>
                    </a:lnTo>
                    <a:lnTo>
                      <a:pt x="2442" y="2165"/>
                    </a:lnTo>
                    <a:lnTo>
                      <a:pt x="2445" y="2168"/>
                    </a:lnTo>
                    <a:lnTo>
                      <a:pt x="2449" y="2171"/>
                    </a:lnTo>
                    <a:lnTo>
                      <a:pt x="2459" y="2175"/>
                    </a:lnTo>
                    <a:lnTo>
                      <a:pt x="2469" y="2176"/>
                    </a:lnTo>
                    <a:lnTo>
                      <a:pt x="2477" y="2176"/>
                    </a:lnTo>
                    <a:lnTo>
                      <a:pt x="2484" y="2175"/>
                    </a:lnTo>
                    <a:lnTo>
                      <a:pt x="2492" y="2171"/>
                    </a:lnTo>
                    <a:lnTo>
                      <a:pt x="2498" y="2166"/>
                    </a:lnTo>
                    <a:lnTo>
                      <a:pt x="2503" y="2161"/>
                    </a:lnTo>
                    <a:lnTo>
                      <a:pt x="2509" y="2155"/>
                    </a:lnTo>
                    <a:lnTo>
                      <a:pt x="2517" y="2140"/>
                    </a:lnTo>
                    <a:lnTo>
                      <a:pt x="2526" y="2124"/>
                    </a:lnTo>
                    <a:lnTo>
                      <a:pt x="2533" y="2108"/>
                    </a:lnTo>
                    <a:lnTo>
                      <a:pt x="2540" y="2094"/>
                    </a:lnTo>
                    <a:lnTo>
                      <a:pt x="2547" y="2079"/>
                    </a:lnTo>
                    <a:lnTo>
                      <a:pt x="2552" y="2071"/>
                    </a:lnTo>
                    <a:lnTo>
                      <a:pt x="2558" y="2063"/>
                    </a:lnTo>
                    <a:lnTo>
                      <a:pt x="2563" y="2059"/>
                    </a:lnTo>
                    <a:lnTo>
                      <a:pt x="2577" y="2055"/>
                    </a:lnTo>
                    <a:lnTo>
                      <a:pt x="2601" y="2048"/>
                    </a:lnTo>
                    <a:lnTo>
                      <a:pt x="2608" y="2045"/>
                    </a:lnTo>
                    <a:lnTo>
                      <a:pt x="2615" y="2039"/>
                    </a:lnTo>
                    <a:lnTo>
                      <a:pt x="2622" y="2033"/>
                    </a:lnTo>
                    <a:lnTo>
                      <a:pt x="2626" y="2025"/>
                    </a:lnTo>
                    <a:lnTo>
                      <a:pt x="2635" y="2009"/>
                    </a:lnTo>
                    <a:lnTo>
                      <a:pt x="2642" y="1992"/>
                    </a:lnTo>
                    <a:lnTo>
                      <a:pt x="2646" y="1984"/>
                    </a:lnTo>
                    <a:lnTo>
                      <a:pt x="2651" y="1976"/>
                    </a:lnTo>
                    <a:lnTo>
                      <a:pt x="2655" y="1969"/>
                    </a:lnTo>
                    <a:lnTo>
                      <a:pt x="2659" y="1963"/>
                    </a:lnTo>
                    <a:lnTo>
                      <a:pt x="2664" y="1958"/>
                    </a:lnTo>
                    <a:lnTo>
                      <a:pt x="2672" y="1954"/>
                    </a:lnTo>
                    <a:lnTo>
                      <a:pt x="2679" y="1953"/>
                    </a:lnTo>
                    <a:lnTo>
                      <a:pt x="2688" y="1953"/>
                    </a:lnTo>
                    <a:lnTo>
                      <a:pt x="2694" y="1965"/>
                    </a:lnTo>
                    <a:lnTo>
                      <a:pt x="2697" y="1975"/>
                    </a:lnTo>
                    <a:lnTo>
                      <a:pt x="2699" y="1985"/>
                    </a:lnTo>
                    <a:lnTo>
                      <a:pt x="2697" y="1993"/>
                    </a:lnTo>
                    <a:lnTo>
                      <a:pt x="2695" y="2002"/>
                    </a:lnTo>
                    <a:lnTo>
                      <a:pt x="2690" y="2012"/>
                    </a:lnTo>
                    <a:lnTo>
                      <a:pt x="2684" y="2020"/>
                    </a:lnTo>
                    <a:lnTo>
                      <a:pt x="2677" y="2031"/>
                    </a:lnTo>
                    <a:lnTo>
                      <a:pt x="2674" y="2036"/>
                    </a:lnTo>
                    <a:lnTo>
                      <a:pt x="2672" y="2040"/>
                    </a:lnTo>
                    <a:lnTo>
                      <a:pt x="2670" y="2045"/>
                    </a:lnTo>
                    <a:lnTo>
                      <a:pt x="2670" y="2048"/>
                    </a:lnTo>
                    <a:lnTo>
                      <a:pt x="2673" y="2057"/>
                    </a:lnTo>
                    <a:lnTo>
                      <a:pt x="2677" y="2063"/>
                    </a:lnTo>
                    <a:lnTo>
                      <a:pt x="2680" y="2071"/>
                    </a:lnTo>
                    <a:lnTo>
                      <a:pt x="2684" y="2078"/>
                    </a:lnTo>
                    <a:lnTo>
                      <a:pt x="2685" y="2082"/>
                    </a:lnTo>
                    <a:lnTo>
                      <a:pt x="2685" y="2085"/>
                    </a:lnTo>
                    <a:lnTo>
                      <a:pt x="2685" y="2089"/>
                    </a:lnTo>
                    <a:lnTo>
                      <a:pt x="2684" y="2094"/>
                    </a:lnTo>
                    <a:lnTo>
                      <a:pt x="2680" y="2100"/>
                    </a:lnTo>
                    <a:lnTo>
                      <a:pt x="2674" y="2105"/>
                    </a:lnTo>
                    <a:lnTo>
                      <a:pt x="2667" y="2108"/>
                    </a:lnTo>
                    <a:lnTo>
                      <a:pt x="2658" y="2112"/>
                    </a:lnTo>
                    <a:lnTo>
                      <a:pt x="2642" y="2117"/>
                    </a:lnTo>
                    <a:lnTo>
                      <a:pt x="2635" y="2122"/>
                    </a:lnTo>
                    <a:lnTo>
                      <a:pt x="2642" y="2129"/>
                    </a:lnTo>
                    <a:lnTo>
                      <a:pt x="2650" y="2135"/>
                    </a:lnTo>
                    <a:lnTo>
                      <a:pt x="2658" y="2142"/>
                    </a:lnTo>
                    <a:lnTo>
                      <a:pt x="2667" y="2146"/>
                    </a:lnTo>
                    <a:lnTo>
                      <a:pt x="2670" y="2148"/>
                    </a:lnTo>
                    <a:lnTo>
                      <a:pt x="2675" y="2148"/>
                    </a:lnTo>
                    <a:lnTo>
                      <a:pt x="2679" y="2148"/>
                    </a:lnTo>
                    <a:lnTo>
                      <a:pt x="2684" y="2148"/>
                    </a:lnTo>
                    <a:lnTo>
                      <a:pt x="2688" y="2145"/>
                    </a:lnTo>
                    <a:lnTo>
                      <a:pt x="2691" y="2143"/>
                    </a:lnTo>
                    <a:lnTo>
                      <a:pt x="2695" y="2139"/>
                    </a:lnTo>
                    <a:lnTo>
                      <a:pt x="2700" y="2134"/>
                    </a:lnTo>
                    <a:lnTo>
                      <a:pt x="2713" y="2129"/>
                    </a:lnTo>
                    <a:lnTo>
                      <a:pt x="2724" y="2128"/>
                    </a:lnTo>
                    <a:lnTo>
                      <a:pt x="2729" y="2128"/>
                    </a:lnTo>
                    <a:lnTo>
                      <a:pt x="2733" y="2128"/>
                    </a:lnTo>
                    <a:lnTo>
                      <a:pt x="2735" y="2129"/>
                    </a:lnTo>
                    <a:lnTo>
                      <a:pt x="2738" y="2131"/>
                    </a:lnTo>
                    <a:lnTo>
                      <a:pt x="2741" y="2135"/>
                    </a:lnTo>
                    <a:lnTo>
                      <a:pt x="2743" y="2142"/>
                    </a:lnTo>
                    <a:lnTo>
                      <a:pt x="2743" y="2149"/>
                    </a:lnTo>
                    <a:lnTo>
                      <a:pt x="2741" y="2157"/>
                    </a:lnTo>
                    <a:lnTo>
                      <a:pt x="2739" y="2176"/>
                    </a:lnTo>
                    <a:lnTo>
                      <a:pt x="2737" y="2194"/>
                    </a:lnTo>
                    <a:lnTo>
                      <a:pt x="2737" y="2203"/>
                    </a:lnTo>
                    <a:lnTo>
                      <a:pt x="2738" y="2211"/>
                    </a:lnTo>
                    <a:lnTo>
                      <a:pt x="2739" y="2215"/>
                    </a:lnTo>
                    <a:lnTo>
                      <a:pt x="2741" y="2219"/>
                    </a:lnTo>
                    <a:lnTo>
                      <a:pt x="2744" y="2221"/>
                    </a:lnTo>
                    <a:lnTo>
                      <a:pt x="2746" y="2224"/>
                    </a:lnTo>
                    <a:lnTo>
                      <a:pt x="2754" y="2227"/>
                    </a:lnTo>
                    <a:lnTo>
                      <a:pt x="2761" y="2228"/>
                    </a:lnTo>
                    <a:lnTo>
                      <a:pt x="2770" y="2227"/>
                    </a:lnTo>
                    <a:lnTo>
                      <a:pt x="2778" y="2225"/>
                    </a:lnTo>
                    <a:lnTo>
                      <a:pt x="2787" y="2220"/>
                    </a:lnTo>
                    <a:lnTo>
                      <a:pt x="2797" y="2214"/>
                    </a:lnTo>
                    <a:lnTo>
                      <a:pt x="2805" y="2208"/>
                    </a:lnTo>
                    <a:lnTo>
                      <a:pt x="2815" y="2200"/>
                    </a:lnTo>
                    <a:lnTo>
                      <a:pt x="2848" y="2167"/>
                    </a:lnTo>
                    <a:lnTo>
                      <a:pt x="2874" y="2143"/>
                    </a:lnTo>
                    <a:lnTo>
                      <a:pt x="2879" y="2139"/>
                    </a:lnTo>
                    <a:lnTo>
                      <a:pt x="2883" y="2137"/>
                    </a:lnTo>
                    <a:lnTo>
                      <a:pt x="2888" y="2135"/>
                    </a:lnTo>
                    <a:lnTo>
                      <a:pt x="2892" y="2135"/>
                    </a:lnTo>
                    <a:lnTo>
                      <a:pt x="2896" y="2135"/>
                    </a:lnTo>
                    <a:lnTo>
                      <a:pt x="2899" y="2138"/>
                    </a:lnTo>
                    <a:lnTo>
                      <a:pt x="2903" y="2139"/>
                    </a:lnTo>
                    <a:lnTo>
                      <a:pt x="2905" y="2142"/>
                    </a:lnTo>
                    <a:lnTo>
                      <a:pt x="2913" y="2148"/>
                    </a:lnTo>
                    <a:lnTo>
                      <a:pt x="2919" y="2154"/>
                    </a:lnTo>
                    <a:lnTo>
                      <a:pt x="2926" y="2160"/>
                    </a:lnTo>
                    <a:lnTo>
                      <a:pt x="2935" y="2164"/>
                    </a:lnTo>
                    <a:lnTo>
                      <a:pt x="2952" y="2170"/>
                    </a:lnTo>
                    <a:lnTo>
                      <a:pt x="2962" y="2175"/>
                    </a:lnTo>
                    <a:lnTo>
                      <a:pt x="2964" y="2177"/>
                    </a:lnTo>
                    <a:lnTo>
                      <a:pt x="2965" y="2179"/>
                    </a:lnTo>
                    <a:lnTo>
                      <a:pt x="2965" y="2182"/>
                    </a:lnTo>
                    <a:lnTo>
                      <a:pt x="2964" y="2184"/>
                    </a:lnTo>
                    <a:lnTo>
                      <a:pt x="2961" y="2189"/>
                    </a:lnTo>
                    <a:lnTo>
                      <a:pt x="2956" y="2198"/>
                    </a:lnTo>
                    <a:lnTo>
                      <a:pt x="2950" y="2206"/>
                    </a:lnTo>
                    <a:lnTo>
                      <a:pt x="2946" y="2219"/>
                    </a:lnTo>
                    <a:lnTo>
                      <a:pt x="2945" y="2228"/>
                    </a:lnTo>
                    <a:lnTo>
                      <a:pt x="2945" y="2237"/>
                    </a:lnTo>
                    <a:lnTo>
                      <a:pt x="2947" y="2244"/>
                    </a:lnTo>
                    <a:lnTo>
                      <a:pt x="2951" y="2252"/>
                    </a:lnTo>
                    <a:lnTo>
                      <a:pt x="2957" y="2259"/>
                    </a:lnTo>
                    <a:lnTo>
                      <a:pt x="2963" y="2265"/>
                    </a:lnTo>
                    <a:lnTo>
                      <a:pt x="2970" y="2270"/>
                    </a:lnTo>
                    <a:lnTo>
                      <a:pt x="2978" y="2276"/>
                    </a:lnTo>
                    <a:lnTo>
                      <a:pt x="2992" y="2287"/>
                    </a:lnTo>
                    <a:lnTo>
                      <a:pt x="3007" y="2298"/>
                    </a:lnTo>
                    <a:lnTo>
                      <a:pt x="3014" y="2304"/>
                    </a:lnTo>
                    <a:lnTo>
                      <a:pt x="3019" y="2310"/>
                    </a:lnTo>
                    <a:lnTo>
                      <a:pt x="3024" y="2318"/>
                    </a:lnTo>
                    <a:lnTo>
                      <a:pt x="3027" y="2325"/>
                    </a:lnTo>
                    <a:lnTo>
                      <a:pt x="3029" y="2341"/>
                    </a:lnTo>
                    <a:lnTo>
                      <a:pt x="3029" y="2359"/>
                    </a:lnTo>
                    <a:lnTo>
                      <a:pt x="3029" y="2379"/>
                    </a:lnTo>
                    <a:lnTo>
                      <a:pt x="3029" y="2400"/>
                    </a:lnTo>
                    <a:lnTo>
                      <a:pt x="3030" y="2419"/>
                    </a:lnTo>
                    <a:lnTo>
                      <a:pt x="3034" y="2438"/>
                    </a:lnTo>
                    <a:lnTo>
                      <a:pt x="3036" y="2446"/>
                    </a:lnTo>
                    <a:lnTo>
                      <a:pt x="3039" y="2454"/>
                    </a:lnTo>
                    <a:lnTo>
                      <a:pt x="3044" y="2461"/>
                    </a:lnTo>
                    <a:lnTo>
                      <a:pt x="3049" y="2467"/>
                    </a:lnTo>
                    <a:lnTo>
                      <a:pt x="3052" y="2470"/>
                    </a:lnTo>
                    <a:lnTo>
                      <a:pt x="3057" y="2472"/>
                    </a:lnTo>
                    <a:lnTo>
                      <a:pt x="3061" y="2471"/>
                    </a:lnTo>
                    <a:lnTo>
                      <a:pt x="3063" y="2470"/>
                    </a:lnTo>
                    <a:lnTo>
                      <a:pt x="3066" y="2467"/>
                    </a:lnTo>
                    <a:lnTo>
                      <a:pt x="3068" y="2462"/>
                    </a:lnTo>
                    <a:lnTo>
                      <a:pt x="3070" y="2459"/>
                    </a:lnTo>
                    <a:lnTo>
                      <a:pt x="3071" y="2454"/>
                    </a:lnTo>
                    <a:lnTo>
                      <a:pt x="3071" y="2440"/>
                    </a:lnTo>
                    <a:lnTo>
                      <a:pt x="3072" y="2428"/>
                    </a:lnTo>
                    <a:lnTo>
                      <a:pt x="3073" y="2418"/>
                    </a:lnTo>
                    <a:lnTo>
                      <a:pt x="3076" y="2411"/>
                    </a:lnTo>
                    <a:lnTo>
                      <a:pt x="3079" y="2402"/>
                    </a:lnTo>
                    <a:lnTo>
                      <a:pt x="3083" y="2394"/>
                    </a:lnTo>
                    <a:lnTo>
                      <a:pt x="3089" y="2384"/>
                    </a:lnTo>
                    <a:lnTo>
                      <a:pt x="3098" y="2372"/>
                    </a:lnTo>
                    <a:lnTo>
                      <a:pt x="3099" y="2367"/>
                    </a:lnTo>
                    <a:lnTo>
                      <a:pt x="3101" y="2362"/>
                    </a:lnTo>
                    <a:lnTo>
                      <a:pt x="3101" y="2356"/>
                    </a:lnTo>
                    <a:lnTo>
                      <a:pt x="3101" y="2350"/>
                    </a:lnTo>
                    <a:lnTo>
                      <a:pt x="3100" y="2335"/>
                    </a:lnTo>
                    <a:lnTo>
                      <a:pt x="3098" y="2319"/>
                    </a:lnTo>
                    <a:lnTo>
                      <a:pt x="3090" y="2287"/>
                    </a:lnTo>
                    <a:lnTo>
                      <a:pt x="3085" y="2263"/>
                    </a:lnTo>
                    <a:lnTo>
                      <a:pt x="3081" y="2226"/>
                    </a:lnTo>
                    <a:lnTo>
                      <a:pt x="3077" y="2192"/>
                    </a:lnTo>
                    <a:lnTo>
                      <a:pt x="3076" y="2176"/>
                    </a:lnTo>
                    <a:lnTo>
                      <a:pt x="3072" y="2157"/>
                    </a:lnTo>
                    <a:lnTo>
                      <a:pt x="3068" y="2139"/>
                    </a:lnTo>
                    <a:lnTo>
                      <a:pt x="3062" y="2119"/>
                    </a:lnTo>
                    <a:lnTo>
                      <a:pt x="3060" y="2107"/>
                    </a:lnTo>
                    <a:lnTo>
                      <a:pt x="3058" y="2095"/>
                    </a:lnTo>
                    <a:lnTo>
                      <a:pt x="3058" y="2082"/>
                    </a:lnTo>
                    <a:lnTo>
                      <a:pt x="3060" y="2069"/>
                    </a:lnTo>
                    <a:lnTo>
                      <a:pt x="3061" y="2058"/>
                    </a:lnTo>
                    <a:lnTo>
                      <a:pt x="3061" y="2047"/>
                    </a:lnTo>
                    <a:lnTo>
                      <a:pt x="3061" y="2036"/>
                    </a:lnTo>
                    <a:lnTo>
                      <a:pt x="3058" y="2028"/>
                    </a:lnTo>
                    <a:lnTo>
                      <a:pt x="3066" y="2020"/>
                    </a:lnTo>
                    <a:lnTo>
                      <a:pt x="3074" y="2014"/>
                    </a:lnTo>
                    <a:lnTo>
                      <a:pt x="3084" y="2009"/>
                    </a:lnTo>
                    <a:lnTo>
                      <a:pt x="3095" y="2007"/>
                    </a:lnTo>
                    <a:lnTo>
                      <a:pt x="3107" y="2006"/>
                    </a:lnTo>
                    <a:lnTo>
                      <a:pt x="3118" y="2006"/>
                    </a:lnTo>
                    <a:lnTo>
                      <a:pt x="3129" y="2007"/>
                    </a:lnTo>
                    <a:lnTo>
                      <a:pt x="3139" y="2009"/>
                    </a:lnTo>
                    <a:lnTo>
                      <a:pt x="3144" y="2007"/>
                    </a:lnTo>
                    <a:lnTo>
                      <a:pt x="3149" y="2006"/>
                    </a:lnTo>
                    <a:lnTo>
                      <a:pt x="3153" y="2004"/>
                    </a:lnTo>
                    <a:lnTo>
                      <a:pt x="3156" y="2000"/>
                    </a:lnTo>
                    <a:lnTo>
                      <a:pt x="3156" y="1990"/>
                    </a:lnTo>
                    <a:lnTo>
                      <a:pt x="3153" y="1980"/>
                    </a:lnTo>
                    <a:lnTo>
                      <a:pt x="3149" y="1970"/>
                    </a:lnTo>
                    <a:lnTo>
                      <a:pt x="3143" y="1960"/>
                    </a:lnTo>
                    <a:lnTo>
                      <a:pt x="3129" y="1941"/>
                    </a:lnTo>
                    <a:lnTo>
                      <a:pt x="3114" y="1921"/>
                    </a:lnTo>
                    <a:lnTo>
                      <a:pt x="3106" y="1911"/>
                    </a:lnTo>
                    <a:lnTo>
                      <a:pt x="3100" y="1902"/>
                    </a:lnTo>
                    <a:lnTo>
                      <a:pt x="3094" y="1892"/>
                    </a:lnTo>
                    <a:lnTo>
                      <a:pt x="3089" y="1881"/>
                    </a:lnTo>
                    <a:lnTo>
                      <a:pt x="3085" y="1871"/>
                    </a:lnTo>
                    <a:lnTo>
                      <a:pt x="3083" y="1859"/>
                    </a:lnTo>
                    <a:lnTo>
                      <a:pt x="3083" y="1848"/>
                    </a:lnTo>
                    <a:lnTo>
                      <a:pt x="3085" y="1835"/>
                    </a:lnTo>
                    <a:lnTo>
                      <a:pt x="3090" y="1824"/>
                    </a:lnTo>
                    <a:lnTo>
                      <a:pt x="3096" y="1816"/>
                    </a:lnTo>
                    <a:lnTo>
                      <a:pt x="3105" y="1807"/>
                    </a:lnTo>
                    <a:lnTo>
                      <a:pt x="3114" y="1801"/>
                    </a:lnTo>
                    <a:lnTo>
                      <a:pt x="3134" y="1790"/>
                    </a:lnTo>
                    <a:lnTo>
                      <a:pt x="3155" y="1782"/>
                    </a:lnTo>
                    <a:lnTo>
                      <a:pt x="3166" y="1778"/>
                    </a:lnTo>
                    <a:lnTo>
                      <a:pt x="3176" y="1773"/>
                    </a:lnTo>
                    <a:lnTo>
                      <a:pt x="3185" y="1768"/>
                    </a:lnTo>
                    <a:lnTo>
                      <a:pt x="3193" y="1762"/>
                    </a:lnTo>
                    <a:lnTo>
                      <a:pt x="3199" y="1756"/>
                    </a:lnTo>
                    <a:lnTo>
                      <a:pt x="3204" y="1747"/>
                    </a:lnTo>
                    <a:lnTo>
                      <a:pt x="3205" y="1744"/>
                    </a:lnTo>
                    <a:lnTo>
                      <a:pt x="3207" y="1737"/>
                    </a:lnTo>
                    <a:lnTo>
                      <a:pt x="3207" y="1733"/>
                    </a:lnTo>
                    <a:lnTo>
                      <a:pt x="3207" y="1726"/>
                    </a:lnTo>
                    <a:lnTo>
                      <a:pt x="3204" y="1719"/>
                    </a:lnTo>
                    <a:lnTo>
                      <a:pt x="3202" y="1712"/>
                    </a:lnTo>
                    <a:lnTo>
                      <a:pt x="3199" y="1704"/>
                    </a:lnTo>
                    <a:lnTo>
                      <a:pt x="3194" y="1698"/>
                    </a:lnTo>
                    <a:lnTo>
                      <a:pt x="3185" y="1685"/>
                    </a:lnTo>
                    <a:lnTo>
                      <a:pt x="3172" y="1671"/>
                    </a:lnTo>
                    <a:lnTo>
                      <a:pt x="3160" y="1659"/>
                    </a:lnTo>
                    <a:lnTo>
                      <a:pt x="3148" y="1647"/>
                    </a:lnTo>
                    <a:lnTo>
                      <a:pt x="3137" y="1635"/>
                    </a:lnTo>
                    <a:lnTo>
                      <a:pt x="3127" y="1622"/>
                    </a:lnTo>
                    <a:lnTo>
                      <a:pt x="3123" y="1613"/>
                    </a:lnTo>
                    <a:lnTo>
                      <a:pt x="3120" y="1603"/>
                    </a:lnTo>
                    <a:lnTo>
                      <a:pt x="3117" y="1593"/>
                    </a:lnTo>
                    <a:lnTo>
                      <a:pt x="3117" y="1583"/>
                    </a:lnTo>
                    <a:lnTo>
                      <a:pt x="3117" y="1561"/>
                    </a:lnTo>
                    <a:lnTo>
                      <a:pt x="3120" y="1540"/>
                    </a:lnTo>
                    <a:lnTo>
                      <a:pt x="3123" y="1517"/>
                    </a:lnTo>
                    <a:lnTo>
                      <a:pt x="3126" y="1495"/>
                    </a:lnTo>
                    <a:lnTo>
                      <a:pt x="3127" y="1484"/>
                    </a:lnTo>
                    <a:lnTo>
                      <a:pt x="3126" y="1473"/>
                    </a:lnTo>
                    <a:lnTo>
                      <a:pt x="3125" y="1463"/>
                    </a:lnTo>
                    <a:lnTo>
                      <a:pt x="3122" y="1452"/>
                    </a:lnTo>
                    <a:lnTo>
                      <a:pt x="3120" y="1447"/>
                    </a:lnTo>
                    <a:lnTo>
                      <a:pt x="3117" y="1444"/>
                    </a:lnTo>
                    <a:lnTo>
                      <a:pt x="3115" y="1440"/>
                    </a:lnTo>
                    <a:lnTo>
                      <a:pt x="3111" y="1438"/>
                    </a:lnTo>
                    <a:lnTo>
                      <a:pt x="3103" y="1435"/>
                    </a:lnTo>
                    <a:lnTo>
                      <a:pt x="3094" y="1435"/>
                    </a:lnTo>
                    <a:lnTo>
                      <a:pt x="3073" y="1438"/>
                    </a:lnTo>
                    <a:lnTo>
                      <a:pt x="3055" y="1440"/>
                    </a:lnTo>
                    <a:lnTo>
                      <a:pt x="3043" y="1439"/>
                    </a:lnTo>
                    <a:lnTo>
                      <a:pt x="3030" y="1434"/>
                    </a:lnTo>
                    <a:lnTo>
                      <a:pt x="3025" y="1433"/>
                    </a:lnTo>
                    <a:lnTo>
                      <a:pt x="3019" y="1430"/>
                    </a:lnTo>
                    <a:lnTo>
                      <a:pt x="3014" y="1430"/>
                    </a:lnTo>
                    <a:lnTo>
                      <a:pt x="3010" y="1430"/>
                    </a:lnTo>
                    <a:lnTo>
                      <a:pt x="2996" y="1423"/>
                    </a:lnTo>
                    <a:lnTo>
                      <a:pt x="2985" y="1417"/>
                    </a:lnTo>
                    <a:lnTo>
                      <a:pt x="2974" y="1409"/>
                    </a:lnTo>
                    <a:lnTo>
                      <a:pt x="2965" y="1403"/>
                    </a:lnTo>
                    <a:lnTo>
                      <a:pt x="2957" y="1396"/>
                    </a:lnTo>
                    <a:lnTo>
                      <a:pt x="2950" y="1389"/>
                    </a:lnTo>
                    <a:lnTo>
                      <a:pt x="2942" y="1381"/>
                    </a:lnTo>
                    <a:lnTo>
                      <a:pt x="2936" y="1374"/>
                    </a:lnTo>
                    <a:lnTo>
                      <a:pt x="2925" y="1357"/>
                    </a:lnTo>
                    <a:lnTo>
                      <a:pt x="2914" y="1340"/>
                    </a:lnTo>
                    <a:lnTo>
                      <a:pt x="2903" y="1319"/>
                    </a:lnTo>
                    <a:lnTo>
                      <a:pt x="2891" y="1296"/>
                    </a:lnTo>
                    <a:lnTo>
                      <a:pt x="2883" y="1286"/>
                    </a:lnTo>
                    <a:lnTo>
                      <a:pt x="2876" y="1277"/>
                    </a:lnTo>
                    <a:lnTo>
                      <a:pt x="2869" y="1271"/>
                    </a:lnTo>
                    <a:lnTo>
                      <a:pt x="2860" y="1266"/>
                    </a:lnTo>
                    <a:lnTo>
                      <a:pt x="2850" y="1262"/>
                    </a:lnTo>
                    <a:lnTo>
                      <a:pt x="2842" y="1259"/>
                    </a:lnTo>
                    <a:lnTo>
                      <a:pt x="2832" y="1256"/>
                    </a:lnTo>
                    <a:lnTo>
                      <a:pt x="2822" y="1255"/>
                    </a:lnTo>
                    <a:lnTo>
                      <a:pt x="2803" y="1250"/>
                    </a:lnTo>
                    <a:lnTo>
                      <a:pt x="2784" y="1245"/>
                    </a:lnTo>
                    <a:lnTo>
                      <a:pt x="2776" y="1240"/>
                    </a:lnTo>
                    <a:lnTo>
                      <a:pt x="2768" y="1236"/>
                    </a:lnTo>
                    <a:lnTo>
                      <a:pt x="2761" y="1229"/>
                    </a:lnTo>
                    <a:lnTo>
                      <a:pt x="2755" y="1221"/>
                    </a:lnTo>
                    <a:lnTo>
                      <a:pt x="2748" y="1207"/>
                    </a:lnTo>
                    <a:lnTo>
                      <a:pt x="2743" y="1193"/>
                    </a:lnTo>
                    <a:lnTo>
                      <a:pt x="2739" y="1177"/>
                    </a:lnTo>
                    <a:lnTo>
                      <a:pt x="2735" y="1160"/>
                    </a:lnTo>
                    <a:lnTo>
                      <a:pt x="2730" y="1125"/>
                    </a:lnTo>
                    <a:lnTo>
                      <a:pt x="2724" y="1095"/>
                    </a:lnTo>
                    <a:lnTo>
                      <a:pt x="2719" y="1078"/>
                    </a:lnTo>
                    <a:lnTo>
                      <a:pt x="2713" y="1063"/>
                    </a:lnTo>
                    <a:lnTo>
                      <a:pt x="2707" y="1047"/>
                    </a:lnTo>
                    <a:lnTo>
                      <a:pt x="2700" y="1032"/>
                    </a:lnTo>
                    <a:lnTo>
                      <a:pt x="2693" y="1019"/>
                    </a:lnTo>
                    <a:lnTo>
                      <a:pt x="2684" y="1004"/>
                    </a:lnTo>
                    <a:lnTo>
                      <a:pt x="2674" y="991"/>
                    </a:lnTo>
                    <a:lnTo>
                      <a:pt x="2664" y="977"/>
                    </a:lnTo>
                    <a:lnTo>
                      <a:pt x="2658" y="969"/>
                    </a:lnTo>
                    <a:lnTo>
                      <a:pt x="2652" y="960"/>
                    </a:lnTo>
                    <a:lnTo>
                      <a:pt x="2648" y="950"/>
                    </a:lnTo>
                    <a:lnTo>
                      <a:pt x="2645" y="942"/>
                    </a:lnTo>
                    <a:lnTo>
                      <a:pt x="2644" y="933"/>
                    </a:lnTo>
                    <a:lnTo>
                      <a:pt x="2642" y="925"/>
                    </a:lnTo>
                    <a:lnTo>
                      <a:pt x="2642" y="916"/>
                    </a:lnTo>
                    <a:lnTo>
                      <a:pt x="2644" y="909"/>
                    </a:lnTo>
                    <a:lnTo>
                      <a:pt x="2646" y="901"/>
                    </a:lnTo>
                    <a:lnTo>
                      <a:pt x="2650" y="894"/>
                    </a:lnTo>
                    <a:lnTo>
                      <a:pt x="2655" y="888"/>
                    </a:lnTo>
                    <a:lnTo>
                      <a:pt x="2661" y="882"/>
                    </a:lnTo>
                    <a:lnTo>
                      <a:pt x="2668" y="877"/>
                    </a:lnTo>
                    <a:lnTo>
                      <a:pt x="2677" y="872"/>
                    </a:lnTo>
                    <a:lnTo>
                      <a:pt x="2686" y="868"/>
                    </a:lnTo>
                    <a:lnTo>
                      <a:pt x="2697" y="866"/>
                    </a:lnTo>
                    <a:lnTo>
                      <a:pt x="2712" y="865"/>
                    </a:lnTo>
                    <a:lnTo>
                      <a:pt x="2724" y="863"/>
                    </a:lnTo>
                    <a:lnTo>
                      <a:pt x="2735" y="865"/>
                    </a:lnTo>
                    <a:lnTo>
                      <a:pt x="2746" y="867"/>
                    </a:lnTo>
                    <a:lnTo>
                      <a:pt x="2756" y="871"/>
                    </a:lnTo>
                    <a:lnTo>
                      <a:pt x="2765" y="874"/>
                    </a:lnTo>
                    <a:lnTo>
                      <a:pt x="2773" y="879"/>
                    </a:lnTo>
                    <a:lnTo>
                      <a:pt x="2782" y="884"/>
                    </a:lnTo>
                    <a:lnTo>
                      <a:pt x="2798" y="895"/>
                    </a:lnTo>
                    <a:lnTo>
                      <a:pt x="2815" y="907"/>
                    </a:lnTo>
                    <a:lnTo>
                      <a:pt x="2823" y="914"/>
                    </a:lnTo>
                    <a:lnTo>
                      <a:pt x="2833" y="918"/>
                    </a:lnTo>
                    <a:lnTo>
                      <a:pt x="2843" y="923"/>
                    </a:lnTo>
                    <a:lnTo>
                      <a:pt x="2855" y="927"/>
                    </a:lnTo>
                    <a:lnTo>
                      <a:pt x="2861" y="931"/>
                    </a:lnTo>
                    <a:lnTo>
                      <a:pt x="2868" y="934"/>
                    </a:lnTo>
                    <a:lnTo>
                      <a:pt x="2872" y="939"/>
                    </a:lnTo>
                    <a:lnTo>
                      <a:pt x="2876" y="944"/>
                    </a:lnTo>
                    <a:lnTo>
                      <a:pt x="2879" y="951"/>
                    </a:lnTo>
                    <a:lnTo>
                      <a:pt x="2880" y="958"/>
                    </a:lnTo>
                    <a:lnTo>
                      <a:pt x="2881" y="966"/>
                    </a:lnTo>
                    <a:lnTo>
                      <a:pt x="2882" y="974"/>
                    </a:lnTo>
                    <a:lnTo>
                      <a:pt x="2882" y="1007"/>
                    </a:lnTo>
                    <a:lnTo>
                      <a:pt x="2883" y="1036"/>
                    </a:lnTo>
                    <a:lnTo>
                      <a:pt x="2885" y="1046"/>
                    </a:lnTo>
                    <a:lnTo>
                      <a:pt x="2888" y="1056"/>
                    </a:lnTo>
                    <a:lnTo>
                      <a:pt x="2892" y="1063"/>
                    </a:lnTo>
                    <a:lnTo>
                      <a:pt x="2898" y="1070"/>
                    </a:lnTo>
                    <a:lnTo>
                      <a:pt x="2904" y="1075"/>
                    </a:lnTo>
                    <a:lnTo>
                      <a:pt x="2910" y="1080"/>
                    </a:lnTo>
                    <a:lnTo>
                      <a:pt x="2918" y="1082"/>
                    </a:lnTo>
                    <a:lnTo>
                      <a:pt x="2926" y="1085"/>
                    </a:lnTo>
                    <a:lnTo>
                      <a:pt x="2935" y="1086"/>
                    </a:lnTo>
                    <a:lnTo>
                      <a:pt x="2943" y="1086"/>
                    </a:lnTo>
                    <a:lnTo>
                      <a:pt x="2952" y="1085"/>
                    </a:lnTo>
                    <a:lnTo>
                      <a:pt x="2962" y="1082"/>
                    </a:lnTo>
                    <a:lnTo>
                      <a:pt x="2970" y="1080"/>
                    </a:lnTo>
                    <a:lnTo>
                      <a:pt x="2980" y="1076"/>
                    </a:lnTo>
                    <a:lnTo>
                      <a:pt x="2989" y="1073"/>
                    </a:lnTo>
                    <a:lnTo>
                      <a:pt x="2997" y="1068"/>
                    </a:lnTo>
                    <a:lnTo>
                      <a:pt x="3006" y="1062"/>
                    </a:lnTo>
                    <a:lnTo>
                      <a:pt x="3014" y="1056"/>
                    </a:lnTo>
                    <a:lnTo>
                      <a:pt x="3022" y="1048"/>
                    </a:lnTo>
                    <a:lnTo>
                      <a:pt x="3029" y="1041"/>
                    </a:lnTo>
                    <a:lnTo>
                      <a:pt x="3035" y="1034"/>
                    </a:lnTo>
                    <a:lnTo>
                      <a:pt x="3040" y="1025"/>
                    </a:lnTo>
                    <a:lnTo>
                      <a:pt x="3045" y="1015"/>
                    </a:lnTo>
                    <a:lnTo>
                      <a:pt x="3047" y="1007"/>
                    </a:lnTo>
                    <a:lnTo>
                      <a:pt x="3050" y="997"/>
                    </a:lnTo>
                    <a:lnTo>
                      <a:pt x="3051" y="987"/>
                    </a:lnTo>
                    <a:lnTo>
                      <a:pt x="3051" y="977"/>
                    </a:lnTo>
                    <a:lnTo>
                      <a:pt x="3049" y="966"/>
                    </a:lnTo>
                    <a:lnTo>
                      <a:pt x="3046" y="955"/>
                    </a:lnTo>
                    <a:lnTo>
                      <a:pt x="3041" y="945"/>
                    </a:lnTo>
                    <a:lnTo>
                      <a:pt x="3035" y="934"/>
                    </a:lnTo>
                    <a:lnTo>
                      <a:pt x="3027" y="923"/>
                    </a:lnTo>
                    <a:lnTo>
                      <a:pt x="3005" y="891"/>
                    </a:lnTo>
                    <a:lnTo>
                      <a:pt x="2984" y="860"/>
                    </a:lnTo>
                    <a:lnTo>
                      <a:pt x="2979" y="851"/>
                    </a:lnTo>
                    <a:lnTo>
                      <a:pt x="2975" y="843"/>
                    </a:lnTo>
                    <a:lnTo>
                      <a:pt x="2972" y="834"/>
                    </a:lnTo>
                    <a:lnTo>
                      <a:pt x="2969" y="825"/>
                    </a:lnTo>
                    <a:lnTo>
                      <a:pt x="2967" y="816"/>
                    </a:lnTo>
                    <a:lnTo>
                      <a:pt x="2967" y="806"/>
                    </a:lnTo>
                    <a:lnTo>
                      <a:pt x="2967" y="796"/>
                    </a:lnTo>
                    <a:lnTo>
                      <a:pt x="2968" y="786"/>
                    </a:lnTo>
                    <a:lnTo>
                      <a:pt x="2972" y="776"/>
                    </a:lnTo>
                    <a:lnTo>
                      <a:pt x="2978" y="765"/>
                    </a:lnTo>
                    <a:lnTo>
                      <a:pt x="2985" y="754"/>
                    </a:lnTo>
                    <a:lnTo>
                      <a:pt x="2994" y="743"/>
                    </a:lnTo>
                    <a:lnTo>
                      <a:pt x="3001" y="732"/>
                    </a:lnTo>
                    <a:lnTo>
                      <a:pt x="3007" y="723"/>
                    </a:lnTo>
                    <a:lnTo>
                      <a:pt x="3008" y="718"/>
                    </a:lnTo>
                    <a:lnTo>
                      <a:pt x="3010" y="713"/>
                    </a:lnTo>
                    <a:lnTo>
                      <a:pt x="3011" y="708"/>
                    </a:lnTo>
                    <a:lnTo>
                      <a:pt x="3010" y="704"/>
                    </a:lnTo>
                    <a:lnTo>
                      <a:pt x="3002" y="691"/>
                    </a:lnTo>
                    <a:lnTo>
                      <a:pt x="2994" y="676"/>
                    </a:lnTo>
                    <a:lnTo>
                      <a:pt x="2990" y="669"/>
                    </a:lnTo>
                    <a:lnTo>
                      <a:pt x="2990" y="663"/>
                    </a:lnTo>
                    <a:lnTo>
                      <a:pt x="2990" y="659"/>
                    </a:lnTo>
                    <a:lnTo>
                      <a:pt x="2992" y="655"/>
                    </a:lnTo>
                    <a:lnTo>
                      <a:pt x="2995" y="652"/>
                    </a:lnTo>
                    <a:lnTo>
                      <a:pt x="2999" y="649"/>
                    </a:lnTo>
                    <a:lnTo>
                      <a:pt x="3011" y="642"/>
                    </a:lnTo>
                    <a:lnTo>
                      <a:pt x="3023" y="634"/>
                    </a:lnTo>
                    <a:lnTo>
                      <a:pt x="3036" y="629"/>
                    </a:lnTo>
                    <a:lnTo>
                      <a:pt x="3050" y="625"/>
                    </a:lnTo>
                    <a:lnTo>
                      <a:pt x="3062" y="620"/>
                    </a:lnTo>
                    <a:lnTo>
                      <a:pt x="3076" y="614"/>
                    </a:lnTo>
                    <a:lnTo>
                      <a:pt x="3089" y="606"/>
                    </a:lnTo>
                    <a:lnTo>
                      <a:pt x="3101" y="598"/>
                    </a:lnTo>
                    <a:lnTo>
                      <a:pt x="3105" y="595"/>
                    </a:lnTo>
                    <a:lnTo>
                      <a:pt x="3109" y="593"/>
                    </a:lnTo>
                    <a:lnTo>
                      <a:pt x="3112" y="593"/>
                    </a:lnTo>
                    <a:lnTo>
                      <a:pt x="3115" y="593"/>
                    </a:lnTo>
                    <a:lnTo>
                      <a:pt x="3117" y="593"/>
                    </a:lnTo>
                    <a:lnTo>
                      <a:pt x="3118" y="595"/>
                    </a:lnTo>
                    <a:lnTo>
                      <a:pt x="3121" y="596"/>
                    </a:lnTo>
                    <a:lnTo>
                      <a:pt x="3122" y="600"/>
                    </a:lnTo>
                    <a:lnTo>
                      <a:pt x="3127" y="616"/>
                    </a:lnTo>
                    <a:lnTo>
                      <a:pt x="3129" y="637"/>
                    </a:lnTo>
                    <a:lnTo>
                      <a:pt x="3132" y="648"/>
                    </a:lnTo>
                    <a:lnTo>
                      <a:pt x="3133" y="659"/>
                    </a:lnTo>
                    <a:lnTo>
                      <a:pt x="3136" y="669"/>
                    </a:lnTo>
                    <a:lnTo>
                      <a:pt x="3139" y="678"/>
                    </a:lnTo>
                    <a:lnTo>
                      <a:pt x="3143" y="686"/>
                    </a:lnTo>
                    <a:lnTo>
                      <a:pt x="3149" y="691"/>
                    </a:lnTo>
                    <a:lnTo>
                      <a:pt x="3152" y="693"/>
                    </a:lnTo>
                    <a:lnTo>
                      <a:pt x="3155" y="694"/>
                    </a:lnTo>
                    <a:lnTo>
                      <a:pt x="3159" y="694"/>
                    </a:lnTo>
                    <a:lnTo>
                      <a:pt x="3164" y="693"/>
                    </a:lnTo>
                    <a:lnTo>
                      <a:pt x="3174" y="691"/>
                    </a:lnTo>
                    <a:lnTo>
                      <a:pt x="3182" y="687"/>
                    </a:lnTo>
                    <a:lnTo>
                      <a:pt x="3192" y="682"/>
                    </a:lnTo>
                    <a:lnTo>
                      <a:pt x="3200" y="677"/>
                    </a:lnTo>
                    <a:lnTo>
                      <a:pt x="3215" y="664"/>
                    </a:lnTo>
                    <a:lnTo>
                      <a:pt x="3230" y="650"/>
                    </a:lnTo>
                    <a:lnTo>
                      <a:pt x="3238" y="643"/>
                    </a:lnTo>
                    <a:lnTo>
                      <a:pt x="3245" y="638"/>
                    </a:lnTo>
                    <a:lnTo>
                      <a:pt x="3252" y="634"/>
                    </a:lnTo>
                    <a:lnTo>
                      <a:pt x="3258" y="632"/>
                    </a:lnTo>
                    <a:lnTo>
                      <a:pt x="3270" y="628"/>
                    </a:lnTo>
                    <a:lnTo>
                      <a:pt x="3287" y="622"/>
                    </a:lnTo>
                    <a:lnTo>
                      <a:pt x="3309" y="609"/>
                    </a:lnTo>
                    <a:lnTo>
                      <a:pt x="3331" y="592"/>
                    </a:lnTo>
                    <a:lnTo>
                      <a:pt x="3344" y="583"/>
                    </a:lnTo>
                    <a:lnTo>
                      <a:pt x="3356" y="577"/>
                    </a:lnTo>
                    <a:lnTo>
                      <a:pt x="3362" y="574"/>
                    </a:lnTo>
                    <a:lnTo>
                      <a:pt x="3367" y="573"/>
                    </a:lnTo>
                    <a:lnTo>
                      <a:pt x="3373" y="572"/>
                    </a:lnTo>
                    <a:lnTo>
                      <a:pt x="3379" y="572"/>
                    </a:lnTo>
                    <a:lnTo>
                      <a:pt x="3390" y="573"/>
                    </a:lnTo>
                    <a:lnTo>
                      <a:pt x="3398" y="576"/>
                    </a:lnTo>
                    <a:lnTo>
                      <a:pt x="3402" y="579"/>
                    </a:lnTo>
                    <a:lnTo>
                      <a:pt x="3406" y="584"/>
                    </a:lnTo>
                    <a:lnTo>
                      <a:pt x="3407" y="589"/>
                    </a:lnTo>
                    <a:lnTo>
                      <a:pt x="3406" y="595"/>
                    </a:lnTo>
                    <a:lnTo>
                      <a:pt x="3405" y="603"/>
                    </a:lnTo>
                    <a:lnTo>
                      <a:pt x="3401" y="609"/>
                    </a:lnTo>
                    <a:lnTo>
                      <a:pt x="3393" y="623"/>
                    </a:lnTo>
                    <a:lnTo>
                      <a:pt x="3382" y="637"/>
                    </a:lnTo>
                    <a:lnTo>
                      <a:pt x="3371" y="648"/>
                    </a:lnTo>
                    <a:lnTo>
                      <a:pt x="3363" y="655"/>
                    </a:lnTo>
                    <a:lnTo>
                      <a:pt x="3360" y="665"/>
                    </a:lnTo>
                    <a:lnTo>
                      <a:pt x="3358" y="677"/>
                    </a:lnTo>
                    <a:lnTo>
                      <a:pt x="3357" y="689"/>
                    </a:lnTo>
                    <a:lnTo>
                      <a:pt x="3357" y="703"/>
                    </a:lnTo>
                    <a:lnTo>
                      <a:pt x="3357" y="709"/>
                    </a:lnTo>
                    <a:lnTo>
                      <a:pt x="3360" y="715"/>
                    </a:lnTo>
                    <a:lnTo>
                      <a:pt x="3361" y="721"/>
                    </a:lnTo>
                    <a:lnTo>
                      <a:pt x="3363" y="726"/>
                    </a:lnTo>
                    <a:lnTo>
                      <a:pt x="3367" y="731"/>
                    </a:lnTo>
                    <a:lnTo>
                      <a:pt x="3371" y="735"/>
                    </a:lnTo>
                    <a:lnTo>
                      <a:pt x="3376" y="737"/>
                    </a:lnTo>
                    <a:lnTo>
                      <a:pt x="3380" y="738"/>
                    </a:lnTo>
                    <a:lnTo>
                      <a:pt x="3393" y="741"/>
                    </a:lnTo>
                    <a:lnTo>
                      <a:pt x="3400" y="743"/>
                    </a:lnTo>
                    <a:lnTo>
                      <a:pt x="3402" y="746"/>
                    </a:lnTo>
                    <a:lnTo>
                      <a:pt x="3404" y="748"/>
                    </a:lnTo>
                    <a:lnTo>
                      <a:pt x="3402" y="753"/>
                    </a:lnTo>
                    <a:lnTo>
                      <a:pt x="3399" y="759"/>
                    </a:lnTo>
                    <a:lnTo>
                      <a:pt x="3390" y="772"/>
                    </a:lnTo>
                    <a:lnTo>
                      <a:pt x="3378" y="787"/>
                    </a:lnTo>
                    <a:lnTo>
                      <a:pt x="3364" y="803"/>
                    </a:lnTo>
                    <a:lnTo>
                      <a:pt x="3353" y="818"/>
                    </a:lnTo>
                    <a:lnTo>
                      <a:pt x="3350" y="825"/>
                    </a:lnTo>
                    <a:lnTo>
                      <a:pt x="3347" y="832"/>
                    </a:lnTo>
                    <a:lnTo>
                      <a:pt x="3347" y="834"/>
                    </a:lnTo>
                    <a:lnTo>
                      <a:pt x="3347" y="836"/>
                    </a:lnTo>
                    <a:lnTo>
                      <a:pt x="3349" y="839"/>
                    </a:lnTo>
                    <a:lnTo>
                      <a:pt x="3350" y="840"/>
                    </a:lnTo>
                    <a:lnTo>
                      <a:pt x="3355" y="844"/>
                    </a:lnTo>
                    <a:lnTo>
                      <a:pt x="3363" y="845"/>
                    </a:lnTo>
                    <a:lnTo>
                      <a:pt x="3374" y="844"/>
                    </a:lnTo>
                    <a:lnTo>
                      <a:pt x="3389" y="841"/>
                    </a:lnTo>
                    <a:lnTo>
                      <a:pt x="3395" y="840"/>
                    </a:lnTo>
                    <a:lnTo>
                      <a:pt x="3400" y="838"/>
                    </a:lnTo>
                    <a:lnTo>
                      <a:pt x="3405" y="835"/>
                    </a:lnTo>
                    <a:lnTo>
                      <a:pt x="3410" y="832"/>
                    </a:lnTo>
                    <a:lnTo>
                      <a:pt x="3418" y="822"/>
                    </a:lnTo>
                    <a:lnTo>
                      <a:pt x="3427" y="812"/>
                    </a:lnTo>
                    <a:lnTo>
                      <a:pt x="3435" y="802"/>
                    </a:lnTo>
                    <a:lnTo>
                      <a:pt x="3443" y="794"/>
                    </a:lnTo>
                    <a:lnTo>
                      <a:pt x="3448" y="790"/>
                    </a:lnTo>
                    <a:lnTo>
                      <a:pt x="3451" y="787"/>
                    </a:lnTo>
                    <a:lnTo>
                      <a:pt x="3456" y="785"/>
                    </a:lnTo>
                    <a:lnTo>
                      <a:pt x="3460" y="784"/>
                    </a:lnTo>
                    <a:lnTo>
                      <a:pt x="3462" y="787"/>
                    </a:lnTo>
                    <a:lnTo>
                      <a:pt x="3462" y="791"/>
                    </a:lnTo>
                    <a:lnTo>
                      <a:pt x="3462" y="796"/>
                    </a:lnTo>
                    <a:lnTo>
                      <a:pt x="3461" y="802"/>
                    </a:lnTo>
                    <a:lnTo>
                      <a:pt x="3458" y="814"/>
                    </a:lnTo>
                    <a:lnTo>
                      <a:pt x="3453" y="829"/>
                    </a:lnTo>
                    <a:lnTo>
                      <a:pt x="3439" y="856"/>
                    </a:lnTo>
                    <a:lnTo>
                      <a:pt x="3428" y="877"/>
                    </a:lnTo>
                    <a:lnTo>
                      <a:pt x="3421" y="885"/>
                    </a:lnTo>
                    <a:lnTo>
                      <a:pt x="3411" y="896"/>
                    </a:lnTo>
                    <a:lnTo>
                      <a:pt x="3400" y="907"/>
                    </a:lnTo>
                    <a:lnTo>
                      <a:pt x="3388" y="918"/>
                    </a:lnTo>
                    <a:lnTo>
                      <a:pt x="3377" y="929"/>
                    </a:lnTo>
                    <a:lnTo>
                      <a:pt x="3367" y="940"/>
                    </a:lnTo>
                    <a:lnTo>
                      <a:pt x="3363" y="945"/>
                    </a:lnTo>
                    <a:lnTo>
                      <a:pt x="3361" y="950"/>
                    </a:lnTo>
                    <a:lnTo>
                      <a:pt x="3358" y="954"/>
                    </a:lnTo>
                    <a:lnTo>
                      <a:pt x="3358" y="959"/>
                    </a:lnTo>
                    <a:lnTo>
                      <a:pt x="3358" y="964"/>
                    </a:lnTo>
                    <a:lnTo>
                      <a:pt x="3360" y="969"/>
                    </a:lnTo>
                    <a:lnTo>
                      <a:pt x="3361" y="972"/>
                    </a:lnTo>
                    <a:lnTo>
                      <a:pt x="3363" y="977"/>
                    </a:lnTo>
                    <a:lnTo>
                      <a:pt x="3368" y="985"/>
                    </a:lnTo>
                    <a:lnTo>
                      <a:pt x="3374" y="991"/>
                    </a:lnTo>
                    <a:lnTo>
                      <a:pt x="3380" y="997"/>
                    </a:lnTo>
                    <a:lnTo>
                      <a:pt x="3387" y="1003"/>
                    </a:lnTo>
                    <a:lnTo>
                      <a:pt x="3390" y="1009"/>
                    </a:lnTo>
                    <a:lnTo>
                      <a:pt x="3393" y="1016"/>
                    </a:lnTo>
                    <a:lnTo>
                      <a:pt x="3391" y="1025"/>
                    </a:lnTo>
                    <a:lnTo>
                      <a:pt x="3388" y="1037"/>
                    </a:lnTo>
                    <a:lnTo>
                      <a:pt x="3383" y="1052"/>
                    </a:lnTo>
                    <a:lnTo>
                      <a:pt x="3377" y="1067"/>
                    </a:lnTo>
                    <a:lnTo>
                      <a:pt x="3372" y="1081"/>
                    </a:lnTo>
                    <a:lnTo>
                      <a:pt x="3369" y="1092"/>
                    </a:lnTo>
                    <a:lnTo>
                      <a:pt x="3368" y="1097"/>
                    </a:lnTo>
                    <a:lnTo>
                      <a:pt x="3369" y="1101"/>
                    </a:lnTo>
                    <a:lnTo>
                      <a:pt x="3371" y="1103"/>
                    </a:lnTo>
                    <a:lnTo>
                      <a:pt x="3373" y="1103"/>
                    </a:lnTo>
                    <a:lnTo>
                      <a:pt x="3379" y="1103"/>
                    </a:lnTo>
                    <a:lnTo>
                      <a:pt x="3385" y="1101"/>
                    </a:lnTo>
                    <a:lnTo>
                      <a:pt x="3393" y="1098"/>
                    </a:lnTo>
                    <a:lnTo>
                      <a:pt x="3399" y="1095"/>
                    </a:lnTo>
                    <a:lnTo>
                      <a:pt x="3413" y="1085"/>
                    </a:lnTo>
                    <a:lnTo>
                      <a:pt x="3428" y="1073"/>
                    </a:lnTo>
                    <a:lnTo>
                      <a:pt x="3442" y="1060"/>
                    </a:lnTo>
                    <a:lnTo>
                      <a:pt x="3453" y="1047"/>
                    </a:lnTo>
                    <a:lnTo>
                      <a:pt x="3462" y="1035"/>
                    </a:lnTo>
                    <a:lnTo>
                      <a:pt x="3469" y="1024"/>
                    </a:lnTo>
                    <a:lnTo>
                      <a:pt x="3481" y="1009"/>
                    </a:lnTo>
                    <a:lnTo>
                      <a:pt x="3492" y="993"/>
                    </a:lnTo>
                    <a:lnTo>
                      <a:pt x="3502" y="975"/>
                    </a:lnTo>
                    <a:lnTo>
                      <a:pt x="3513" y="958"/>
                    </a:lnTo>
                    <a:lnTo>
                      <a:pt x="3524" y="940"/>
                    </a:lnTo>
                    <a:lnTo>
                      <a:pt x="3536" y="925"/>
                    </a:lnTo>
                    <a:lnTo>
                      <a:pt x="3543" y="918"/>
                    </a:lnTo>
                    <a:lnTo>
                      <a:pt x="3551" y="912"/>
                    </a:lnTo>
                    <a:lnTo>
                      <a:pt x="3558" y="907"/>
                    </a:lnTo>
                    <a:lnTo>
                      <a:pt x="3566" y="904"/>
                    </a:lnTo>
                    <a:lnTo>
                      <a:pt x="3590" y="895"/>
                    </a:lnTo>
                    <a:lnTo>
                      <a:pt x="3606" y="888"/>
                    </a:lnTo>
                    <a:lnTo>
                      <a:pt x="3612" y="887"/>
                    </a:lnTo>
                    <a:lnTo>
                      <a:pt x="3617" y="885"/>
                    </a:lnTo>
                    <a:lnTo>
                      <a:pt x="3620" y="885"/>
                    </a:lnTo>
                    <a:lnTo>
                      <a:pt x="3624" y="885"/>
                    </a:lnTo>
                    <a:lnTo>
                      <a:pt x="3630" y="889"/>
                    </a:lnTo>
                    <a:lnTo>
                      <a:pt x="3639" y="898"/>
                    </a:lnTo>
                    <a:lnTo>
                      <a:pt x="3651" y="911"/>
                    </a:lnTo>
                    <a:lnTo>
                      <a:pt x="3668" y="928"/>
                    </a:lnTo>
                    <a:lnTo>
                      <a:pt x="3673" y="932"/>
                    </a:lnTo>
                    <a:lnTo>
                      <a:pt x="3678" y="934"/>
                    </a:lnTo>
                    <a:lnTo>
                      <a:pt x="3684" y="936"/>
                    </a:lnTo>
                    <a:lnTo>
                      <a:pt x="3689" y="934"/>
                    </a:lnTo>
                    <a:lnTo>
                      <a:pt x="3694" y="933"/>
                    </a:lnTo>
                    <a:lnTo>
                      <a:pt x="3699" y="931"/>
                    </a:lnTo>
                    <a:lnTo>
                      <a:pt x="3704" y="927"/>
                    </a:lnTo>
                    <a:lnTo>
                      <a:pt x="3710" y="923"/>
                    </a:lnTo>
                    <a:lnTo>
                      <a:pt x="3719" y="915"/>
                    </a:lnTo>
                    <a:lnTo>
                      <a:pt x="3728" y="907"/>
                    </a:lnTo>
                    <a:lnTo>
                      <a:pt x="3738" y="900"/>
                    </a:lnTo>
                    <a:lnTo>
                      <a:pt x="3746" y="895"/>
                    </a:lnTo>
                    <a:lnTo>
                      <a:pt x="3755" y="894"/>
                    </a:lnTo>
                    <a:lnTo>
                      <a:pt x="3762" y="894"/>
                    </a:lnTo>
                    <a:lnTo>
                      <a:pt x="3770" y="895"/>
                    </a:lnTo>
                    <a:lnTo>
                      <a:pt x="3776" y="899"/>
                    </a:lnTo>
                    <a:lnTo>
                      <a:pt x="3781" y="904"/>
                    </a:lnTo>
                    <a:lnTo>
                      <a:pt x="3786" y="910"/>
                    </a:lnTo>
                    <a:lnTo>
                      <a:pt x="3789" y="916"/>
                    </a:lnTo>
                    <a:lnTo>
                      <a:pt x="3793" y="923"/>
                    </a:lnTo>
                    <a:lnTo>
                      <a:pt x="3798" y="939"/>
                    </a:lnTo>
                    <a:lnTo>
                      <a:pt x="3804" y="954"/>
                    </a:lnTo>
                    <a:lnTo>
                      <a:pt x="3806" y="961"/>
                    </a:lnTo>
                    <a:lnTo>
                      <a:pt x="3810" y="969"/>
                    </a:lnTo>
                    <a:lnTo>
                      <a:pt x="3814" y="974"/>
                    </a:lnTo>
                    <a:lnTo>
                      <a:pt x="3817" y="978"/>
                    </a:lnTo>
                    <a:lnTo>
                      <a:pt x="3823" y="983"/>
                    </a:lnTo>
                    <a:lnTo>
                      <a:pt x="3831" y="987"/>
                    </a:lnTo>
                    <a:lnTo>
                      <a:pt x="3838" y="989"/>
                    </a:lnTo>
                    <a:lnTo>
                      <a:pt x="3847" y="991"/>
                    </a:lnTo>
                    <a:lnTo>
                      <a:pt x="3863" y="993"/>
                    </a:lnTo>
                    <a:lnTo>
                      <a:pt x="3879" y="996"/>
                    </a:lnTo>
                    <a:lnTo>
                      <a:pt x="3890" y="999"/>
                    </a:lnTo>
                    <a:lnTo>
                      <a:pt x="3901" y="1004"/>
                    </a:lnTo>
                    <a:lnTo>
                      <a:pt x="3909" y="1010"/>
                    </a:lnTo>
                    <a:lnTo>
                      <a:pt x="3917" y="1016"/>
                    </a:lnTo>
                    <a:lnTo>
                      <a:pt x="3921" y="1025"/>
                    </a:lnTo>
                    <a:lnTo>
                      <a:pt x="3926" y="1032"/>
                    </a:lnTo>
                    <a:lnTo>
                      <a:pt x="3929" y="1042"/>
                    </a:lnTo>
                    <a:lnTo>
                      <a:pt x="3931" y="1052"/>
                    </a:lnTo>
                    <a:lnTo>
                      <a:pt x="3931" y="1062"/>
                    </a:lnTo>
                    <a:lnTo>
                      <a:pt x="3931" y="1071"/>
                    </a:lnTo>
                    <a:lnTo>
                      <a:pt x="3931" y="1082"/>
                    </a:lnTo>
                    <a:lnTo>
                      <a:pt x="3929" y="1094"/>
                    </a:lnTo>
                    <a:lnTo>
                      <a:pt x="3925" y="1114"/>
                    </a:lnTo>
                    <a:lnTo>
                      <a:pt x="3919" y="1135"/>
                    </a:lnTo>
                    <a:lnTo>
                      <a:pt x="3925" y="1158"/>
                    </a:lnTo>
                    <a:lnTo>
                      <a:pt x="3934" y="1188"/>
                    </a:lnTo>
                    <a:lnTo>
                      <a:pt x="3937" y="1202"/>
                    </a:lnTo>
                    <a:lnTo>
                      <a:pt x="3940" y="1217"/>
                    </a:lnTo>
                    <a:lnTo>
                      <a:pt x="3941" y="1229"/>
                    </a:lnTo>
                    <a:lnTo>
                      <a:pt x="3941" y="1239"/>
                    </a:lnTo>
                    <a:lnTo>
                      <a:pt x="3939" y="1245"/>
                    </a:lnTo>
                    <a:lnTo>
                      <a:pt x="3937" y="1250"/>
                    </a:lnTo>
                    <a:lnTo>
                      <a:pt x="3934" y="1256"/>
                    </a:lnTo>
                    <a:lnTo>
                      <a:pt x="3930" y="1261"/>
                    </a:lnTo>
                    <a:lnTo>
                      <a:pt x="3923" y="1272"/>
                    </a:lnTo>
                    <a:lnTo>
                      <a:pt x="3913" y="1282"/>
                    </a:lnTo>
                    <a:lnTo>
                      <a:pt x="3891" y="1299"/>
                    </a:lnTo>
                    <a:lnTo>
                      <a:pt x="3871" y="1316"/>
                    </a:lnTo>
                    <a:lnTo>
                      <a:pt x="3857" y="1331"/>
                    </a:lnTo>
                    <a:lnTo>
                      <a:pt x="3847" y="1342"/>
                    </a:lnTo>
                    <a:lnTo>
                      <a:pt x="3844" y="1347"/>
                    </a:lnTo>
                    <a:lnTo>
                      <a:pt x="3842" y="1351"/>
                    </a:lnTo>
                    <a:lnTo>
                      <a:pt x="3841" y="1354"/>
                    </a:lnTo>
                    <a:lnTo>
                      <a:pt x="3841" y="1358"/>
                    </a:lnTo>
                    <a:lnTo>
                      <a:pt x="3842" y="1360"/>
                    </a:lnTo>
                    <a:lnTo>
                      <a:pt x="3843" y="1362"/>
                    </a:lnTo>
                    <a:lnTo>
                      <a:pt x="3846" y="1364"/>
                    </a:lnTo>
                    <a:lnTo>
                      <a:pt x="3848" y="1364"/>
                    </a:lnTo>
                    <a:lnTo>
                      <a:pt x="3857" y="1365"/>
                    </a:lnTo>
                    <a:lnTo>
                      <a:pt x="3866" y="1365"/>
                    </a:lnTo>
                    <a:lnTo>
                      <a:pt x="3890" y="1360"/>
                    </a:lnTo>
                    <a:lnTo>
                      <a:pt x="3917" y="1353"/>
                    </a:lnTo>
                    <a:lnTo>
                      <a:pt x="3942" y="1346"/>
                    </a:lnTo>
                    <a:lnTo>
                      <a:pt x="3962" y="1340"/>
                    </a:lnTo>
                    <a:lnTo>
                      <a:pt x="3969" y="1338"/>
                    </a:lnTo>
                    <a:lnTo>
                      <a:pt x="3974" y="1340"/>
                    </a:lnTo>
                    <a:lnTo>
                      <a:pt x="3978" y="1342"/>
                    </a:lnTo>
                    <a:lnTo>
                      <a:pt x="3980" y="1346"/>
                    </a:lnTo>
                    <a:lnTo>
                      <a:pt x="3981" y="1352"/>
                    </a:lnTo>
                    <a:lnTo>
                      <a:pt x="3983" y="1358"/>
                    </a:lnTo>
                    <a:lnTo>
                      <a:pt x="3981" y="1365"/>
                    </a:lnTo>
                    <a:lnTo>
                      <a:pt x="3981" y="1374"/>
                    </a:lnTo>
                    <a:lnTo>
                      <a:pt x="3979" y="1390"/>
                    </a:lnTo>
                    <a:lnTo>
                      <a:pt x="3975" y="1406"/>
                    </a:lnTo>
                    <a:lnTo>
                      <a:pt x="3975" y="1412"/>
                    </a:lnTo>
                    <a:lnTo>
                      <a:pt x="3974" y="1418"/>
                    </a:lnTo>
                    <a:lnTo>
                      <a:pt x="3974" y="1422"/>
                    </a:lnTo>
                    <a:lnTo>
                      <a:pt x="3975" y="1424"/>
                    </a:lnTo>
                    <a:lnTo>
                      <a:pt x="3978" y="1425"/>
                    </a:lnTo>
                    <a:lnTo>
                      <a:pt x="3980" y="1427"/>
                    </a:lnTo>
                    <a:lnTo>
                      <a:pt x="3984" y="1425"/>
                    </a:lnTo>
                    <a:lnTo>
                      <a:pt x="3988" y="1425"/>
                    </a:lnTo>
                    <a:lnTo>
                      <a:pt x="3996" y="1422"/>
                    </a:lnTo>
                    <a:lnTo>
                      <a:pt x="4006" y="1417"/>
                    </a:lnTo>
                    <a:lnTo>
                      <a:pt x="4024" y="1406"/>
                    </a:lnTo>
                    <a:lnTo>
                      <a:pt x="4036" y="1398"/>
                    </a:lnTo>
                    <a:lnTo>
                      <a:pt x="4045" y="1395"/>
                    </a:lnTo>
                    <a:lnTo>
                      <a:pt x="4052" y="1393"/>
                    </a:lnTo>
                    <a:lnTo>
                      <a:pt x="4057" y="1395"/>
                    </a:lnTo>
                    <a:lnTo>
                      <a:pt x="4063" y="1397"/>
                    </a:lnTo>
                    <a:lnTo>
                      <a:pt x="4072" y="1403"/>
                    </a:lnTo>
                    <a:lnTo>
                      <a:pt x="4084" y="1411"/>
                    </a:lnTo>
                    <a:lnTo>
                      <a:pt x="4092" y="1406"/>
                    </a:lnTo>
                    <a:lnTo>
                      <a:pt x="4099" y="1401"/>
                    </a:lnTo>
                    <a:lnTo>
                      <a:pt x="4104" y="1397"/>
                    </a:lnTo>
                    <a:lnTo>
                      <a:pt x="4109" y="1392"/>
                    </a:lnTo>
                    <a:lnTo>
                      <a:pt x="4112" y="1386"/>
                    </a:lnTo>
                    <a:lnTo>
                      <a:pt x="4116" y="1380"/>
                    </a:lnTo>
                    <a:lnTo>
                      <a:pt x="4120" y="1371"/>
                    </a:lnTo>
                    <a:lnTo>
                      <a:pt x="4122" y="1363"/>
                    </a:lnTo>
                    <a:lnTo>
                      <a:pt x="4126" y="1352"/>
                    </a:lnTo>
                    <a:lnTo>
                      <a:pt x="4129" y="1342"/>
                    </a:lnTo>
                    <a:lnTo>
                      <a:pt x="4134" y="1332"/>
                    </a:lnTo>
                    <a:lnTo>
                      <a:pt x="4141" y="1322"/>
                    </a:lnTo>
                    <a:lnTo>
                      <a:pt x="4145" y="1313"/>
                    </a:lnTo>
                    <a:lnTo>
                      <a:pt x="4150" y="1304"/>
                    </a:lnTo>
                    <a:lnTo>
                      <a:pt x="4153" y="1294"/>
                    </a:lnTo>
                    <a:lnTo>
                      <a:pt x="4155" y="1285"/>
                    </a:lnTo>
                    <a:lnTo>
                      <a:pt x="4167" y="1262"/>
                    </a:lnTo>
                    <a:lnTo>
                      <a:pt x="4186" y="1231"/>
                    </a:lnTo>
                    <a:lnTo>
                      <a:pt x="4192" y="1223"/>
                    </a:lnTo>
                    <a:lnTo>
                      <a:pt x="4197" y="1217"/>
                    </a:lnTo>
                    <a:lnTo>
                      <a:pt x="4203" y="1211"/>
                    </a:lnTo>
                    <a:lnTo>
                      <a:pt x="4209" y="1206"/>
                    </a:lnTo>
                    <a:lnTo>
                      <a:pt x="4214" y="1202"/>
                    </a:lnTo>
                    <a:lnTo>
                      <a:pt x="4220" y="1201"/>
                    </a:lnTo>
                    <a:lnTo>
                      <a:pt x="4225" y="1201"/>
                    </a:lnTo>
                    <a:lnTo>
                      <a:pt x="4231" y="1204"/>
                    </a:lnTo>
                    <a:lnTo>
                      <a:pt x="4235" y="1210"/>
                    </a:lnTo>
                    <a:lnTo>
                      <a:pt x="4243" y="1225"/>
                    </a:lnTo>
                    <a:lnTo>
                      <a:pt x="4256" y="1244"/>
                    </a:lnTo>
                    <a:lnTo>
                      <a:pt x="4270" y="1265"/>
                    </a:lnTo>
                    <a:lnTo>
                      <a:pt x="4278" y="1275"/>
                    </a:lnTo>
                    <a:lnTo>
                      <a:pt x="4285" y="1283"/>
                    </a:lnTo>
                    <a:lnTo>
                      <a:pt x="4291" y="1291"/>
                    </a:lnTo>
                    <a:lnTo>
                      <a:pt x="4297" y="1294"/>
                    </a:lnTo>
                    <a:lnTo>
                      <a:pt x="4300" y="1296"/>
                    </a:lnTo>
                    <a:lnTo>
                      <a:pt x="4302" y="1297"/>
                    </a:lnTo>
                    <a:lnTo>
                      <a:pt x="4305" y="1297"/>
                    </a:lnTo>
                    <a:lnTo>
                      <a:pt x="4306" y="1296"/>
                    </a:lnTo>
                    <a:lnTo>
                      <a:pt x="4307" y="1293"/>
                    </a:lnTo>
                    <a:lnTo>
                      <a:pt x="4308" y="1291"/>
                    </a:lnTo>
                    <a:lnTo>
                      <a:pt x="4309" y="1287"/>
                    </a:lnTo>
                    <a:lnTo>
                      <a:pt x="4309" y="1281"/>
                    </a:lnTo>
                    <a:lnTo>
                      <a:pt x="4308" y="1271"/>
                    </a:lnTo>
                    <a:lnTo>
                      <a:pt x="4307" y="1259"/>
                    </a:lnTo>
                    <a:lnTo>
                      <a:pt x="4305" y="1248"/>
                    </a:lnTo>
                    <a:lnTo>
                      <a:pt x="4301" y="1236"/>
                    </a:lnTo>
                    <a:lnTo>
                      <a:pt x="4295" y="1212"/>
                    </a:lnTo>
                    <a:lnTo>
                      <a:pt x="4290" y="1190"/>
                    </a:lnTo>
                    <a:lnTo>
                      <a:pt x="4282" y="1162"/>
                    </a:lnTo>
                    <a:lnTo>
                      <a:pt x="4276" y="1135"/>
                    </a:lnTo>
                    <a:lnTo>
                      <a:pt x="4276" y="1129"/>
                    </a:lnTo>
                    <a:lnTo>
                      <a:pt x="4278" y="1123"/>
                    </a:lnTo>
                    <a:lnTo>
                      <a:pt x="4279" y="1117"/>
                    </a:lnTo>
                    <a:lnTo>
                      <a:pt x="4282" y="1113"/>
                    </a:lnTo>
                    <a:lnTo>
                      <a:pt x="4287" y="1108"/>
                    </a:lnTo>
                    <a:lnTo>
                      <a:pt x="4294" y="1105"/>
                    </a:lnTo>
                    <a:lnTo>
                      <a:pt x="4301" y="1102"/>
                    </a:lnTo>
                    <a:lnTo>
                      <a:pt x="4311" y="1101"/>
                    </a:lnTo>
                    <a:lnTo>
                      <a:pt x="4318" y="1100"/>
                    </a:lnTo>
                    <a:lnTo>
                      <a:pt x="4324" y="1097"/>
                    </a:lnTo>
                    <a:lnTo>
                      <a:pt x="4329" y="1095"/>
                    </a:lnTo>
                    <a:lnTo>
                      <a:pt x="4334" y="1091"/>
                    </a:lnTo>
                    <a:lnTo>
                      <a:pt x="4338" y="1087"/>
                    </a:lnTo>
                    <a:lnTo>
                      <a:pt x="4340" y="1084"/>
                    </a:lnTo>
                    <a:lnTo>
                      <a:pt x="4342" y="1079"/>
                    </a:lnTo>
                    <a:lnTo>
                      <a:pt x="4344" y="1073"/>
                    </a:lnTo>
                    <a:lnTo>
                      <a:pt x="4349" y="1047"/>
                    </a:lnTo>
                    <a:lnTo>
                      <a:pt x="4355" y="1016"/>
                    </a:lnTo>
                    <a:lnTo>
                      <a:pt x="4355" y="1011"/>
                    </a:lnTo>
                    <a:lnTo>
                      <a:pt x="4352" y="1004"/>
                    </a:lnTo>
                    <a:lnTo>
                      <a:pt x="4349" y="998"/>
                    </a:lnTo>
                    <a:lnTo>
                      <a:pt x="4344" y="991"/>
                    </a:lnTo>
                    <a:lnTo>
                      <a:pt x="4329" y="975"/>
                    </a:lnTo>
                    <a:lnTo>
                      <a:pt x="4311" y="959"/>
                    </a:lnTo>
                    <a:lnTo>
                      <a:pt x="4291" y="944"/>
                    </a:lnTo>
                    <a:lnTo>
                      <a:pt x="4273" y="932"/>
                    </a:lnTo>
                    <a:lnTo>
                      <a:pt x="4263" y="927"/>
                    </a:lnTo>
                    <a:lnTo>
                      <a:pt x="4256" y="923"/>
                    </a:lnTo>
                    <a:lnTo>
                      <a:pt x="4248" y="921"/>
                    </a:lnTo>
                    <a:lnTo>
                      <a:pt x="4243" y="918"/>
                    </a:lnTo>
                    <a:lnTo>
                      <a:pt x="4236" y="918"/>
                    </a:lnTo>
                    <a:lnTo>
                      <a:pt x="4227" y="920"/>
                    </a:lnTo>
                    <a:lnTo>
                      <a:pt x="4220" y="921"/>
                    </a:lnTo>
                    <a:lnTo>
                      <a:pt x="4211" y="923"/>
                    </a:lnTo>
                    <a:lnTo>
                      <a:pt x="4193" y="929"/>
                    </a:lnTo>
                    <a:lnTo>
                      <a:pt x="4176" y="936"/>
                    </a:lnTo>
                    <a:lnTo>
                      <a:pt x="4159" y="942"/>
                    </a:lnTo>
                    <a:lnTo>
                      <a:pt x="4143" y="947"/>
                    </a:lnTo>
                    <a:lnTo>
                      <a:pt x="4136" y="948"/>
                    </a:lnTo>
                    <a:lnTo>
                      <a:pt x="4129" y="948"/>
                    </a:lnTo>
                    <a:lnTo>
                      <a:pt x="4123" y="947"/>
                    </a:lnTo>
                    <a:lnTo>
                      <a:pt x="4118" y="944"/>
                    </a:lnTo>
                    <a:lnTo>
                      <a:pt x="4112" y="940"/>
                    </a:lnTo>
                    <a:lnTo>
                      <a:pt x="4107" y="934"/>
                    </a:lnTo>
                    <a:lnTo>
                      <a:pt x="4104" y="927"/>
                    </a:lnTo>
                    <a:lnTo>
                      <a:pt x="4101" y="920"/>
                    </a:lnTo>
                    <a:lnTo>
                      <a:pt x="4098" y="903"/>
                    </a:lnTo>
                    <a:lnTo>
                      <a:pt x="4096" y="884"/>
                    </a:lnTo>
                    <a:lnTo>
                      <a:pt x="4095" y="867"/>
                    </a:lnTo>
                    <a:lnTo>
                      <a:pt x="4093" y="851"/>
                    </a:lnTo>
                    <a:lnTo>
                      <a:pt x="4092" y="845"/>
                    </a:lnTo>
                    <a:lnTo>
                      <a:pt x="4089" y="839"/>
                    </a:lnTo>
                    <a:lnTo>
                      <a:pt x="4085" y="834"/>
                    </a:lnTo>
                    <a:lnTo>
                      <a:pt x="4082" y="832"/>
                    </a:lnTo>
                    <a:lnTo>
                      <a:pt x="4056" y="818"/>
                    </a:lnTo>
                    <a:lnTo>
                      <a:pt x="4018" y="801"/>
                    </a:lnTo>
                    <a:lnTo>
                      <a:pt x="4000" y="794"/>
                    </a:lnTo>
                    <a:lnTo>
                      <a:pt x="3983" y="787"/>
                    </a:lnTo>
                    <a:lnTo>
                      <a:pt x="3976" y="785"/>
                    </a:lnTo>
                    <a:lnTo>
                      <a:pt x="3970" y="784"/>
                    </a:lnTo>
                    <a:lnTo>
                      <a:pt x="3965" y="784"/>
                    </a:lnTo>
                    <a:lnTo>
                      <a:pt x="3963" y="784"/>
                    </a:lnTo>
                    <a:lnTo>
                      <a:pt x="3952" y="792"/>
                    </a:lnTo>
                    <a:lnTo>
                      <a:pt x="3943" y="801"/>
                    </a:lnTo>
                    <a:lnTo>
                      <a:pt x="3936" y="811"/>
                    </a:lnTo>
                    <a:lnTo>
                      <a:pt x="3929" y="820"/>
                    </a:lnTo>
                    <a:lnTo>
                      <a:pt x="3918" y="838"/>
                    </a:lnTo>
                    <a:lnTo>
                      <a:pt x="3907" y="854"/>
                    </a:lnTo>
                    <a:lnTo>
                      <a:pt x="3901" y="861"/>
                    </a:lnTo>
                    <a:lnTo>
                      <a:pt x="3894" y="866"/>
                    </a:lnTo>
                    <a:lnTo>
                      <a:pt x="3886" y="869"/>
                    </a:lnTo>
                    <a:lnTo>
                      <a:pt x="3877" y="872"/>
                    </a:lnTo>
                    <a:lnTo>
                      <a:pt x="3866" y="872"/>
                    </a:lnTo>
                    <a:lnTo>
                      <a:pt x="3854" y="869"/>
                    </a:lnTo>
                    <a:lnTo>
                      <a:pt x="3839" y="865"/>
                    </a:lnTo>
                    <a:lnTo>
                      <a:pt x="3823" y="857"/>
                    </a:lnTo>
                    <a:lnTo>
                      <a:pt x="3812" y="852"/>
                    </a:lnTo>
                    <a:lnTo>
                      <a:pt x="3803" y="845"/>
                    </a:lnTo>
                    <a:lnTo>
                      <a:pt x="3795" y="838"/>
                    </a:lnTo>
                    <a:lnTo>
                      <a:pt x="3788" y="828"/>
                    </a:lnTo>
                    <a:lnTo>
                      <a:pt x="3776" y="809"/>
                    </a:lnTo>
                    <a:lnTo>
                      <a:pt x="3766" y="787"/>
                    </a:lnTo>
                    <a:lnTo>
                      <a:pt x="3756" y="767"/>
                    </a:lnTo>
                    <a:lnTo>
                      <a:pt x="3745" y="745"/>
                    </a:lnTo>
                    <a:lnTo>
                      <a:pt x="3739" y="735"/>
                    </a:lnTo>
                    <a:lnTo>
                      <a:pt x="3732" y="725"/>
                    </a:lnTo>
                    <a:lnTo>
                      <a:pt x="3723" y="716"/>
                    </a:lnTo>
                    <a:lnTo>
                      <a:pt x="3713" y="708"/>
                    </a:lnTo>
                    <a:lnTo>
                      <a:pt x="3706" y="703"/>
                    </a:lnTo>
                    <a:lnTo>
                      <a:pt x="3699" y="701"/>
                    </a:lnTo>
                    <a:lnTo>
                      <a:pt x="3691" y="698"/>
                    </a:lnTo>
                    <a:lnTo>
                      <a:pt x="3684" y="697"/>
                    </a:lnTo>
                    <a:lnTo>
                      <a:pt x="3668" y="697"/>
                    </a:lnTo>
                    <a:lnTo>
                      <a:pt x="3652" y="699"/>
                    </a:lnTo>
                    <a:lnTo>
                      <a:pt x="3637" y="701"/>
                    </a:lnTo>
                    <a:lnTo>
                      <a:pt x="3622" y="699"/>
                    </a:lnTo>
                    <a:lnTo>
                      <a:pt x="3614" y="698"/>
                    </a:lnTo>
                    <a:lnTo>
                      <a:pt x="3607" y="696"/>
                    </a:lnTo>
                    <a:lnTo>
                      <a:pt x="3601" y="692"/>
                    </a:lnTo>
                    <a:lnTo>
                      <a:pt x="3595" y="686"/>
                    </a:lnTo>
                    <a:lnTo>
                      <a:pt x="3579" y="669"/>
                    </a:lnTo>
                    <a:lnTo>
                      <a:pt x="3564" y="649"/>
                    </a:lnTo>
                    <a:lnTo>
                      <a:pt x="3557" y="639"/>
                    </a:lnTo>
                    <a:lnTo>
                      <a:pt x="3551" y="628"/>
                    </a:lnTo>
                    <a:lnTo>
                      <a:pt x="3546" y="617"/>
                    </a:lnTo>
                    <a:lnTo>
                      <a:pt x="3542" y="606"/>
                    </a:lnTo>
                    <a:lnTo>
                      <a:pt x="3538" y="592"/>
                    </a:lnTo>
                    <a:lnTo>
                      <a:pt x="3537" y="578"/>
                    </a:lnTo>
                    <a:lnTo>
                      <a:pt x="3536" y="565"/>
                    </a:lnTo>
                    <a:lnTo>
                      <a:pt x="3536" y="551"/>
                    </a:lnTo>
                    <a:lnTo>
                      <a:pt x="3537" y="528"/>
                    </a:lnTo>
                    <a:lnTo>
                      <a:pt x="3537" y="506"/>
                    </a:lnTo>
                    <a:lnTo>
                      <a:pt x="3536" y="496"/>
                    </a:lnTo>
                    <a:lnTo>
                      <a:pt x="3533" y="486"/>
                    </a:lnTo>
                    <a:lnTo>
                      <a:pt x="3530" y="478"/>
                    </a:lnTo>
                    <a:lnTo>
                      <a:pt x="3524" y="469"/>
                    </a:lnTo>
                    <a:lnTo>
                      <a:pt x="3515" y="462"/>
                    </a:lnTo>
                    <a:lnTo>
                      <a:pt x="3504" y="453"/>
                    </a:lnTo>
                    <a:lnTo>
                      <a:pt x="3489" y="446"/>
                    </a:lnTo>
                    <a:lnTo>
                      <a:pt x="3471" y="440"/>
                    </a:lnTo>
                    <a:lnTo>
                      <a:pt x="3317" y="387"/>
                    </a:lnTo>
                    <a:lnTo>
                      <a:pt x="3293" y="380"/>
                    </a:lnTo>
                    <a:lnTo>
                      <a:pt x="3270" y="375"/>
                    </a:lnTo>
                    <a:lnTo>
                      <a:pt x="3245" y="370"/>
                    </a:lnTo>
                    <a:lnTo>
                      <a:pt x="3220" y="367"/>
                    </a:lnTo>
                    <a:lnTo>
                      <a:pt x="3207" y="367"/>
                    </a:lnTo>
                    <a:lnTo>
                      <a:pt x="3194" y="367"/>
                    </a:lnTo>
                    <a:lnTo>
                      <a:pt x="3182" y="369"/>
                    </a:lnTo>
                    <a:lnTo>
                      <a:pt x="3170" y="370"/>
                    </a:lnTo>
                    <a:lnTo>
                      <a:pt x="3158" y="372"/>
                    </a:lnTo>
                    <a:lnTo>
                      <a:pt x="3147" y="376"/>
                    </a:lnTo>
                    <a:lnTo>
                      <a:pt x="3134" y="381"/>
                    </a:lnTo>
                    <a:lnTo>
                      <a:pt x="3123" y="386"/>
                    </a:lnTo>
                    <a:lnTo>
                      <a:pt x="3110" y="388"/>
                    </a:lnTo>
                    <a:lnTo>
                      <a:pt x="3096" y="390"/>
                    </a:lnTo>
                    <a:lnTo>
                      <a:pt x="3083" y="391"/>
                    </a:lnTo>
                    <a:lnTo>
                      <a:pt x="3068" y="391"/>
                    </a:lnTo>
                    <a:lnTo>
                      <a:pt x="3055" y="391"/>
                    </a:lnTo>
                    <a:lnTo>
                      <a:pt x="3041" y="391"/>
                    </a:lnTo>
                    <a:lnTo>
                      <a:pt x="3029" y="392"/>
                    </a:lnTo>
                    <a:lnTo>
                      <a:pt x="3016" y="394"/>
                    </a:lnTo>
                    <a:lnTo>
                      <a:pt x="3006" y="398"/>
                    </a:lnTo>
                    <a:lnTo>
                      <a:pt x="2996" y="403"/>
                    </a:lnTo>
                    <a:lnTo>
                      <a:pt x="2985" y="410"/>
                    </a:lnTo>
                    <a:lnTo>
                      <a:pt x="2974" y="416"/>
                    </a:lnTo>
                    <a:lnTo>
                      <a:pt x="2963" y="421"/>
                    </a:lnTo>
                    <a:lnTo>
                      <a:pt x="2952" y="425"/>
                    </a:lnTo>
                    <a:lnTo>
                      <a:pt x="2946" y="425"/>
                    </a:lnTo>
                    <a:lnTo>
                      <a:pt x="2941" y="425"/>
                    </a:lnTo>
                    <a:lnTo>
                      <a:pt x="2936" y="424"/>
                    </a:lnTo>
                    <a:lnTo>
                      <a:pt x="2930" y="421"/>
                    </a:lnTo>
                    <a:lnTo>
                      <a:pt x="2923" y="415"/>
                    </a:lnTo>
                    <a:lnTo>
                      <a:pt x="2917" y="408"/>
                    </a:lnTo>
                    <a:lnTo>
                      <a:pt x="2914" y="401"/>
                    </a:lnTo>
                    <a:lnTo>
                      <a:pt x="2912" y="392"/>
                    </a:lnTo>
                    <a:lnTo>
                      <a:pt x="2912" y="374"/>
                    </a:lnTo>
                    <a:lnTo>
                      <a:pt x="2913" y="354"/>
                    </a:lnTo>
                    <a:lnTo>
                      <a:pt x="2913" y="344"/>
                    </a:lnTo>
                    <a:lnTo>
                      <a:pt x="2913" y="334"/>
                    </a:lnTo>
                    <a:lnTo>
                      <a:pt x="2910" y="325"/>
                    </a:lnTo>
                    <a:lnTo>
                      <a:pt x="2905" y="315"/>
                    </a:lnTo>
                    <a:lnTo>
                      <a:pt x="2899" y="305"/>
                    </a:lnTo>
                    <a:lnTo>
                      <a:pt x="2890" y="296"/>
                    </a:lnTo>
                    <a:lnTo>
                      <a:pt x="2877" y="288"/>
                    </a:lnTo>
                    <a:lnTo>
                      <a:pt x="2860" y="279"/>
                    </a:lnTo>
                    <a:lnTo>
                      <a:pt x="2846" y="272"/>
                    </a:lnTo>
                    <a:lnTo>
                      <a:pt x="2832" y="263"/>
                    </a:lnTo>
                    <a:lnTo>
                      <a:pt x="2821" y="254"/>
                    </a:lnTo>
                    <a:lnTo>
                      <a:pt x="2811" y="244"/>
                    </a:lnTo>
                    <a:lnTo>
                      <a:pt x="2801" y="234"/>
                    </a:lnTo>
                    <a:lnTo>
                      <a:pt x="2792" y="225"/>
                    </a:lnTo>
                    <a:lnTo>
                      <a:pt x="2781" y="217"/>
                    </a:lnTo>
                    <a:lnTo>
                      <a:pt x="2770" y="211"/>
                    </a:lnTo>
                    <a:lnTo>
                      <a:pt x="2756" y="206"/>
                    </a:lnTo>
                    <a:lnTo>
                      <a:pt x="2743" y="203"/>
                    </a:lnTo>
                    <a:lnTo>
                      <a:pt x="2729" y="202"/>
                    </a:lnTo>
                    <a:lnTo>
                      <a:pt x="2717" y="203"/>
                    </a:lnTo>
                    <a:lnTo>
                      <a:pt x="2705" y="206"/>
                    </a:lnTo>
                    <a:lnTo>
                      <a:pt x="2693" y="208"/>
                    </a:lnTo>
                    <a:lnTo>
                      <a:pt x="2680" y="212"/>
                    </a:lnTo>
                    <a:lnTo>
                      <a:pt x="2669" y="216"/>
                    </a:lnTo>
                    <a:lnTo>
                      <a:pt x="2646" y="224"/>
                    </a:lnTo>
                    <a:lnTo>
                      <a:pt x="2624" y="230"/>
                    </a:lnTo>
                    <a:lnTo>
                      <a:pt x="2613" y="233"/>
                    </a:lnTo>
                    <a:lnTo>
                      <a:pt x="2602" y="234"/>
                    </a:lnTo>
                    <a:lnTo>
                      <a:pt x="2591" y="233"/>
                    </a:lnTo>
                    <a:lnTo>
                      <a:pt x="2580" y="230"/>
                    </a:lnTo>
                    <a:lnTo>
                      <a:pt x="2571" y="227"/>
                    </a:lnTo>
                    <a:lnTo>
                      <a:pt x="2560" y="221"/>
                    </a:lnTo>
                    <a:lnTo>
                      <a:pt x="2549" y="213"/>
                    </a:lnTo>
                    <a:lnTo>
                      <a:pt x="2538" y="206"/>
                    </a:lnTo>
                    <a:lnTo>
                      <a:pt x="2528" y="197"/>
                    </a:lnTo>
                    <a:lnTo>
                      <a:pt x="2519" y="191"/>
                    </a:lnTo>
                    <a:lnTo>
                      <a:pt x="2510" y="188"/>
                    </a:lnTo>
                    <a:lnTo>
                      <a:pt x="2503" y="185"/>
                    </a:lnTo>
                    <a:lnTo>
                      <a:pt x="2498" y="186"/>
                    </a:lnTo>
                    <a:lnTo>
                      <a:pt x="2494" y="189"/>
                    </a:lnTo>
                    <a:lnTo>
                      <a:pt x="2492" y="192"/>
                    </a:lnTo>
                    <a:lnTo>
                      <a:pt x="2488" y="197"/>
                    </a:lnTo>
                    <a:lnTo>
                      <a:pt x="2482" y="208"/>
                    </a:lnTo>
                    <a:lnTo>
                      <a:pt x="2477" y="223"/>
                    </a:lnTo>
                    <a:lnTo>
                      <a:pt x="2469" y="252"/>
                    </a:lnTo>
                    <a:lnTo>
                      <a:pt x="2462" y="273"/>
                    </a:lnTo>
                    <a:lnTo>
                      <a:pt x="2461" y="279"/>
                    </a:lnTo>
                    <a:lnTo>
                      <a:pt x="2460" y="284"/>
                    </a:lnTo>
                    <a:lnTo>
                      <a:pt x="2460" y="290"/>
                    </a:lnTo>
                    <a:lnTo>
                      <a:pt x="2460" y="298"/>
                    </a:lnTo>
                    <a:lnTo>
                      <a:pt x="2462" y="310"/>
                    </a:lnTo>
                    <a:lnTo>
                      <a:pt x="2466" y="323"/>
                    </a:lnTo>
                    <a:lnTo>
                      <a:pt x="2467" y="336"/>
                    </a:lnTo>
                    <a:lnTo>
                      <a:pt x="2467" y="347"/>
                    </a:lnTo>
                    <a:lnTo>
                      <a:pt x="2466" y="350"/>
                    </a:lnTo>
                    <a:lnTo>
                      <a:pt x="2464" y="354"/>
                    </a:lnTo>
                    <a:lnTo>
                      <a:pt x="2459" y="358"/>
                    </a:lnTo>
                    <a:lnTo>
                      <a:pt x="2454" y="360"/>
                    </a:lnTo>
                    <a:lnTo>
                      <a:pt x="2449" y="361"/>
                    </a:lnTo>
                    <a:lnTo>
                      <a:pt x="2443" y="361"/>
                    </a:lnTo>
                    <a:lnTo>
                      <a:pt x="2437" y="360"/>
                    </a:lnTo>
                    <a:lnTo>
                      <a:pt x="2429" y="359"/>
                    </a:lnTo>
                    <a:lnTo>
                      <a:pt x="2415" y="354"/>
                    </a:lnTo>
                    <a:lnTo>
                      <a:pt x="2399" y="348"/>
                    </a:lnTo>
                    <a:lnTo>
                      <a:pt x="2384" y="344"/>
                    </a:lnTo>
                    <a:lnTo>
                      <a:pt x="2371" y="341"/>
                    </a:lnTo>
                    <a:lnTo>
                      <a:pt x="2366" y="341"/>
                    </a:lnTo>
                    <a:lnTo>
                      <a:pt x="2361" y="341"/>
                    </a:lnTo>
                    <a:lnTo>
                      <a:pt x="2356" y="342"/>
                    </a:lnTo>
                    <a:lnTo>
                      <a:pt x="2352" y="345"/>
                    </a:lnTo>
                    <a:lnTo>
                      <a:pt x="2344" y="344"/>
                    </a:lnTo>
                    <a:lnTo>
                      <a:pt x="2334" y="342"/>
                    </a:lnTo>
                    <a:lnTo>
                      <a:pt x="2325" y="339"/>
                    </a:lnTo>
                    <a:lnTo>
                      <a:pt x="2316" y="336"/>
                    </a:lnTo>
                    <a:lnTo>
                      <a:pt x="2298" y="327"/>
                    </a:lnTo>
                    <a:lnTo>
                      <a:pt x="2281" y="319"/>
                    </a:lnTo>
                    <a:lnTo>
                      <a:pt x="2263" y="310"/>
                    </a:lnTo>
                    <a:lnTo>
                      <a:pt x="2245" y="304"/>
                    </a:lnTo>
                    <a:lnTo>
                      <a:pt x="2235" y="301"/>
                    </a:lnTo>
                    <a:lnTo>
                      <a:pt x="2225" y="301"/>
                    </a:lnTo>
                    <a:lnTo>
                      <a:pt x="2215" y="301"/>
                    </a:lnTo>
                    <a:lnTo>
                      <a:pt x="2204" y="303"/>
                    </a:lnTo>
                    <a:lnTo>
                      <a:pt x="2182" y="309"/>
                    </a:lnTo>
                    <a:lnTo>
                      <a:pt x="2163" y="316"/>
                    </a:lnTo>
                    <a:lnTo>
                      <a:pt x="2142" y="325"/>
                    </a:lnTo>
                    <a:lnTo>
                      <a:pt x="2122" y="332"/>
                    </a:lnTo>
                    <a:lnTo>
                      <a:pt x="2112" y="334"/>
                    </a:lnTo>
                    <a:lnTo>
                      <a:pt x="2103" y="336"/>
                    </a:lnTo>
                    <a:lnTo>
                      <a:pt x="2094" y="337"/>
                    </a:lnTo>
                    <a:lnTo>
                      <a:pt x="2084" y="336"/>
                    </a:lnTo>
                    <a:lnTo>
                      <a:pt x="2074" y="334"/>
                    </a:lnTo>
                    <a:lnTo>
                      <a:pt x="2065" y="331"/>
                    </a:lnTo>
                    <a:lnTo>
                      <a:pt x="2054" y="325"/>
                    </a:lnTo>
                    <a:lnTo>
                      <a:pt x="2044" y="317"/>
                    </a:lnTo>
                    <a:lnTo>
                      <a:pt x="2030" y="307"/>
                    </a:lnTo>
                    <a:lnTo>
                      <a:pt x="2016" y="300"/>
                    </a:lnTo>
                    <a:lnTo>
                      <a:pt x="2002" y="294"/>
                    </a:lnTo>
                    <a:lnTo>
                      <a:pt x="1989" y="289"/>
                    </a:lnTo>
                    <a:lnTo>
                      <a:pt x="1975" y="285"/>
                    </a:lnTo>
                    <a:lnTo>
                      <a:pt x="1962" y="282"/>
                    </a:lnTo>
                    <a:lnTo>
                      <a:pt x="1948" y="277"/>
                    </a:lnTo>
                    <a:lnTo>
                      <a:pt x="1932" y="270"/>
                    </a:lnTo>
                    <a:lnTo>
                      <a:pt x="1920" y="263"/>
                    </a:lnTo>
                    <a:lnTo>
                      <a:pt x="1910" y="257"/>
                    </a:lnTo>
                    <a:lnTo>
                      <a:pt x="1903" y="251"/>
                    </a:lnTo>
                    <a:lnTo>
                      <a:pt x="1898" y="246"/>
                    </a:lnTo>
                    <a:lnTo>
                      <a:pt x="1896" y="243"/>
                    </a:lnTo>
                    <a:lnTo>
                      <a:pt x="1896" y="239"/>
                    </a:lnTo>
                    <a:lnTo>
                      <a:pt x="1897" y="235"/>
                    </a:lnTo>
                    <a:lnTo>
                      <a:pt x="1901" y="232"/>
                    </a:lnTo>
                    <a:lnTo>
                      <a:pt x="1910" y="227"/>
                    </a:lnTo>
                    <a:lnTo>
                      <a:pt x="1926" y="222"/>
                    </a:lnTo>
                    <a:lnTo>
                      <a:pt x="1945" y="218"/>
                    </a:lnTo>
                    <a:lnTo>
                      <a:pt x="1965" y="214"/>
                    </a:lnTo>
                    <a:lnTo>
                      <a:pt x="2038" y="200"/>
                    </a:lnTo>
                    <a:lnTo>
                      <a:pt x="2044" y="190"/>
                    </a:lnTo>
                    <a:lnTo>
                      <a:pt x="2050" y="179"/>
                    </a:lnTo>
                    <a:lnTo>
                      <a:pt x="2056" y="167"/>
                    </a:lnTo>
                    <a:lnTo>
                      <a:pt x="2061" y="154"/>
                    </a:lnTo>
                    <a:lnTo>
                      <a:pt x="2062" y="148"/>
                    </a:lnTo>
                    <a:lnTo>
                      <a:pt x="2062" y="142"/>
                    </a:lnTo>
                    <a:lnTo>
                      <a:pt x="2062" y="137"/>
                    </a:lnTo>
                    <a:lnTo>
                      <a:pt x="2061" y="131"/>
                    </a:lnTo>
                    <a:lnTo>
                      <a:pt x="2058" y="126"/>
                    </a:lnTo>
                    <a:lnTo>
                      <a:pt x="2055" y="123"/>
                    </a:lnTo>
                    <a:lnTo>
                      <a:pt x="2050" y="118"/>
                    </a:lnTo>
                    <a:lnTo>
                      <a:pt x="2044" y="115"/>
                    </a:lnTo>
                    <a:lnTo>
                      <a:pt x="1908" y="57"/>
                    </a:lnTo>
                    <a:lnTo>
                      <a:pt x="1886" y="48"/>
                    </a:lnTo>
                    <a:lnTo>
                      <a:pt x="1863" y="42"/>
                    </a:lnTo>
                    <a:lnTo>
                      <a:pt x="1841" y="37"/>
                    </a:lnTo>
                    <a:lnTo>
                      <a:pt x="1817" y="33"/>
                    </a:lnTo>
                    <a:lnTo>
                      <a:pt x="1772" y="28"/>
                    </a:lnTo>
                    <a:lnTo>
                      <a:pt x="1724" y="26"/>
                    </a:lnTo>
                    <a:lnTo>
                      <a:pt x="1679" y="23"/>
                    </a:lnTo>
                    <a:lnTo>
                      <a:pt x="1633" y="20"/>
                    </a:lnTo>
                    <a:lnTo>
                      <a:pt x="1610" y="17"/>
                    </a:lnTo>
                    <a:lnTo>
                      <a:pt x="1588" y="14"/>
                    </a:lnTo>
                    <a:lnTo>
                      <a:pt x="1568" y="8"/>
                    </a:lnTo>
                    <a:lnTo>
                      <a:pt x="1547" y="0"/>
                    </a:lnTo>
                    <a:lnTo>
                      <a:pt x="1537" y="6"/>
                    </a:lnTo>
                    <a:lnTo>
                      <a:pt x="1528" y="12"/>
                    </a:lnTo>
                    <a:lnTo>
                      <a:pt x="1520" y="21"/>
                    </a:lnTo>
                    <a:lnTo>
                      <a:pt x="1514" y="31"/>
                    </a:lnTo>
                    <a:lnTo>
                      <a:pt x="1506" y="41"/>
                    </a:lnTo>
                    <a:lnTo>
                      <a:pt x="1502" y="53"/>
                    </a:lnTo>
                    <a:lnTo>
                      <a:pt x="1497" y="64"/>
                    </a:lnTo>
                    <a:lnTo>
                      <a:pt x="1494" y="76"/>
                    </a:lnTo>
                    <a:lnTo>
                      <a:pt x="1493" y="88"/>
                    </a:lnTo>
                    <a:lnTo>
                      <a:pt x="1492" y="101"/>
                    </a:lnTo>
                    <a:lnTo>
                      <a:pt x="1494" y="112"/>
                    </a:lnTo>
                    <a:lnTo>
                      <a:pt x="1497" y="123"/>
                    </a:lnTo>
                    <a:lnTo>
                      <a:pt x="1502" y="131"/>
                    </a:lnTo>
                    <a:lnTo>
                      <a:pt x="1509" y="140"/>
                    </a:lnTo>
                    <a:lnTo>
                      <a:pt x="1514" y="143"/>
                    </a:lnTo>
                    <a:lnTo>
                      <a:pt x="1519" y="146"/>
                    </a:lnTo>
                    <a:lnTo>
                      <a:pt x="1524" y="150"/>
                    </a:lnTo>
                    <a:lnTo>
                      <a:pt x="1530" y="151"/>
                    </a:lnTo>
                    <a:lnTo>
                      <a:pt x="1705" y="205"/>
                    </a:lnTo>
                    <a:lnTo>
                      <a:pt x="1708" y="212"/>
                    </a:lnTo>
                    <a:lnTo>
                      <a:pt x="1718" y="230"/>
                    </a:lnTo>
                    <a:lnTo>
                      <a:pt x="1727" y="248"/>
                    </a:lnTo>
                    <a:lnTo>
                      <a:pt x="1734" y="263"/>
                    </a:lnTo>
                    <a:lnTo>
                      <a:pt x="1740" y="279"/>
                    </a:lnTo>
                    <a:lnTo>
                      <a:pt x="1744" y="295"/>
                    </a:lnTo>
                    <a:lnTo>
                      <a:pt x="1746" y="312"/>
                    </a:lnTo>
                    <a:lnTo>
                      <a:pt x="1746" y="331"/>
                    </a:lnTo>
                    <a:lnTo>
                      <a:pt x="1744" y="350"/>
                    </a:lnTo>
                    <a:lnTo>
                      <a:pt x="1740" y="392"/>
                    </a:lnTo>
                    <a:lnTo>
                      <a:pt x="1738" y="429"/>
                    </a:lnTo>
                    <a:lnTo>
                      <a:pt x="1735" y="446"/>
                    </a:lnTo>
                    <a:lnTo>
                      <a:pt x="1730" y="463"/>
                    </a:lnTo>
                    <a:lnTo>
                      <a:pt x="1727" y="472"/>
                    </a:lnTo>
                    <a:lnTo>
                      <a:pt x="1723" y="480"/>
                    </a:lnTo>
                    <a:lnTo>
                      <a:pt x="1717" y="489"/>
                    </a:lnTo>
                    <a:lnTo>
                      <a:pt x="1711" y="497"/>
                    </a:lnTo>
                    <a:lnTo>
                      <a:pt x="1694" y="523"/>
                    </a:lnTo>
                    <a:lnTo>
                      <a:pt x="1677" y="550"/>
                    </a:lnTo>
                    <a:lnTo>
                      <a:pt x="1672" y="556"/>
                    </a:lnTo>
                    <a:lnTo>
                      <a:pt x="1667" y="562"/>
                    </a:lnTo>
                    <a:lnTo>
                      <a:pt x="1662" y="567"/>
                    </a:lnTo>
                    <a:lnTo>
                      <a:pt x="1656" y="571"/>
                    </a:lnTo>
                    <a:lnTo>
                      <a:pt x="1648" y="574"/>
                    </a:lnTo>
                    <a:lnTo>
                      <a:pt x="1641" y="576"/>
                    </a:lnTo>
                    <a:lnTo>
                      <a:pt x="1634" y="577"/>
                    </a:lnTo>
                    <a:lnTo>
                      <a:pt x="1625" y="577"/>
                    </a:lnTo>
                    <a:lnTo>
                      <a:pt x="1615" y="574"/>
                    </a:lnTo>
                    <a:lnTo>
                      <a:pt x="1607" y="571"/>
                    </a:lnTo>
                    <a:lnTo>
                      <a:pt x="1601" y="566"/>
                    </a:lnTo>
                    <a:lnTo>
                      <a:pt x="1595" y="561"/>
                    </a:lnTo>
                    <a:lnTo>
                      <a:pt x="1586" y="550"/>
                    </a:lnTo>
                    <a:lnTo>
                      <a:pt x="1579" y="539"/>
                    </a:lnTo>
                    <a:lnTo>
                      <a:pt x="1575" y="534"/>
                    </a:lnTo>
                    <a:lnTo>
                      <a:pt x="1570" y="530"/>
                    </a:lnTo>
                    <a:lnTo>
                      <a:pt x="1566" y="528"/>
                    </a:lnTo>
                    <a:lnTo>
                      <a:pt x="1560" y="527"/>
                    </a:lnTo>
                    <a:lnTo>
                      <a:pt x="1554" y="527"/>
                    </a:lnTo>
                    <a:lnTo>
                      <a:pt x="1547" y="528"/>
                    </a:lnTo>
                    <a:lnTo>
                      <a:pt x="1537" y="533"/>
                    </a:lnTo>
                    <a:lnTo>
                      <a:pt x="1527" y="539"/>
                    </a:lnTo>
                    <a:lnTo>
                      <a:pt x="1317" y="675"/>
                    </a:lnTo>
                    <a:lnTo>
                      <a:pt x="1302" y="683"/>
                    </a:lnTo>
                    <a:lnTo>
                      <a:pt x="1287" y="688"/>
                    </a:lnTo>
                    <a:lnTo>
                      <a:pt x="1273" y="692"/>
                    </a:lnTo>
                    <a:lnTo>
                      <a:pt x="1257" y="694"/>
                    </a:lnTo>
                    <a:lnTo>
                      <a:pt x="1227" y="698"/>
                    </a:lnTo>
                    <a:lnTo>
                      <a:pt x="1196" y="704"/>
                    </a:lnTo>
                    <a:lnTo>
                      <a:pt x="1187" y="701"/>
                    </a:lnTo>
                    <a:lnTo>
                      <a:pt x="1181" y="697"/>
                    </a:lnTo>
                    <a:lnTo>
                      <a:pt x="1175" y="692"/>
                    </a:lnTo>
                    <a:lnTo>
                      <a:pt x="1170" y="686"/>
                    </a:lnTo>
                    <a:lnTo>
                      <a:pt x="1165" y="680"/>
                    </a:lnTo>
                    <a:lnTo>
                      <a:pt x="1163" y="674"/>
                    </a:lnTo>
                    <a:lnTo>
                      <a:pt x="1160" y="666"/>
                    </a:lnTo>
                    <a:lnTo>
                      <a:pt x="1158" y="660"/>
                    </a:lnTo>
                    <a:lnTo>
                      <a:pt x="1154" y="647"/>
                    </a:lnTo>
                    <a:lnTo>
                      <a:pt x="1150" y="633"/>
                    </a:lnTo>
                    <a:lnTo>
                      <a:pt x="1148" y="627"/>
                    </a:lnTo>
                    <a:lnTo>
                      <a:pt x="1144" y="621"/>
                    </a:lnTo>
                    <a:lnTo>
                      <a:pt x="1140" y="616"/>
                    </a:lnTo>
                    <a:lnTo>
                      <a:pt x="1137" y="611"/>
                    </a:lnTo>
                    <a:lnTo>
                      <a:pt x="1129" y="609"/>
                    </a:lnTo>
                    <a:lnTo>
                      <a:pt x="1118" y="606"/>
                    </a:lnTo>
                    <a:lnTo>
                      <a:pt x="1103" y="605"/>
                    </a:lnTo>
                    <a:lnTo>
                      <a:pt x="1085" y="604"/>
                    </a:lnTo>
                    <a:lnTo>
                      <a:pt x="1069" y="604"/>
                    </a:lnTo>
                    <a:lnTo>
                      <a:pt x="1054" y="604"/>
                    </a:lnTo>
                    <a:lnTo>
                      <a:pt x="1041" y="605"/>
                    </a:lnTo>
                    <a:lnTo>
                      <a:pt x="1034" y="607"/>
                    </a:lnTo>
                    <a:lnTo>
                      <a:pt x="1018" y="617"/>
                    </a:lnTo>
                    <a:lnTo>
                      <a:pt x="1003" y="628"/>
                    </a:lnTo>
                    <a:lnTo>
                      <a:pt x="991" y="641"/>
                    </a:lnTo>
                    <a:lnTo>
                      <a:pt x="979" y="653"/>
                    </a:lnTo>
                    <a:lnTo>
                      <a:pt x="958" y="680"/>
                    </a:lnTo>
                    <a:lnTo>
                      <a:pt x="936" y="704"/>
                    </a:lnTo>
                    <a:lnTo>
                      <a:pt x="925" y="715"/>
                    </a:lnTo>
                    <a:lnTo>
                      <a:pt x="913" y="725"/>
                    </a:lnTo>
                    <a:lnTo>
                      <a:pt x="905" y="729"/>
                    </a:lnTo>
                    <a:lnTo>
                      <a:pt x="898" y="732"/>
                    </a:lnTo>
                    <a:lnTo>
                      <a:pt x="891" y="735"/>
                    </a:lnTo>
                    <a:lnTo>
                      <a:pt x="883" y="737"/>
                    </a:lnTo>
                    <a:lnTo>
                      <a:pt x="875" y="738"/>
                    </a:lnTo>
                    <a:lnTo>
                      <a:pt x="865" y="738"/>
                    </a:lnTo>
                    <a:lnTo>
                      <a:pt x="855" y="738"/>
                    </a:lnTo>
                    <a:lnTo>
                      <a:pt x="845" y="738"/>
                    </a:lnTo>
                    <a:lnTo>
                      <a:pt x="834" y="736"/>
                    </a:lnTo>
                    <a:lnTo>
                      <a:pt x="823" y="734"/>
                    </a:lnTo>
                    <a:lnTo>
                      <a:pt x="811" y="730"/>
                    </a:lnTo>
                    <a:lnTo>
                      <a:pt x="798" y="725"/>
                    </a:lnTo>
                    <a:lnTo>
                      <a:pt x="761" y="703"/>
                    </a:lnTo>
                    <a:lnTo>
                      <a:pt x="728" y="681"/>
                    </a:lnTo>
                    <a:lnTo>
                      <a:pt x="719" y="677"/>
                    </a:lnTo>
                    <a:lnTo>
                      <a:pt x="712" y="676"/>
                    </a:lnTo>
                    <a:lnTo>
                      <a:pt x="704" y="675"/>
                    </a:lnTo>
                    <a:lnTo>
                      <a:pt x="696" y="676"/>
                    </a:lnTo>
                    <a:lnTo>
                      <a:pt x="689" y="680"/>
                    </a:lnTo>
                    <a:lnTo>
                      <a:pt x="680" y="686"/>
                    </a:lnTo>
                    <a:lnTo>
                      <a:pt x="673" y="694"/>
                    </a:lnTo>
                    <a:lnTo>
                      <a:pt x="666" y="705"/>
                    </a:lnTo>
                    <a:lnTo>
                      <a:pt x="663" y="710"/>
                    </a:lnTo>
                    <a:lnTo>
                      <a:pt x="662" y="715"/>
                    </a:lnTo>
                    <a:lnTo>
                      <a:pt x="662" y="720"/>
                    </a:lnTo>
                    <a:lnTo>
                      <a:pt x="662" y="725"/>
                    </a:lnTo>
                    <a:lnTo>
                      <a:pt x="664" y="735"/>
                    </a:lnTo>
                    <a:lnTo>
                      <a:pt x="668" y="747"/>
                    </a:lnTo>
                    <a:lnTo>
                      <a:pt x="679" y="770"/>
                    </a:lnTo>
                    <a:lnTo>
                      <a:pt x="691" y="796"/>
                    </a:lnTo>
                    <a:lnTo>
                      <a:pt x="696" y="808"/>
                    </a:lnTo>
                    <a:lnTo>
                      <a:pt x="699" y="820"/>
                    </a:lnTo>
                    <a:lnTo>
                      <a:pt x="700" y="827"/>
                    </a:lnTo>
                    <a:lnTo>
                      <a:pt x="700" y="833"/>
                    </a:lnTo>
                    <a:lnTo>
                      <a:pt x="699" y="839"/>
                    </a:lnTo>
                    <a:lnTo>
                      <a:pt x="697" y="844"/>
                    </a:lnTo>
                    <a:lnTo>
                      <a:pt x="695" y="850"/>
                    </a:lnTo>
                    <a:lnTo>
                      <a:pt x="691" y="855"/>
                    </a:lnTo>
                    <a:lnTo>
                      <a:pt x="686" y="861"/>
                    </a:lnTo>
                    <a:lnTo>
                      <a:pt x="681" y="866"/>
                    </a:lnTo>
                    <a:lnTo>
                      <a:pt x="674" y="869"/>
                    </a:lnTo>
                    <a:lnTo>
                      <a:pt x="667" y="874"/>
                    </a:lnTo>
                    <a:lnTo>
                      <a:pt x="657" y="879"/>
                    </a:lnTo>
                    <a:lnTo>
                      <a:pt x="646" y="883"/>
                    </a:lnTo>
                    <a:lnTo>
                      <a:pt x="637" y="885"/>
                    </a:lnTo>
                    <a:lnTo>
                      <a:pt x="629" y="887"/>
                    </a:lnTo>
                    <a:lnTo>
                      <a:pt x="620" y="888"/>
                    </a:lnTo>
                    <a:lnTo>
                      <a:pt x="610" y="889"/>
                    </a:lnTo>
                    <a:lnTo>
                      <a:pt x="592" y="888"/>
                    </a:lnTo>
                    <a:lnTo>
                      <a:pt x="574" y="885"/>
                    </a:lnTo>
                    <a:lnTo>
                      <a:pt x="555" y="879"/>
                    </a:lnTo>
                    <a:lnTo>
                      <a:pt x="537" y="872"/>
                    </a:lnTo>
                    <a:lnTo>
                      <a:pt x="520" y="863"/>
                    </a:lnTo>
                    <a:lnTo>
                      <a:pt x="504" y="852"/>
                    </a:lnTo>
                    <a:lnTo>
                      <a:pt x="489" y="840"/>
                    </a:lnTo>
                    <a:lnTo>
                      <a:pt x="475" y="827"/>
                    </a:lnTo>
                    <a:lnTo>
                      <a:pt x="464" y="812"/>
                    </a:lnTo>
                    <a:lnTo>
                      <a:pt x="454" y="796"/>
                    </a:lnTo>
                    <a:lnTo>
                      <a:pt x="449" y="787"/>
                    </a:lnTo>
                    <a:lnTo>
                      <a:pt x="445" y="779"/>
                    </a:lnTo>
                    <a:lnTo>
                      <a:pt x="443" y="770"/>
                    </a:lnTo>
                    <a:lnTo>
                      <a:pt x="440" y="762"/>
                    </a:lnTo>
                    <a:lnTo>
                      <a:pt x="439" y="752"/>
                    </a:lnTo>
                    <a:lnTo>
                      <a:pt x="438" y="743"/>
                    </a:lnTo>
                    <a:lnTo>
                      <a:pt x="438" y="734"/>
                    </a:lnTo>
                    <a:lnTo>
                      <a:pt x="439" y="725"/>
                    </a:lnTo>
                    <a:lnTo>
                      <a:pt x="442" y="710"/>
                    </a:lnTo>
                    <a:lnTo>
                      <a:pt x="445" y="689"/>
                    </a:lnTo>
                    <a:lnTo>
                      <a:pt x="445" y="680"/>
                    </a:lnTo>
                    <a:lnTo>
                      <a:pt x="445" y="671"/>
                    </a:lnTo>
                    <a:lnTo>
                      <a:pt x="444" y="667"/>
                    </a:lnTo>
                    <a:lnTo>
                      <a:pt x="442" y="665"/>
                    </a:lnTo>
                    <a:lnTo>
                      <a:pt x="439" y="665"/>
                    </a:lnTo>
                    <a:lnTo>
                      <a:pt x="437" y="665"/>
                    </a:lnTo>
                    <a:lnTo>
                      <a:pt x="426" y="669"/>
                    </a:lnTo>
                    <a:lnTo>
                      <a:pt x="416" y="674"/>
                    </a:lnTo>
                    <a:lnTo>
                      <a:pt x="407" y="678"/>
                    </a:lnTo>
                    <a:lnTo>
                      <a:pt x="400" y="686"/>
                    </a:lnTo>
                    <a:lnTo>
                      <a:pt x="393" y="693"/>
                    </a:lnTo>
                    <a:lnTo>
                      <a:pt x="386" y="701"/>
                    </a:lnTo>
                    <a:lnTo>
                      <a:pt x="382" y="709"/>
                    </a:lnTo>
                    <a:lnTo>
                      <a:pt x="378" y="719"/>
                    </a:lnTo>
                    <a:lnTo>
                      <a:pt x="374" y="727"/>
                    </a:lnTo>
                    <a:lnTo>
                      <a:pt x="372" y="737"/>
                    </a:lnTo>
                    <a:lnTo>
                      <a:pt x="372" y="747"/>
                    </a:lnTo>
                    <a:lnTo>
                      <a:pt x="371" y="757"/>
                    </a:lnTo>
                    <a:lnTo>
                      <a:pt x="372" y="767"/>
                    </a:lnTo>
                    <a:lnTo>
                      <a:pt x="373" y="776"/>
                    </a:lnTo>
                    <a:lnTo>
                      <a:pt x="375" y="786"/>
                    </a:lnTo>
                    <a:lnTo>
                      <a:pt x="379" y="795"/>
                    </a:lnTo>
                    <a:lnTo>
                      <a:pt x="382" y="803"/>
                    </a:lnTo>
                    <a:lnTo>
                      <a:pt x="382" y="812"/>
                    </a:lnTo>
                    <a:lnTo>
                      <a:pt x="380" y="819"/>
                    </a:lnTo>
                    <a:lnTo>
                      <a:pt x="377" y="827"/>
                    </a:lnTo>
                    <a:lnTo>
                      <a:pt x="373" y="834"/>
                    </a:lnTo>
                    <a:lnTo>
                      <a:pt x="371" y="841"/>
                    </a:lnTo>
                    <a:lnTo>
                      <a:pt x="367" y="849"/>
                    </a:lnTo>
                    <a:lnTo>
                      <a:pt x="366" y="856"/>
                    </a:lnTo>
                    <a:lnTo>
                      <a:pt x="357" y="879"/>
                    </a:lnTo>
                    <a:lnTo>
                      <a:pt x="349" y="904"/>
                    </a:lnTo>
                    <a:lnTo>
                      <a:pt x="346" y="916"/>
                    </a:lnTo>
                    <a:lnTo>
                      <a:pt x="345" y="929"/>
                    </a:lnTo>
                    <a:lnTo>
                      <a:pt x="345" y="936"/>
                    </a:lnTo>
                    <a:lnTo>
                      <a:pt x="346" y="940"/>
                    </a:lnTo>
                    <a:lnTo>
                      <a:pt x="347" y="947"/>
                    </a:lnTo>
                    <a:lnTo>
                      <a:pt x="351" y="953"/>
                    </a:lnTo>
                    <a:lnTo>
                      <a:pt x="360" y="967"/>
                    </a:lnTo>
                    <a:lnTo>
                      <a:pt x="372" y="985"/>
                    </a:lnTo>
                    <a:lnTo>
                      <a:pt x="378" y="994"/>
                    </a:lnTo>
                    <a:lnTo>
                      <a:pt x="382" y="1003"/>
                    </a:lnTo>
                    <a:lnTo>
                      <a:pt x="384" y="1011"/>
                    </a:lnTo>
                    <a:lnTo>
                      <a:pt x="384" y="1020"/>
                    </a:lnTo>
                    <a:lnTo>
                      <a:pt x="382" y="1031"/>
                    </a:lnTo>
                    <a:lnTo>
                      <a:pt x="377" y="1041"/>
                    </a:lnTo>
                    <a:lnTo>
                      <a:pt x="369" y="1049"/>
                    </a:lnTo>
                    <a:lnTo>
                      <a:pt x="362" y="1056"/>
                    </a:lnTo>
                    <a:lnTo>
                      <a:pt x="353" y="1062"/>
                    </a:lnTo>
                    <a:lnTo>
                      <a:pt x="344" y="1065"/>
                    </a:lnTo>
                    <a:lnTo>
                      <a:pt x="333" y="1070"/>
                    </a:lnTo>
                    <a:lnTo>
                      <a:pt x="320" y="1073"/>
                    </a:lnTo>
                    <a:lnTo>
                      <a:pt x="297" y="1078"/>
                    </a:lnTo>
                    <a:lnTo>
                      <a:pt x="274" y="1082"/>
                    </a:lnTo>
                    <a:lnTo>
                      <a:pt x="262" y="1085"/>
                    </a:lnTo>
                    <a:lnTo>
                      <a:pt x="251" y="1089"/>
                    </a:lnTo>
                    <a:lnTo>
                      <a:pt x="241" y="1092"/>
                    </a:lnTo>
                    <a:lnTo>
                      <a:pt x="231" y="1096"/>
                    </a:lnTo>
                    <a:lnTo>
                      <a:pt x="196" y="1117"/>
                    </a:lnTo>
                    <a:lnTo>
                      <a:pt x="163" y="1140"/>
                    </a:lnTo>
                    <a:lnTo>
                      <a:pt x="145" y="1152"/>
                    </a:lnTo>
                    <a:lnTo>
                      <a:pt x="128" y="1163"/>
                    </a:lnTo>
                    <a:lnTo>
                      <a:pt x="111" y="1174"/>
                    </a:lnTo>
                    <a:lnTo>
                      <a:pt x="93" y="1184"/>
                    </a:lnTo>
                    <a:lnTo>
                      <a:pt x="77" y="1191"/>
                    </a:lnTo>
                    <a:lnTo>
                      <a:pt x="60" y="1200"/>
                    </a:lnTo>
                    <a:lnTo>
                      <a:pt x="51" y="1204"/>
                    </a:lnTo>
                    <a:lnTo>
                      <a:pt x="44" y="1209"/>
                    </a:lnTo>
                    <a:lnTo>
                      <a:pt x="36" y="1213"/>
                    </a:lnTo>
                    <a:lnTo>
                      <a:pt x="30" y="1220"/>
                    </a:lnTo>
                    <a:lnTo>
                      <a:pt x="25" y="1226"/>
                    </a:lnTo>
                    <a:lnTo>
                      <a:pt x="22" y="1232"/>
                    </a:lnTo>
                    <a:lnTo>
                      <a:pt x="21" y="1238"/>
                    </a:lnTo>
                    <a:lnTo>
                      <a:pt x="21" y="1247"/>
                    </a:lnTo>
                    <a:lnTo>
                      <a:pt x="22" y="1254"/>
                    </a:lnTo>
                    <a:lnTo>
                      <a:pt x="25" y="1264"/>
                    </a:lnTo>
                    <a:lnTo>
                      <a:pt x="32" y="1273"/>
                    </a:lnTo>
                    <a:lnTo>
                      <a:pt x="41" y="1283"/>
                    </a:lnTo>
                    <a:lnTo>
                      <a:pt x="49" y="1288"/>
                    </a:lnTo>
                    <a:lnTo>
                      <a:pt x="54" y="1293"/>
                    </a:lnTo>
                    <a:lnTo>
                      <a:pt x="58" y="1298"/>
                    </a:lnTo>
                    <a:lnTo>
                      <a:pt x="62" y="1302"/>
                    </a:lnTo>
                    <a:lnTo>
                      <a:pt x="67" y="1305"/>
                    </a:lnTo>
                    <a:lnTo>
                      <a:pt x="73" y="1308"/>
                    </a:lnTo>
                    <a:lnTo>
                      <a:pt x="80" y="1309"/>
                    </a:lnTo>
                    <a:lnTo>
                      <a:pt x="92" y="1310"/>
                    </a:lnTo>
                    <a:lnTo>
                      <a:pt x="107" y="1310"/>
                    </a:lnTo>
                    <a:lnTo>
                      <a:pt x="123" y="1311"/>
                    </a:lnTo>
                    <a:lnTo>
                      <a:pt x="131" y="1314"/>
                    </a:lnTo>
                    <a:lnTo>
                      <a:pt x="137" y="1319"/>
                    </a:lnTo>
                    <a:lnTo>
                      <a:pt x="139" y="1321"/>
                    </a:lnTo>
                    <a:lnTo>
                      <a:pt x="142" y="1324"/>
                    </a:lnTo>
                    <a:lnTo>
                      <a:pt x="143" y="1327"/>
                    </a:lnTo>
                    <a:lnTo>
                      <a:pt x="144" y="1332"/>
                    </a:lnTo>
                    <a:lnTo>
                      <a:pt x="145" y="1343"/>
                    </a:lnTo>
                    <a:lnTo>
                      <a:pt x="145" y="1352"/>
                    </a:lnTo>
                    <a:lnTo>
                      <a:pt x="144" y="1359"/>
                    </a:lnTo>
                    <a:lnTo>
                      <a:pt x="142" y="1364"/>
                    </a:lnTo>
                    <a:lnTo>
                      <a:pt x="139" y="1369"/>
                    </a:lnTo>
                    <a:lnTo>
                      <a:pt x="134" y="1371"/>
                    </a:lnTo>
                    <a:lnTo>
                      <a:pt x="129" y="1374"/>
                    </a:lnTo>
                    <a:lnTo>
                      <a:pt x="125" y="1376"/>
                    </a:lnTo>
                    <a:lnTo>
                      <a:pt x="112" y="1379"/>
                    </a:lnTo>
                    <a:lnTo>
                      <a:pt x="101" y="1382"/>
                    </a:lnTo>
                    <a:lnTo>
                      <a:pt x="95" y="1385"/>
                    </a:lnTo>
                    <a:lnTo>
                      <a:pt x="90" y="1389"/>
                    </a:lnTo>
                    <a:lnTo>
                      <a:pt x="87" y="1393"/>
                    </a:lnTo>
                    <a:lnTo>
                      <a:pt x="83" y="1400"/>
                    </a:lnTo>
                    <a:lnTo>
                      <a:pt x="79" y="1406"/>
                    </a:lnTo>
                    <a:lnTo>
                      <a:pt x="76" y="1411"/>
                    </a:lnTo>
                    <a:lnTo>
                      <a:pt x="71" y="1414"/>
                    </a:lnTo>
                    <a:lnTo>
                      <a:pt x="66" y="1417"/>
                    </a:lnTo>
                    <a:lnTo>
                      <a:pt x="55" y="1422"/>
                    </a:lnTo>
                    <a:lnTo>
                      <a:pt x="43" y="1424"/>
                    </a:lnTo>
                    <a:lnTo>
                      <a:pt x="33" y="1425"/>
                    </a:lnTo>
                    <a:lnTo>
                      <a:pt x="23" y="1428"/>
                    </a:lnTo>
                    <a:lnTo>
                      <a:pt x="21" y="1429"/>
                    </a:lnTo>
                    <a:lnTo>
                      <a:pt x="17" y="1431"/>
                    </a:lnTo>
                    <a:lnTo>
                      <a:pt x="16" y="1434"/>
                    </a:lnTo>
                    <a:lnTo>
                      <a:pt x="16" y="1436"/>
                    </a:lnTo>
                    <a:lnTo>
                      <a:pt x="14" y="1461"/>
                    </a:lnTo>
                    <a:lnTo>
                      <a:pt x="12" y="1480"/>
                    </a:lnTo>
                    <a:lnTo>
                      <a:pt x="7" y="1499"/>
                    </a:lnTo>
                    <a:lnTo>
                      <a:pt x="1" y="1522"/>
                    </a:lnTo>
                    <a:lnTo>
                      <a:pt x="0" y="1529"/>
                    </a:lnTo>
                    <a:lnTo>
                      <a:pt x="0" y="1534"/>
                    </a:lnTo>
                    <a:lnTo>
                      <a:pt x="1" y="1539"/>
                    </a:lnTo>
                    <a:lnTo>
                      <a:pt x="3" y="1543"/>
                    </a:lnTo>
                    <a:lnTo>
                      <a:pt x="6" y="1545"/>
                    </a:lnTo>
                    <a:lnTo>
                      <a:pt x="10" y="1548"/>
                    </a:lnTo>
                    <a:lnTo>
                      <a:pt x="14" y="1549"/>
                    </a:lnTo>
                    <a:lnTo>
                      <a:pt x="19" y="1549"/>
                    </a:lnTo>
                    <a:lnTo>
                      <a:pt x="32" y="1549"/>
                    </a:lnTo>
                    <a:lnTo>
                      <a:pt x="45" y="1547"/>
                    </a:lnTo>
                    <a:lnTo>
                      <a:pt x="60" y="1544"/>
                    </a:lnTo>
                    <a:lnTo>
                      <a:pt x="76" y="1539"/>
                    </a:lnTo>
                    <a:lnTo>
                      <a:pt x="105" y="1531"/>
                    </a:lnTo>
                    <a:lnTo>
                      <a:pt x="129" y="1524"/>
                    </a:lnTo>
                    <a:lnTo>
                      <a:pt x="138" y="1524"/>
                    </a:lnTo>
                    <a:lnTo>
                      <a:pt x="143" y="1526"/>
                    </a:lnTo>
                    <a:lnTo>
                      <a:pt x="144" y="1527"/>
                    </a:lnTo>
                    <a:lnTo>
                      <a:pt x="144" y="1529"/>
                    </a:lnTo>
                    <a:lnTo>
                      <a:pt x="143" y="1532"/>
                    </a:lnTo>
                    <a:lnTo>
                      <a:pt x="142" y="1537"/>
                    </a:lnTo>
                    <a:lnTo>
                      <a:pt x="127" y="1560"/>
                    </a:lnTo>
                    <a:lnTo>
                      <a:pt x="117" y="1577"/>
                    </a:lnTo>
                    <a:lnTo>
                      <a:pt x="115" y="1584"/>
                    </a:lnTo>
                    <a:lnTo>
                      <a:pt x="112" y="1591"/>
                    </a:lnTo>
                    <a:lnTo>
                      <a:pt x="111" y="1595"/>
                    </a:lnTo>
                    <a:lnTo>
                      <a:pt x="111" y="1602"/>
                    </a:lnTo>
                    <a:lnTo>
                      <a:pt x="114" y="1613"/>
                    </a:lnTo>
                    <a:lnTo>
                      <a:pt x="117" y="1625"/>
                    </a:lnTo>
                    <a:lnTo>
                      <a:pt x="125" y="1642"/>
                    </a:lnTo>
                    <a:lnTo>
                      <a:pt x="132" y="1664"/>
                    </a:lnTo>
                    <a:lnTo>
                      <a:pt x="142" y="1692"/>
                    </a:lnTo>
                    <a:lnTo>
                      <a:pt x="151" y="1714"/>
                    </a:lnTo>
                    <a:lnTo>
                      <a:pt x="156" y="1723"/>
                    </a:lnTo>
                    <a:lnTo>
                      <a:pt x="160" y="1730"/>
                    </a:lnTo>
                    <a:lnTo>
                      <a:pt x="165" y="1735"/>
                    </a:lnTo>
                    <a:lnTo>
                      <a:pt x="169" y="1740"/>
                    </a:lnTo>
                    <a:lnTo>
                      <a:pt x="174" y="1744"/>
                    </a:lnTo>
                    <a:lnTo>
                      <a:pt x="177" y="1746"/>
                    </a:lnTo>
                    <a:lnTo>
                      <a:pt x="182" y="1749"/>
                    </a:lnTo>
                    <a:lnTo>
                      <a:pt x="186" y="1749"/>
                    </a:lnTo>
                    <a:lnTo>
                      <a:pt x="191" y="1749"/>
                    </a:lnTo>
                    <a:lnTo>
                      <a:pt x="194" y="1747"/>
                    </a:lnTo>
                    <a:lnTo>
                      <a:pt x="199" y="1746"/>
                    </a:lnTo>
                    <a:lnTo>
                      <a:pt x="204" y="1744"/>
                    </a:lnTo>
                    <a:lnTo>
                      <a:pt x="224" y="1729"/>
                    </a:lnTo>
                    <a:lnTo>
                      <a:pt x="248" y="1711"/>
                    </a:lnTo>
                    <a:lnTo>
                      <a:pt x="262" y="1702"/>
                    </a:lnTo>
                    <a:lnTo>
                      <a:pt x="278" y="1693"/>
                    </a:lnTo>
                    <a:lnTo>
                      <a:pt x="285" y="1690"/>
                    </a:lnTo>
                    <a:lnTo>
                      <a:pt x="293" y="1686"/>
                    </a:lnTo>
                    <a:lnTo>
                      <a:pt x="303" y="1684"/>
                    </a:lnTo>
                    <a:lnTo>
                      <a:pt x="313" y="1681"/>
                    </a:lnTo>
                    <a:lnTo>
                      <a:pt x="318" y="1681"/>
                    </a:lnTo>
                    <a:lnTo>
                      <a:pt x="322" y="1681"/>
                    </a:lnTo>
                    <a:lnTo>
                      <a:pt x="327" y="1682"/>
                    </a:lnTo>
                    <a:lnTo>
                      <a:pt x="331" y="1685"/>
                    </a:lnTo>
                    <a:lnTo>
                      <a:pt x="341" y="1691"/>
                    </a:lnTo>
                    <a:lnTo>
                      <a:pt x="351" y="1698"/>
                    </a:lnTo>
                    <a:lnTo>
                      <a:pt x="360" y="1708"/>
                    </a:lnTo>
                    <a:lnTo>
                      <a:pt x="366" y="1717"/>
                    </a:lnTo>
                    <a:lnTo>
                      <a:pt x="372" y="1726"/>
                    </a:lnTo>
                    <a:lnTo>
                      <a:pt x="375" y="1734"/>
                    </a:lnTo>
                    <a:lnTo>
                      <a:pt x="377" y="1740"/>
                    </a:lnTo>
                    <a:lnTo>
                      <a:pt x="375" y="1746"/>
                    </a:lnTo>
                    <a:lnTo>
                      <a:pt x="372" y="1752"/>
                    </a:lnTo>
                    <a:lnTo>
                      <a:pt x="368" y="1758"/>
                    </a:lnTo>
                    <a:lnTo>
                      <a:pt x="357" y="1772"/>
                    </a:lnTo>
                    <a:lnTo>
                      <a:pt x="342" y="1784"/>
                    </a:lnTo>
                    <a:lnTo>
                      <a:pt x="327" y="1796"/>
                    </a:lnTo>
                    <a:lnTo>
                      <a:pt x="311" y="1806"/>
                    </a:lnTo>
                    <a:lnTo>
                      <a:pt x="296" y="1813"/>
                    </a:lnTo>
                    <a:lnTo>
                      <a:pt x="286" y="1818"/>
                    </a:lnTo>
                    <a:lnTo>
                      <a:pt x="275" y="1835"/>
                    </a:lnTo>
                    <a:lnTo>
                      <a:pt x="267" y="1853"/>
                    </a:lnTo>
                    <a:lnTo>
                      <a:pt x="262" y="1869"/>
                    </a:lnTo>
                    <a:lnTo>
                      <a:pt x="258" y="1884"/>
                    </a:lnTo>
                    <a:lnTo>
                      <a:pt x="257" y="1899"/>
                    </a:lnTo>
                    <a:lnTo>
                      <a:pt x="258" y="1913"/>
                    </a:lnTo>
                    <a:lnTo>
                      <a:pt x="259" y="1919"/>
                    </a:lnTo>
                    <a:lnTo>
                      <a:pt x="262" y="1924"/>
                    </a:lnTo>
                    <a:lnTo>
                      <a:pt x="264" y="1930"/>
                    </a:lnTo>
                    <a:lnTo>
                      <a:pt x="267" y="1933"/>
                    </a:lnTo>
                    <a:lnTo>
                      <a:pt x="270" y="1938"/>
                    </a:lnTo>
                    <a:lnTo>
                      <a:pt x="274" y="1942"/>
                    </a:lnTo>
                    <a:lnTo>
                      <a:pt x="279" y="1944"/>
                    </a:lnTo>
                    <a:lnTo>
                      <a:pt x="284" y="1947"/>
                    </a:lnTo>
                    <a:lnTo>
                      <a:pt x="290" y="1949"/>
                    </a:lnTo>
                    <a:lnTo>
                      <a:pt x="296" y="1951"/>
                    </a:lnTo>
                    <a:lnTo>
                      <a:pt x="302" y="1951"/>
                    </a:lnTo>
                    <a:lnTo>
                      <a:pt x="308" y="1951"/>
                    </a:lnTo>
                    <a:lnTo>
                      <a:pt x="316" y="1949"/>
                    </a:lnTo>
                    <a:lnTo>
                      <a:pt x="324" y="1947"/>
                    </a:lnTo>
                    <a:lnTo>
                      <a:pt x="331" y="1944"/>
                    </a:lnTo>
                    <a:lnTo>
                      <a:pt x="340" y="1941"/>
                    </a:lnTo>
                    <a:lnTo>
                      <a:pt x="350" y="1936"/>
                    </a:lnTo>
                    <a:lnTo>
                      <a:pt x="358" y="1930"/>
                    </a:lnTo>
                    <a:lnTo>
                      <a:pt x="368" y="1924"/>
                    </a:lnTo>
                    <a:lnTo>
                      <a:pt x="378" y="1916"/>
                    </a:lnTo>
                    <a:lnTo>
                      <a:pt x="396" y="1902"/>
                    </a:lnTo>
                    <a:lnTo>
                      <a:pt x="422" y="1883"/>
                    </a:lnTo>
                    <a:lnTo>
                      <a:pt x="435" y="1876"/>
                    </a:lnTo>
                    <a:lnTo>
                      <a:pt x="449" y="1871"/>
                    </a:lnTo>
                    <a:lnTo>
                      <a:pt x="455" y="1870"/>
                    </a:lnTo>
                    <a:lnTo>
                      <a:pt x="460" y="1870"/>
                    </a:lnTo>
                    <a:lnTo>
                      <a:pt x="465" y="1871"/>
                    </a:lnTo>
                    <a:lnTo>
                      <a:pt x="469" y="1873"/>
                    </a:lnTo>
                    <a:lnTo>
                      <a:pt x="475" y="1880"/>
                    </a:lnTo>
                    <a:lnTo>
                      <a:pt x="477" y="1886"/>
                    </a:lnTo>
                    <a:lnTo>
                      <a:pt x="478" y="1892"/>
                    </a:lnTo>
                    <a:lnTo>
                      <a:pt x="477" y="1898"/>
                    </a:lnTo>
                    <a:lnTo>
                      <a:pt x="472" y="1911"/>
                    </a:lnTo>
                    <a:lnTo>
                      <a:pt x="466" y="1926"/>
                    </a:lnTo>
                    <a:lnTo>
                      <a:pt x="464" y="1933"/>
                    </a:lnTo>
                    <a:lnTo>
                      <a:pt x="462" y="1941"/>
                    </a:lnTo>
                    <a:lnTo>
                      <a:pt x="462" y="1949"/>
                    </a:lnTo>
                    <a:lnTo>
                      <a:pt x="464" y="1958"/>
                    </a:lnTo>
                    <a:lnTo>
                      <a:pt x="467" y="1966"/>
                    </a:lnTo>
                    <a:lnTo>
                      <a:pt x="473" y="1976"/>
                    </a:lnTo>
                    <a:lnTo>
                      <a:pt x="482" y="1986"/>
                    </a:lnTo>
                    <a:lnTo>
                      <a:pt x="495" y="1997"/>
                    </a:lnTo>
                    <a:lnTo>
                      <a:pt x="502" y="2002"/>
                    </a:lnTo>
                    <a:lnTo>
                      <a:pt x="505" y="2008"/>
                    </a:lnTo>
                    <a:lnTo>
                      <a:pt x="509" y="2015"/>
                    </a:lnTo>
                    <a:lnTo>
                      <a:pt x="511" y="2023"/>
                    </a:lnTo>
                    <a:lnTo>
                      <a:pt x="515" y="2037"/>
                    </a:lnTo>
                    <a:lnTo>
                      <a:pt x="517" y="2052"/>
                    </a:lnTo>
                    <a:lnTo>
                      <a:pt x="520" y="2059"/>
                    </a:lnTo>
                    <a:lnTo>
                      <a:pt x="524" y="2064"/>
                    </a:lnTo>
                    <a:lnTo>
                      <a:pt x="527" y="2069"/>
                    </a:lnTo>
                    <a:lnTo>
                      <a:pt x="532" y="2073"/>
                    </a:lnTo>
                    <a:lnTo>
                      <a:pt x="539" y="2075"/>
                    </a:lnTo>
                    <a:lnTo>
                      <a:pt x="548" y="2077"/>
                    </a:lnTo>
                    <a:lnTo>
                      <a:pt x="559" y="2075"/>
                    </a:lnTo>
                    <a:lnTo>
                      <a:pt x="571" y="2072"/>
                    </a:lnTo>
                    <a:lnTo>
                      <a:pt x="579" y="2069"/>
                    </a:lnTo>
                    <a:lnTo>
                      <a:pt x="585" y="2066"/>
                    </a:lnTo>
                    <a:lnTo>
                      <a:pt x="590" y="2062"/>
                    </a:lnTo>
                    <a:lnTo>
                      <a:pt x="593" y="2058"/>
                    </a:lnTo>
                    <a:lnTo>
                      <a:pt x="597" y="2053"/>
                    </a:lnTo>
                    <a:lnTo>
                      <a:pt x="599" y="2048"/>
                    </a:lnTo>
                    <a:lnTo>
                      <a:pt x="601" y="2042"/>
                    </a:lnTo>
                    <a:lnTo>
                      <a:pt x="602" y="2036"/>
                    </a:lnTo>
                    <a:lnTo>
                      <a:pt x="601" y="2011"/>
                    </a:lnTo>
                    <a:lnTo>
                      <a:pt x="598" y="1981"/>
                    </a:lnTo>
                    <a:lnTo>
                      <a:pt x="598" y="1966"/>
                    </a:lnTo>
                    <a:lnTo>
                      <a:pt x="598" y="1953"/>
                    </a:lnTo>
                    <a:lnTo>
                      <a:pt x="601" y="1947"/>
                    </a:lnTo>
                    <a:lnTo>
                      <a:pt x="602" y="1940"/>
                    </a:lnTo>
                    <a:lnTo>
                      <a:pt x="606" y="1933"/>
                    </a:lnTo>
                    <a:lnTo>
                      <a:pt x="609" y="1927"/>
                    </a:lnTo>
                    <a:lnTo>
                      <a:pt x="614" y="1922"/>
                    </a:lnTo>
                    <a:lnTo>
                      <a:pt x="619" y="1917"/>
                    </a:lnTo>
                    <a:lnTo>
                      <a:pt x="626" y="1913"/>
                    </a:lnTo>
                    <a:lnTo>
                      <a:pt x="635" y="1908"/>
                    </a:lnTo>
                    <a:lnTo>
                      <a:pt x="645" y="1904"/>
                    </a:lnTo>
                    <a:lnTo>
                      <a:pt x="656" y="1902"/>
                    </a:lnTo>
                    <a:lnTo>
                      <a:pt x="668" y="1899"/>
                    </a:lnTo>
                    <a:lnTo>
                      <a:pt x="681" y="1897"/>
                    </a:lnTo>
                    <a:lnTo>
                      <a:pt x="691" y="1895"/>
                    </a:lnTo>
                    <a:lnTo>
                      <a:pt x="700" y="1894"/>
                    </a:lnTo>
                    <a:lnTo>
                      <a:pt x="707" y="1891"/>
                    </a:lnTo>
                    <a:lnTo>
                      <a:pt x="713" y="1888"/>
                    </a:lnTo>
                    <a:lnTo>
                      <a:pt x="721" y="1883"/>
                    </a:lnTo>
                    <a:lnTo>
                      <a:pt x="727" y="1880"/>
                    </a:lnTo>
                    <a:lnTo>
                      <a:pt x="732" y="1875"/>
                    </a:lnTo>
                    <a:lnTo>
                      <a:pt x="737" y="1869"/>
                    </a:lnTo>
                    <a:lnTo>
                      <a:pt x="745" y="1857"/>
                    </a:lnTo>
                    <a:lnTo>
                      <a:pt x="754" y="1844"/>
                    </a:lnTo>
                    <a:lnTo>
                      <a:pt x="760" y="1831"/>
                    </a:lnTo>
                    <a:lnTo>
                      <a:pt x="766" y="1816"/>
                    </a:lnTo>
                    <a:lnTo>
                      <a:pt x="772" y="1802"/>
                    </a:lnTo>
                    <a:lnTo>
                      <a:pt x="779" y="1789"/>
                    </a:lnTo>
                    <a:lnTo>
                      <a:pt x="787" y="1777"/>
                    </a:lnTo>
                    <a:lnTo>
                      <a:pt x="795" y="1766"/>
                    </a:lnTo>
                    <a:lnTo>
                      <a:pt x="800" y="1761"/>
                    </a:lnTo>
                    <a:lnTo>
                      <a:pt x="805" y="1757"/>
                    </a:lnTo>
                    <a:lnTo>
                      <a:pt x="810" y="1753"/>
                    </a:lnTo>
                    <a:lnTo>
                      <a:pt x="816" y="1750"/>
                    </a:lnTo>
                    <a:lnTo>
                      <a:pt x="823" y="1747"/>
                    </a:lnTo>
                    <a:lnTo>
                      <a:pt x="830" y="1745"/>
                    </a:lnTo>
                    <a:lnTo>
                      <a:pt x="838" y="1744"/>
                    </a:lnTo>
                    <a:lnTo>
                      <a:pt x="847" y="1744"/>
                    </a:lnTo>
                    <a:lnTo>
                      <a:pt x="855" y="1752"/>
                    </a:lnTo>
                    <a:lnTo>
                      <a:pt x="865" y="1760"/>
                    </a:lnTo>
                    <a:lnTo>
                      <a:pt x="876" y="1768"/>
                    </a:lnTo>
                    <a:lnTo>
                      <a:pt x="888" y="1775"/>
                    </a:lnTo>
                    <a:lnTo>
                      <a:pt x="913" y="1790"/>
                    </a:lnTo>
                    <a:lnTo>
                      <a:pt x="939" y="1805"/>
                    </a:lnTo>
                    <a:lnTo>
                      <a:pt x="964" y="1820"/>
                    </a:lnTo>
                    <a:lnTo>
                      <a:pt x="987" y="1834"/>
                    </a:lnTo>
                    <a:lnTo>
                      <a:pt x="997" y="1842"/>
                    </a:lnTo>
                    <a:lnTo>
                      <a:pt x="1007" y="1849"/>
                    </a:lnTo>
                    <a:lnTo>
                      <a:pt x="1016" y="1857"/>
                    </a:lnTo>
                    <a:lnTo>
                      <a:pt x="1023" y="1865"/>
                    </a:lnTo>
                    <a:lnTo>
                      <a:pt x="1027" y="1871"/>
                    </a:lnTo>
                    <a:lnTo>
                      <a:pt x="1029" y="1876"/>
                    </a:lnTo>
                    <a:lnTo>
                      <a:pt x="1032" y="1882"/>
                    </a:lnTo>
                    <a:lnTo>
                      <a:pt x="1033" y="1887"/>
                    </a:lnTo>
                    <a:lnTo>
                      <a:pt x="1034" y="1899"/>
                    </a:lnTo>
                    <a:lnTo>
                      <a:pt x="1034" y="1913"/>
                    </a:lnTo>
                    <a:lnTo>
                      <a:pt x="1032" y="1925"/>
                    </a:lnTo>
                    <a:lnTo>
                      <a:pt x="1028" y="1938"/>
                    </a:lnTo>
                    <a:lnTo>
                      <a:pt x="1024" y="1952"/>
                    </a:lnTo>
                    <a:lnTo>
                      <a:pt x="1019" y="1966"/>
                    </a:lnTo>
                    <a:lnTo>
                      <a:pt x="1014" y="1980"/>
                    </a:lnTo>
                    <a:lnTo>
                      <a:pt x="1011" y="1993"/>
                    </a:lnTo>
                    <a:lnTo>
                      <a:pt x="1008" y="2006"/>
                    </a:lnTo>
                    <a:lnTo>
                      <a:pt x="1007" y="2018"/>
                    </a:lnTo>
                    <a:lnTo>
                      <a:pt x="1008" y="2030"/>
                    </a:lnTo>
                    <a:lnTo>
                      <a:pt x="1011" y="2041"/>
                    </a:lnTo>
                    <a:lnTo>
                      <a:pt x="1014" y="2046"/>
                    </a:lnTo>
                    <a:lnTo>
                      <a:pt x="1017" y="2051"/>
                    </a:lnTo>
                    <a:lnTo>
                      <a:pt x="1022" y="2056"/>
                    </a:lnTo>
                    <a:lnTo>
                      <a:pt x="1027" y="2061"/>
                    </a:lnTo>
                    <a:lnTo>
                      <a:pt x="1028" y="2061"/>
                    </a:lnTo>
                    <a:lnTo>
                      <a:pt x="1029" y="2061"/>
                    </a:lnTo>
                    <a:lnTo>
                      <a:pt x="1036" y="2059"/>
                    </a:lnTo>
                    <a:lnTo>
                      <a:pt x="1043" y="2056"/>
                    </a:lnTo>
                    <a:lnTo>
                      <a:pt x="1049" y="2051"/>
                    </a:lnTo>
                    <a:lnTo>
                      <a:pt x="1052" y="2045"/>
                    </a:lnTo>
                    <a:lnTo>
                      <a:pt x="1057" y="2037"/>
                    </a:lnTo>
                    <a:lnTo>
                      <a:pt x="1060" y="2030"/>
                    </a:lnTo>
                    <a:lnTo>
                      <a:pt x="1062" y="2022"/>
                    </a:lnTo>
                    <a:lnTo>
                      <a:pt x="1065" y="2012"/>
                    </a:lnTo>
                    <a:lnTo>
                      <a:pt x="1066" y="1990"/>
                    </a:lnTo>
                    <a:lnTo>
                      <a:pt x="1067" y="1966"/>
                    </a:lnTo>
                    <a:lnTo>
                      <a:pt x="1066" y="1941"/>
                    </a:lnTo>
                    <a:lnTo>
                      <a:pt x="1065" y="1914"/>
                    </a:lnTo>
                    <a:lnTo>
                      <a:pt x="1063" y="1887"/>
                    </a:lnTo>
                    <a:lnTo>
                      <a:pt x="1063" y="1859"/>
                    </a:lnTo>
                    <a:lnTo>
                      <a:pt x="1063" y="1833"/>
                    </a:lnTo>
                    <a:lnTo>
                      <a:pt x="1065" y="1807"/>
                    </a:lnTo>
                    <a:lnTo>
                      <a:pt x="1067" y="1795"/>
                    </a:lnTo>
                    <a:lnTo>
                      <a:pt x="1069" y="1784"/>
                    </a:lnTo>
                    <a:lnTo>
                      <a:pt x="1072" y="1773"/>
                    </a:lnTo>
                    <a:lnTo>
                      <a:pt x="1076" y="1763"/>
                    </a:lnTo>
                    <a:lnTo>
                      <a:pt x="1079" y="1753"/>
                    </a:lnTo>
                    <a:lnTo>
                      <a:pt x="1085" y="1745"/>
                    </a:lnTo>
                    <a:lnTo>
                      <a:pt x="1092" y="1737"/>
                    </a:lnTo>
                    <a:lnTo>
                      <a:pt x="1098" y="1730"/>
                    </a:lnTo>
                    <a:lnTo>
                      <a:pt x="1112" y="1720"/>
                    </a:lnTo>
                    <a:lnTo>
                      <a:pt x="1123" y="1712"/>
                    </a:lnTo>
                    <a:lnTo>
                      <a:pt x="1134" y="1706"/>
                    </a:lnTo>
                    <a:lnTo>
                      <a:pt x="1143" y="1703"/>
                    </a:lnTo>
                    <a:lnTo>
                      <a:pt x="1150" y="1702"/>
                    </a:lnTo>
                    <a:lnTo>
                      <a:pt x="1156" y="1702"/>
                    </a:lnTo>
                    <a:lnTo>
                      <a:pt x="1163" y="1704"/>
                    </a:lnTo>
                    <a:lnTo>
                      <a:pt x="1166" y="1708"/>
                    </a:lnTo>
                    <a:lnTo>
                      <a:pt x="1169" y="1714"/>
                    </a:lnTo>
                    <a:lnTo>
                      <a:pt x="1171" y="1720"/>
                    </a:lnTo>
                    <a:lnTo>
                      <a:pt x="1172" y="1729"/>
                    </a:lnTo>
                    <a:lnTo>
                      <a:pt x="1174" y="1737"/>
                    </a:lnTo>
                    <a:lnTo>
                      <a:pt x="1175" y="1758"/>
                    </a:lnTo>
                    <a:lnTo>
                      <a:pt x="1175" y="1782"/>
                    </a:lnTo>
                    <a:lnTo>
                      <a:pt x="1175" y="1806"/>
                    </a:lnTo>
                    <a:lnTo>
                      <a:pt x="1176" y="1831"/>
                    </a:lnTo>
                    <a:lnTo>
                      <a:pt x="1177" y="1843"/>
                    </a:lnTo>
                    <a:lnTo>
                      <a:pt x="1178" y="1854"/>
                    </a:lnTo>
                    <a:lnTo>
                      <a:pt x="1181" y="1865"/>
                    </a:lnTo>
                    <a:lnTo>
                      <a:pt x="1185" y="1875"/>
                    </a:lnTo>
                    <a:lnTo>
                      <a:pt x="1189" y="1883"/>
                    </a:lnTo>
                    <a:lnTo>
                      <a:pt x="1196" y="1892"/>
                    </a:lnTo>
                    <a:lnTo>
                      <a:pt x="1202" y="1899"/>
                    </a:lnTo>
                    <a:lnTo>
                      <a:pt x="1210" y="1904"/>
                    </a:lnTo>
                    <a:lnTo>
                      <a:pt x="1220" y="1908"/>
                    </a:lnTo>
                    <a:lnTo>
                      <a:pt x="1231" y="1910"/>
                    </a:lnTo>
                    <a:lnTo>
                      <a:pt x="1245" y="1910"/>
                    </a:lnTo>
                    <a:lnTo>
                      <a:pt x="1259" y="1909"/>
                    </a:lnTo>
                    <a:lnTo>
                      <a:pt x="1292" y="1892"/>
                    </a:lnTo>
                    <a:lnTo>
                      <a:pt x="1328" y="1872"/>
                    </a:lnTo>
                    <a:lnTo>
                      <a:pt x="1363" y="1853"/>
                    </a:lnTo>
                    <a:lnTo>
                      <a:pt x="1399" y="1831"/>
                    </a:lnTo>
                    <a:lnTo>
                      <a:pt x="1432" y="1807"/>
                    </a:lnTo>
                    <a:lnTo>
                      <a:pt x="1465" y="1783"/>
                    </a:lnTo>
                    <a:lnTo>
                      <a:pt x="1480" y="1771"/>
                    </a:lnTo>
                    <a:lnTo>
                      <a:pt x="1494" y="1757"/>
                    </a:lnTo>
                    <a:lnTo>
                      <a:pt x="1509" y="1742"/>
                    </a:lnTo>
                    <a:lnTo>
                      <a:pt x="1521" y="1729"/>
                    </a:lnTo>
                    <a:lnTo>
                      <a:pt x="1533" y="1715"/>
                    </a:lnTo>
                    <a:lnTo>
                      <a:pt x="1546" y="1703"/>
                    </a:lnTo>
                    <a:lnTo>
                      <a:pt x="1558" y="1693"/>
                    </a:lnTo>
                    <a:lnTo>
                      <a:pt x="1570" y="1686"/>
                    </a:lnTo>
                    <a:lnTo>
                      <a:pt x="1581" y="1680"/>
                    </a:lnTo>
                    <a:lnTo>
                      <a:pt x="1593" y="1675"/>
                    </a:lnTo>
                    <a:lnTo>
                      <a:pt x="1606" y="1673"/>
                    </a:lnTo>
                    <a:lnTo>
                      <a:pt x="1617" y="1670"/>
                    </a:lnTo>
                    <a:lnTo>
                      <a:pt x="1628" y="1670"/>
                    </a:lnTo>
                    <a:lnTo>
                      <a:pt x="1640" y="1671"/>
                    </a:lnTo>
                    <a:lnTo>
                      <a:pt x="1651" y="1674"/>
                    </a:lnTo>
                    <a:lnTo>
                      <a:pt x="1662" y="1676"/>
                    </a:lnTo>
                    <a:lnTo>
                      <a:pt x="1673" y="1681"/>
                    </a:lnTo>
                    <a:lnTo>
                      <a:pt x="1685" y="1686"/>
                    </a:lnTo>
                    <a:lnTo>
                      <a:pt x="1696" y="1692"/>
                    </a:lnTo>
                    <a:lnTo>
                      <a:pt x="1707" y="1698"/>
                    </a:lnTo>
                    <a:lnTo>
                      <a:pt x="1729" y="1714"/>
                    </a:lnTo>
                    <a:lnTo>
                      <a:pt x="1751" y="1731"/>
                    </a:lnTo>
                    <a:lnTo>
                      <a:pt x="1773" y="1750"/>
                    </a:lnTo>
                    <a:lnTo>
                      <a:pt x="1797" y="1769"/>
                    </a:lnTo>
                    <a:lnTo>
                      <a:pt x="1819" y="1789"/>
                    </a:lnTo>
                    <a:lnTo>
                      <a:pt x="1842" y="1807"/>
                    </a:lnTo>
                    <a:lnTo>
                      <a:pt x="1864" y="1824"/>
                    </a:lnTo>
                    <a:lnTo>
                      <a:pt x="1887" y="1839"/>
                    </a:lnTo>
                    <a:lnTo>
                      <a:pt x="2078" y="1951"/>
                    </a:lnTo>
                    <a:lnTo>
                      <a:pt x="2094" y="1958"/>
                    </a:lnTo>
                    <a:lnTo>
                      <a:pt x="2106" y="1963"/>
                    </a:lnTo>
                    <a:lnTo>
                      <a:pt x="2112" y="1964"/>
                    </a:lnTo>
                    <a:lnTo>
                      <a:pt x="2116" y="1964"/>
                    </a:lnTo>
                    <a:lnTo>
                      <a:pt x="2121" y="1964"/>
                    </a:lnTo>
                    <a:lnTo>
                      <a:pt x="2125" y="1963"/>
                    </a:lnTo>
                    <a:lnTo>
                      <a:pt x="2127" y="1962"/>
                    </a:lnTo>
                    <a:lnTo>
                      <a:pt x="2131" y="1959"/>
                    </a:lnTo>
                    <a:lnTo>
                      <a:pt x="2132" y="1957"/>
                    </a:lnTo>
                    <a:lnTo>
                      <a:pt x="2134" y="1953"/>
                    </a:lnTo>
                    <a:lnTo>
                      <a:pt x="2137" y="1946"/>
                    </a:lnTo>
                    <a:lnTo>
                      <a:pt x="2139" y="1937"/>
                    </a:lnTo>
                    <a:lnTo>
                      <a:pt x="2140" y="1916"/>
                    </a:lnTo>
                    <a:lnTo>
                      <a:pt x="2142" y="1894"/>
                    </a:lnTo>
                    <a:lnTo>
                      <a:pt x="2144" y="1883"/>
                    </a:lnTo>
                    <a:lnTo>
                      <a:pt x="2147" y="1873"/>
                    </a:lnTo>
                    <a:lnTo>
                      <a:pt x="2150" y="1865"/>
                    </a:lnTo>
                    <a:lnTo>
                      <a:pt x="2155" y="1857"/>
                    </a:lnTo>
                    <a:lnTo>
                      <a:pt x="2161" y="1851"/>
                    </a:lnTo>
                    <a:lnTo>
                      <a:pt x="2167" y="1848"/>
                    </a:lnTo>
                    <a:lnTo>
                      <a:pt x="2174" y="1846"/>
                    </a:lnTo>
                    <a:lnTo>
                      <a:pt x="2181" y="1846"/>
                    </a:lnTo>
                    <a:lnTo>
                      <a:pt x="2193" y="1848"/>
                    </a:lnTo>
                    <a:lnTo>
                      <a:pt x="2207" y="1853"/>
                    </a:lnTo>
                    <a:lnTo>
                      <a:pt x="2219" y="1856"/>
                    </a:lnTo>
                    <a:lnTo>
                      <a:pt x="2229" y="1856"/>
                    </a:lnTo>
                    <a:lnTo>
                      <a:pt x="2234" y="1856"/>
                    </a:lnTo>
                    <a:lnTo>
                      <a:pt x="2237" y="1853"/>
                    </a:lnTo>
                    <a:lnTo>
                      <a:pt x="2240" y="1849"/>
                    </a:lnTo>
                    <a:lnTo>
                      <a:pt x="2242" y="1842"/>
                    </a:lnTo>
                    <a:lnTo>
                      <a:pt x="2245" y="1831"/>
                    </a:lnTo>
                    <a:lnTo>
                      <a:pt x="2249" y="1820"/>
                    </a:lnTo>
                    <a:lnTo>
                      <a:pt x="2254" y="1809"/>
                    </a:lnTo>
                    <a:lnTo>
                      <a:pt x="2260" y="1800"/>
                    </a:lnTo>
                    <a:lnTo>
                      <a:pt x="2268" y="1793"/>
                    </a:lnTo>
                    <a:lnTo>
                      <a:pt x="2278" y="1788"/>
                    </a:lnTo>
                    <a:lnTo>
                      <a:pt x="2289" y="1783"/>
                    </a:lnTo>
                    <a:lnTo>
                      <a:pt x="2301" y="1782"/>
                    </a:lnTo>
                    <a:lnTo>
                      <a:pt x="2307" y="1782"/>
                    </a:lnTo>
                    <a:lnTo>
                      <a:pt x="2311" y="1784"/>
                    </a:lnTo>
                    <a:lnTo>
                      <a:pt x="2314" y="1789"/>
                    </a:lnTo>
                    <a:lnTo>
                      <a:pt x="2317" y="1795"/>
                    </a:lnTo>
                    <a:lnTo>
                      <a:pt x="2319" y="1810"/>
                    </a:lnTo>
                    <a:lnTo>
                      <a:pt x="2319" y="1827"/>
                    </a:lnTo>
                    <a:lnTo>
                      <a:pt x="2318" y="1845"/>
                    </a:lnTo>
                    <a:lnTo>
                      <a:pt x="2318" y="1864"/>
                    </a:lnTo>
                    <a:lnTo>
                      <a:pt x="2318" y="1871"/>
                    </a:lnTo>
                    <a:lnTo>
                      <a:pt x="2319" y="1878"/>
                    </a:lnTo>
                    <a:lnTo>
                      <a:pt x="2322" y="1883"/>
                    </a:lnTo>
                    <a:lnTo>
                      <a:pt x="2324" y="1888"/>
                    </a:lnTo>
                    <a:lnTo>
                      <a:pt x="2327" y="1891"/>
                    </a:lnTo>
                    <a:lnTo>
                      <a:pt x="2330" y="1891"/>
                    </a:lnTo>
                    <a:lnTo>
                      <a:pt x="2333" y="1891"/>
                    </a:lnTo>
                    <a:lnTo>
                      <a:pt x="2336" y="1888"/>
                    </a:lnTo>
                    <a:lnTo>
                      <a:pt x="2342" y="1882"/>
                    </a:lnTo>
                    <a:lnTo>
                      <a:pt x="2349" y="1873"/>
                    </a:lnTo>
                    <a:lnTo>
                      <a:pt x="2360" y="1855"/>
                    </a:lnTo>
                    <a:lnTo>
                      <a:pt x="2367" y="1843"/>
                    </a:lnTo>
                    <a:lnTo>
                      <a:pt x="2379" y="1827"/>
                    </a:lnTo>
                    <a:lnTo>
                      <a:pt x="2389" y="1813"/>
                    </a:lnTo>
                    <a:lnTo>
                      <a:pt x="2395" y="1807"/>
                    </a:lnTo>
                    <a:lnTo>
                      <a:pt x="2401" y="1802"/>
                    </a:lnTo>
                    <a:lnTo>
                      <a:pt x="2409" y="1796"/>
                    </a:lnTo>
                    <a:lnTo>
                      <a:pt x="2417" y="1791"/>
                    </a:lnTo>
                    <a:lnTo>
                      <a:pt x="2432" y="1802"/>
                    </a:lnTo>
                    <a:lnTo>
                      <a:pt x="2445" y="1817"/>
                    </a:lnTo>
                    <a:lnTo>
                      <a:pt x="2455" y="1849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8"/>
              <p:cNvSpPr>
                <a:spLocks/>
              </p:cNvSpPr>
              <p:nvPr/>
            </p:nvSpPr>
            <p:spPr bwMode="auto">
              <a:xfrm>
                <a:off x="-1211263" y="7673368"/>
                <a:ext cx="146050" cy="80963"/>
              </a:xfrm>
              <a:custGeom>
                <a:avLst/>
                <a:gdLst>
                  <a:gd name="T0" fmla="*/ 0 w 366"/>
                  <a:gd name="T1" fmla="*/ 55 h 204"/>
                  <a:gd name="T2" fmla="*/ 1 w 366"/>
                  <a:gd name="T3" fmla="*/ 50 h 204"/>
                  <a:gd name="T4" fmla="*/ 95 w 366"/>
                  <a:gd name="T5" fmla="*/ 58 h 204"/>
                  <a:gd name="T6" fmla="*/ 145 w 366"/>
                  <a:gd name="T7" fmla="*/ 58 h 204"/>
                  <a:gd name="T8" fmla="*/ 167 w 366"/>
                  <a:gd name="T9" fmla="*/ 55 h 204"/>
                  <a:gd name="T10" fmla="*/ 185 w 366"/>
                  <a:gd name="T11" fmla="*/ 49 h 204"/>
                  <a:gd name="T12" fmla="*/ 190 w 366"/>
                  <a:gd name="T13" fmla="*/ 43 h 204"/>
                  <a:gd name="T14" fmla="*/ 193 w 366"/>
                  <a:gd name="T15" fmla="*/ 34 h 204"/>
                  <a:gd name="T16" fmla="*/ 197 w 366"/>
                  <a:gd name="T17" fmla="*/ 17 h 204"/>
                  <a:gd name="T18" fmla="*/ 202 w 366"/>
                  <a:gd name="T19" fmla="*/ 2 h 204"/>
                  <a:gd name="T20" fmla="*/ 207 w 366"/>
                  <a:gd name="T21" fmla="*/ 0 h 204"/>
                  <a:gd name="T22" fmla="*/ 215 w 366"/>
                  <a:gd name="T23" fmla="*/ 1 h 204"/>
                  <a:gd name="T24" fmla="*/ 225 w 366"/>
                  <a:gd name="T25" fmla="*/ 7 h 204"/>
                  <a:gd name="T26" fmla="*/ 235 w 366"/>
                  <a:gd name="T27" fmla="*/ 18 h 204"/>
                  <a:gd name="T28" fmla="*/ 245 w 366"/>
                  <a:gd name="T29" fmla="*/ 29 h 204"/>
                  <a:gd name="T30" fmla="*/ 258 w 366"/>
                  <a:gd name="T31" fmla="*/ 36 h 204"/>
                  <a:gd name="T32" fmla="*/ 286 w 366"/>
                  <a:gd name="T33" fmla="*/ 46 h 204"/>
                  <a:gd name="T34" fmla="*/ 314 w 366"/>
                  <a:gd name="T35" fmla="*/ 58 h 204"/>
                  <a:gd name="T36" fmla="*/ 338 w 366"/>
                  <a:gd name="T37" fmla="*/ 76 h 204"/>
                  <a:gd name="T38" fmla="*/ 347 w 366"/>
                  <a:gd name="T39" fmla="*/ 87 h 204"/>
                  <a:gd name="T40" fmla="*/ 356 w 366"/>
                  <a:gd name="T41" fmla="*/ 100 h 204"/>
                  <a:gd name="T42" fmla="*/ 365 w 366"/>
                  <a:gd name="T43" fmla="*/ 126 h 204"/>
                  <a:gd name="T44" fmla="*/ 365 w 366"/>
                  <a:gd name="T45" fmla="*/ 150 h 204"/>
                  <a:gd name="T46" fmla="*/ 358 w 366"/>
                  <a:gd name="T47" fmla="*/ 172 h 204"/>
                  <a:gd name="T48" fmla="*/ 346 w 366"/>
                  <a:gd name="T49" fmla="*/ 189 h 204"/>
                  <a:gd name="T50" fmla="*/ 328 w 366"/>
                  <a:gd name="T51" fmla="*/ 201 h 204"/>
                  <a:gd name="T52" fmla="*/ 307 w 366"/>
                  <a:gd name="T53" fmla="*/ 204 h 204"/>
                  <a:gd name="T54" fmla="*/ 283 w 366"/>
                  <a:gd name="T55" fmla="*/ 199 h 204"/>
                  <a:gd name="T56" fmla="*/ 257 w 366"/>
                  <a:gd name="T57" fmla="*/ 185 h 204"/>
                  <a:gd name="T58" fmla="*/ 214 w 366"/>
                  <a:gd name="T59" fmla="*/ 153 h 204"/>
                  <a:gd name="T60" fmla="*/ 191 w 366"/>
                  <a:gd name="T61" fmla="*/ 142 h 204"/>
                  <a:gd name="T62" fmla="*/ 164 w 366"/>
                  <a:gd name="T63" fmla="*/ 137 h 204"/>
                  <a:gd name="T64" fmla="*/ 128 w 366"/>
                  <a:gd name="T65" fmla="*/ 138 h 204"/>
                  <a:gd name="T66" fmla="*/ 93 w 366"/>
                  <a:gd name="T67" fmla="*/ 143 h 204"/>
                  <a:gd name="T68" fmla="*/ 23 w 366"/>
                  <a:gd name="T69" fmla="*/ 1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66" h="204">
                    <a:moveTo>
                      <a:pt x="0" y="148"/>
                    </a:moveTo>
                    <a:lnTo>
                      <a:pt x="0" y="55"/>
                    </a:lnTo>
                    <a:lnTo>
                      <a:pt x="0" y="52"/>
                    </a:lnTo>
                    <a:lnTo>
                      <a:pt x="1" y="50"/>
                    </a:lnTo>
                    <a:lnTo>
                      <a:pt x="44" y="54"/>
                    </a:lnTo>
                    <a:lnTo>
                      <a:pt x="95" y="58"/>
                    </a:lnTo>
                    <a:lnTo>
                      <a:pt x="122" y="60"/>
                    </a:lnTo>
                    <a:lnTo>
                      <a:pt x="145" y="58"/>
                    </a:lnTo>
                    <a:lnTo>
                      <a:pt x="156" y="57"/>
                    </a:lnTo>
                    <a:lnTo>
                      <a:pt x="167" y="55"/>
                    </a:lnTo>
                    <a:lnTo>
                      <a:pt x="176" y="52"/>
                    </a:lnTo>
                    <a:lnTo>
                      <a:pt x="185" y="49"/>
                    </a:lnTo>
                    <a:lnTo>
                      <a:pt x="187" y="45"/>
                    </a:lnTo>
                    <a:lnTo>
                      <a:pt x="190" y="43"/>
                    </a:lnTo>
                    <a:lnTo>
                      <a:pt x="192" y="39"/>
                    </a:lnTo>
                    <a:lnTo>
                      <a:pt x="193" y="34"/>
                    </a:lnTo>
                    <a:lnTo>
                      <a:pt x="196" y="25"/>
                    </a:lnTo>
                    <a:lnTo>
                      <a:pt x="197" y="17"/>
                    </a:lnTo>
                    <a:lnTo>
                      <a:pt x="199" y="8"/>
                    </a:lnTo>
                    <a:lnTo>
                      <a:pt x="202" y="2"/>
                    </a:lnTo>
                    <a:lnTo>
                      <a:pt x="204" y="0"/>
                    </a:lnTo>
                    <a:lnTo>
                      <a:pt x="207" y="0"/>
                    </a:lnTo>
                    <a:lnTo>
                      <a:pt x="210" y="0"/>
                    </a:lnTo>
                    <a:lnTo>
                      <a:pt x="215" y="1"/>
                    </a:lnTo>
                    <a:lnTo>
                      <a:pt x="220" y="3"/>
                    </a:lnTo>
                    <a:lnTo>
                      <a:pt x="225" y="7"/>
                    </a:lnTo>
                    <a:lnTo>
                      <a:pt x="230" y="13"/>
                    </a:lnTo>
                    <a:lnTo>
                      <a:pt x="235" y="18"/>
                    </a:lnTo>
                    <a:lnTo>
                      <a:pt x="238" y="24"/>
                    </a:lnTo>
                    <a:lnTo>
                      <a:pt x="245" y="29"/>
                    </a:lnTo>
                    <a:lnTo>
                      <a:pt x="251" y="34"/>
                    </a:lnTo>
                    <a:lnTo>
                      <a:pt x="258" y="36"/>
                    </a:lnTo>
                    <a:lnTo>
                      <a:pt x="272" y="41"/>
                    </a:lnTo>
                    <a:lnTo>
                      <a:pt x="286" y="46"/>
                    </a:lnTo>
                    <a:lnTo>
                      <a:pt x="300" y="52"/>
                    </a:lnTo>
                    <a:lnTo>
                      <a:pt x="314" y="58"/>
                    </a:lnTo>
                    <a:lnTo>
                      <a:pt x="327" y="67"/>
                    </a:lnTo>
                    <a:lnTo>
                      <a:pt x="338" y="76"/>
                    </a:lnTo>
                    <a:lnTo>
                      <a:pt x="343" y="82"/>
                    </a:lnTo>
                    <a:lnTo>
                      <a:pt x="347" y="87"/>
                    </a:lnTo>
                    <a:lnTo>
                      <a:pt x="352" y="93"/>
                    </a:lnTo>
                    <a:lnTo>
                      <a:pt x="356" y="100"/>
                    </a:lnTo>
                    <a:lnTo>
                      <a:pt x="361" y="114"/>
                    </a:lnTo>
                    <a:lnTo>
                      <a:pt x="365" y="126"/>
                    </a:lnTo>
                    <a:lnTo>
                      <a:pt x="366" y="139"/>
                    </a:lnTo>
                    <a:lnTo>
                      <a:pt x="365" y="150"/>
                    </a:lnTo>
                    <a:lnTo>
                      <a:pt x="362" y="163"/>
                    </a:lnTo>
                    <a:lnTo>
                      <a:pt x="358" y="172"/>
                    </a:lnTo>
                    <a:lnTo>
                      <a:pt x="354" y="181"/>
                    </a:lnTo>
                    <a:lnTo>
                      <a:pt x="346" y="189"/>
                    </a:lnTo>
                    <a:lnTo>
                      <a:pt x="338" y="196"/>
                    </a:lnTo>
                    <a:lnTo>
                      <a:pt x="328" y="201"/>
                    </a:lnTo>
                    <a:lnTo>
                      <a:pt x="318" y="203"/>
                    </a:lnTo>
                    <a:lnTo>
                      <a:pt x="307" y="204"/>
                    </a:lnTo>
                    <a:lnTo>
                      <a:pt x="295" y="203"/>
                    </a:lnTo>
                    <a:lnTo>
                      <a:pt x="283" y="199"/>
                    </a:lnTo>
                    <a:lnTo>
                      <a:pt x="270" y="193"/>
                    </a:lnTo>
                    <a:lnTo>
                      <a:pt x="257" y="185"/>
                    </a:lnTo>
                    <a:lnTo>
                      <a:pt x="236" y="167"/>
                    </a:lnTo>
                    <a:lnTo>
                      <a:pt x="214" y="153"/>
                    </a:lnTo>
                    <a:lnTo>
                      <a:pt x="203" y="147"/>
                    </a:lnTo>
                    <a:lnTo>
                      <a:pt x="191" y="142"/>
                    </a:lnTo>
                    <a:lnTo>
                      <a:pt x="179" y="138"/>
                    </a:lnTo>
                    <a:lnTo>
                      <a:pt x="164" y="137"/>
                    </a:lnTo>
                    <a:lnTo>
                      <a:pt x="147" y="137"/>
                    </a:lnTo>
                    <a:lnTo>
                      <a:pt x="128" y="138"/>
                    </a:lnTo>
                    <a:lnTo>
                      <a:pt x="111" y="141"/>
                    </a:lnTo>
                    <a:lnTo>
                      <a:pt x="93" y="143"/>
                    </a:lnTo>
                    <a:lnTo>
                      <a:pt x="59" y="150"/>
                    </a:lnTo>
                    <a:lnTo>
                      <a:pt x="23" y="156"/>
                    </a:lnTo>
                    <a:lnTo>
                      <a:pt x="0" y="1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9"/>
              <p:cNvSpPr>
                <a:spLocks/>
              </p:cNvSpPr>
              <p:nvPr/>
            </p:nvSpPr>
            <p:spPr bwMode="auto">
              <a:xfrm>
                <a:off x="-1211263" y="7946418"/>
                <a:ext cx="341313" cy="382588"/>
              </a:xfrm>
              <a:custGeom>
                <a:avLst/>
                <a:gdLst>
                  <a:gd name="T0" fmla="*/ 24 w 859"/>
                  <a:gd name="T1" fmla="*/ 16 h 965"/>
                  <a:gd name="T2" fmla="*/ 78 w 859"/>
                  <a:gd name="T3" fmla="*/ 74 h 965"/>
                  <a:gd name="T4" fmla="*/ 123 w 859"/>
                  <a:gd name="T5" fmla="*/ 91 h 965"/>
                  <a:gd name="T6" fmla="*/ 194 w 859"/>
                  <a:gd name="T7" fmla="*/ 75 h 965"/>
                  <a:gd name="T8" fmla="*/ 267 w 859"/>
                  <a:gd name="T9" fmla="*/ 59 h 965"/>
                  <a:gd name="T10" fmla="*/ 272 w 859"/>
                  <a:gd name="T11" fmla="*/ 104 h 965"/>
                  <a:gd name="T12" fmla="*/ 269 w 859"/>
                  <a:gd name="T13" fmla="*/ 152 h 965"/>
                  <a:gd name="T14" fmla="*/ 317 w 859"/>
                  <a:gd name="T15" fmla="*/ 189 h 965"/>
                  <a:gd name="T16" fmla="*/ 369 w 859"/>
                  <a:gd name="T17" fmla="*/ 228 h 965"/>
                  <a:gd name="T18" fmla="*/ 415 w 859"/>
                  <a:gd name="T19" fmla="*/ 282 h 965"/>
                  <a:gd name="T20" fmla="*/ 445 w 859"/>
                  <a:gd name="T21" fmla="*/ 344 h 965"/>
                  <a:gd name="T22" fmla="*/ 451 w 859"/>
                  <a:gd name="T23" fmla="*/ 390 h 965"/>
                  <a:gd name="T24" fmla="*/ 438 w 859"/>
                  <a:gd name="T25" fmla="*/ 407 h 965"/>
                  <a:gd name="T26" fmla="*/ 399 w 859"/>
                  <a:gd name="T27" fmla="*/ 408 h 965"/>
                  <a:gd name="T28" fmla="*/ 343 w 859"/>
                  <a:gd name="T29" fmla="*/ 410 h 965"/>
                  <a:gd name="T30" fmla="*/ 322 w 859"/>
                  <a:gd name="T31" fmla="*/ 434 h 965"/>
                  <a:gd name="T32" fmla="*/ 334 w 859"/>
                  <a:gd name="T33" fmla="*/ 480 h 965"/>
                  <a:gd name="T34" fmla="*/ 316 w 859"/>
                  <a:gd name="T35" fmla="*/ 504 h 965"/>
                  <a:gd name="T36" fmla="*/ 253 w 859"/>
                  <a:gd name="T37" fmla="*/ 537 h 965"/>
                  <a:gd name="T38" fmla="*/ 227 w 859"/>
                  <a:gd name="T39" fmla="*/ 587 h 965"/>
                  <a:gd name="T40" fmla="*/ 237 w 859"/>
                  <a:gd name="T41" fmla="*/ 594 h 965"/>
                  <a:gd name="T42" fmla="*/ 322 w 859"/>
                  <a:gd name="T43" fmla="*/ 562 h 965"/>
                  <a:gd name="T44" fmla="*/ 382 w 859"/>
                  <a:gd name="T45" fmla="*/ 549 h 965"/>
                  <a:gd name="T46" fmla="*/ 440 w 859"/>
                  <a:gd name="T47" fmla="*/ 583 h 965"/>
                  <a:gd name="T48" fmla="*/ 485 w 859"/>
                  <a:gd name="T49" fmla="*/ 589 h 965"/>
                  <a:gd name="T50" fmla="*/ 558 w 859"/>
                  <a:gd name="T51" fmla="*/ 538 h 965"/>
                  <a:gd name="T52" fmla="*/ 636 w 859"/>
                  <a:gd name="T53" fmla="*/ 495 h 965"/>
                  <a:gd name="T54" fmla="*/ 720 w 859"/>
                  <a:gd name="T55" fmla="*/ 478 h 965"/>
                  <a:gd name="T56" fmla="*/ 810 w 859"/>
                  <a:gd name="T57" fmla="*/ 488 h 965"/>
                  <a:gd name="T58" fmla="*/ 858 w 859"/>
                  <a:gd name="T59" fmla="*/ 513 h 965"/>
                  <a:gd name="T60" fmla="*/ 843 w 859"/>
                  <a:gd name="T61" fmla="*/ 543 h 965"/>
                  <a:gd name="T62" fmla="*/ 779 w 859"/>
                  <a:gd name="T63" fmla="*/ 562 h 965"/>
                  <a:gd name="T64" fmla="*/ 540 w 859"/>
                  <a:gd name="T65" fmla="*/ 604 h 965"/>
                  <a:gd name="T66" fmla="*/ 531 w 859"/>
                  <a:gd name="T67" fmla="*/ 622 h 965"/>
                  <a:gd name="T68" fmla="*/ 559 w 859"/>
                  <a:gd name="T69" fmla="*/ 654 h 965"/>
                  <a:gd name="T70" fmla="*/ 600 w 859"/>
                  <a:gd name="T71" fmla="*/ 703 h 965"/>
                  <a:gd name="T72" fmla="*/ 662 w 859"/>
                  <a:gd name="T73" fmla="*/ 741 h 965"/>
                  <a:gd name="T74" fmla="*/ 684 w 859"/>
                  <a:gd name="T75" fmla="*/ 752 h 965"/>
                  <a:gd name="T76" fmla="*/ 727 w 859"/>
                  <a:gd name="T77" fmla="*/ 812 h 965"/>
                  <a:gd name="T78" fmla="*/ 740 w 859"/>
                  <a:gd name="T79" fmla="*/ 839 h 965"/>
                  <a:gd name="T80" fmla="*/ 720 w 859"/>
                  <a:gd name="T81" fmla="*/ 849 h 965"/>
                  <a:gd name="T82" fmla="*/ 666 w 859"/>
                  <a:gd name="T83" fmla="*/ 823 h 965"/>
                  <a:gd name="T84" fmla="*/ 629 w 859"/>
                  <a:gd name="T85" fmla="*/ 799 h 965"/>
                  <a:gd name="T86" fmla="*/ 587 w 859"/>
                  <a:gd name="T87" fmla="*/ 802 h 965"/>
                  <a:gd name="T88" fmla="*/ 531 w 859"/>
                  <a:gd name="T89" fmla="*/ 791 h 965"/>
                  <a:gd name="T90" fmla="*/ 505 w 859"/>
                  <a:gd name="T91" fmla="*/ 786 h 965"/>
                  <a:gd name="T92" fmla="*/ 491 w 859"/>
                  <a:gd name="T93" fmla="*/ 817 h 965"/>
                  <a:gd name="T94" fmla="*/ 496 w 859"/>
                  <a:gd name="T95" fmla="*/ 921 h 965"/>
                  <a:gd name="T96" fmla="*/ 476 w 859"/>
                  <a:gd name="T97" fmla="*/ 961 h 965"/>
                  <a:gd name="T98" fmla="*/ 451 w 859"/>
                  <a:gd name="T99" fmla="*/ 958 h 965"/>
                  <a:gd name="T100" fmla="*/ 427 w 859"/>
                  <a:gd name="T101" fmla="*/ 911 h 965"/>
                  <a:gd name="T102" fmla="*/ 341 w 859"/>
                  <a:gd name="T103" fmla="*/ 850 h 965"/>
                  <a:gd name="T104" fmla="*/ 281 w 859"/>
                  <a:gd name="T105" fmla="*/ 839 h 965"/>
                  <a:gd name="T106" fmla="*/ 230 w 859"/>
                  <a:gd name="T107" fmla="*/ 818 h 965"/>
                  <a:gd name="T108" fmla="*/ 212 w 859"/>
                  <a:gd name="T109" fmla="*/ 750 h 965"/>
                  <a:gd name="T110" fmla="*/ 190 w 859"/>
                  <a:gd name="T111" fmla="*/ 718 h 965"/>
                  <a:gd name="T112" fmla="*/ 161 w 859"/>
                  <a:gd name="T113" fmla="*/ 710 h 965"/>
                  <a:gd name="T114" fmla="*/ 122 w 859"/>
                  <a:gd name="T115" fmla="*/ 719 h 965"/>
                  <a:gd name="T116" fmla="*/ 57 w 859"/>
                  <a:gd name="T117" fmla="*/ 756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59" h="965">
                    <a:moveTo>
                      <a:pt x="0" y="762"/>
                    </a:moveTo>
                    <a:lnTo>
                      <a:pt x="0" y="0"/>
                    </a:lnTo>
                    <a:lnTo>
                      <a:pt x="8" y="5"/>
                    </a:lnTo>
                    <a:lnTo>
                      <a:pt x="17" y="10"/>
                    </a:lnTo>
                    <a:lnTo>
                      <a:pt x="24" y="16"/>
                    </a:lnTo>
                    <a:lnTo>
                      <a:pt x="30" y="22"/>
                    </a:lnTo>
                    <a:lnTo>
                      <a:pt x="43" y="35"/>
                    </a:lnTo>
                    <a:lnTo>
                      <a:pt x="54" y="49"/>
                    </a:lnTo>
                    <a:lnTo>
                      <a:pt x="66" y="63"/>
                    </a:lnTo>
                    <a:lnTo>
                      <a:pt x="78" y="74"/>
                    </a:lnTo>
                    <a:lnTo>
                      <a:pt x="85" y="80"/>
                    </a:lnTo>
                    <a:lnTo>
                      <a:pt x="94" y="84"/>
                    </a:lnTo>
                    <a:lnTo>
                      <a:pt x="103" y="87"/>
                    </a:lnTo>
                    <a:lnTo>
                      <a:pt x="114" y="90"/>
                    </a:lnTo>
                    <a:lnTo>
                      <a:pt x="123" y="91"/>
                    </a:lnTo>
                    <a:lnTo>
                      <a:pt x="134" y="91"/>
                    </a:lnTo>
                    <a:lnTo>
                      <a:pt x="144" y="91"/>
                    </a:lnTo>
                    <a:lnTo>
                      <a:pt x="154" y="88"/>
                    </a:lnTo>
                    <a:lnTo>
                      <a:pt x="175" y="82"/>
                    </a:lnTo>
                    <a:lnTo>
                      <a:pt x="194" y="75"/>
                    </a:lnTo>
                    <a:lnTo>
                      <a:pt x="215" y="68"/>
                    </a:lnTo>
                    <a:lnTo>
                      <a:pt x="236" y="62"/>
                    </a:lnTo>
                    <a:lnTo>
                      <a:pt x="246" y="60"/>
                    </a:lnTo>
                    <a:lnTo>
                      <a:pt x="256" y="59"/>
                    </a:lnTo>
                    <a:lnTo>
                      <a:pt x="267" y="59"/>
                    </a:lnTo>
                    <a:lnTo>
                      <a:pt x="276" y="60"/>
                    </a:lnTo>
                    <a:lnTo>
                      <a:pt x="276" y="73"/>
                    </a:lnTo>
                    <a:lnTo>
                      <a:pt x="275" y="85"/>
                    </a:lnTo>
                    <a:lnTo>
                      <a:pt x="273" y="96"/>
                    </a:lnTo>
                    <a:lnTo>
                      <a:pt x="272" y="104"/>
                    </a:lnTo>
                    <a:lnTo>
                      <a:pt x="267" y="120"/>
                    </a:lnTo>
                    <a:lnTo>
                      <a:pt x="264" y="134"/>
                    </a:lnTo>
                    <a:lnTo>
                      <a:pt x="265" y="141"/>
                    </a:lnTo>
                    <a:lnTo>
                      <a:pt x="267" y="146"/>
                    </a:lnTo>
                    <a:lnTo>
                      <a:pt x="269" y="152"/>
                    </a:lnTo>
                    <a:lnTo>
                      <a:pt x="274" y="158"/>
                    </a:lnTo>
                    <a:lnTo>
                      <a:pt x="281" y="166"/>
                    </a:lnTo>
                    <a:lnTo>
                      <a:pt x="290" y="172"/>
                    </a:lnTo>
                    <a:lnTo>
                      <a:pt x="302" y="180"/>
                    </a:lnTo>
                    <a:lnTo>
                      <a:pt x="317" y="189"/>
                    </a:lnTo>
                    <a:lnTo>
                      <a:pt x="327" y="195"/>
                    </a:lnTo>
                    <a:lnTo>
                      <a:pt x="338" y="202"/>
                    </a:lnTo>
                    <a:lnTo>
                      <a:pt x="349" y="210"/>
                    </a:lnTo>
                    <a:lnTo>
                      <a:pt x="358" y="218"/>
                    </a:lnTo>
                    <a:lnTo>
                      <a:pt x="369" y="228"/>
                    </a:lnTo>
                    <a:lnTo>
                      <a:pt x="379" y="238"/>
                    </a:lnTo>
                    <a:lnTo>
                      <a:pt x="389" y="249"/>
                    </a:lnTo>
                    <a:lnTo>
                      <a:pt x="398" y="260"/>
                    </a:lnTo>
                    <a:lnTo>
                      <a:pt x="406" y="271"/>
                    </a:lnTo>
                    <a:lnTo>
                      <a:pt x="415" y="282"/>
                    </a:lnTo>
                    <a:lnTo>
                      <a:pt x="422" y="294"/>
                    </a:lnTo>
                    <a:lnTo>
                      <a:pt x="428" y="306"/>
                    </a:lnTo>
                    <a:lnTo>
                      <a:pt x="434" y="319"/>
                    </a:lnTo>
                    <a:lnTo>
                      <a:pt x="440" y="331"/>
                    </a:lnTo>
                    <a:lnTo>
                      <a:pt x="445" y="344"/>
                    </a:lnTo>
                    <a:lnTo>
                      <a:pt x="449" y="357"/>
                    </a:lnTo>
                    <a:lnTo>
                      <a:pt x="450" y="366"/>
                    </a:lnTo>
                    <a:lnTo>
                      <a:pt x="451" y="375"/>
                    </a:lnTo>
                    <a:lnTo>
                      <a:pt x="453" y="384"/>
                    </a:lnTo>
                    <a:lnTo>
                      <a:pt x="451" y="390"/>
                    </a:lnTo>
                    <a:lnTo>
                      <a:pt x="450" y="395"/>
                    </a:lnTo>
                    <a:lnTo>
                      <a:pt x="449" y="399"/>
                    </a:lnTo>
                    <a:lnTo>
                      <a:pt x="445" y="403"/>
                    </a:lnTo>
                    <a:lnTo>
                      <a:pt x="443" y="406"/>
                    </a:lnTo>
                    <a:lnTo>
                      <a:pt x="438" y="407"/>
                    </a:lnTo>
                    <a:lnTo>
                      <a:pt x="434" y="408"/>
                    </a:lnTo>
                    <a:lnTo>
                      <a:pt x="429" y="409"/>
                    </a:lnTo>
                    <a:lnTo>
                      <a:pt x="423" y="409"/>
                    </a:lnTo>
                    <a:lnTo>
                      <a:pt x="412" y="409"/>
                    </a:lnTo>
                    <a:lnTo>
                      <a:pt x="399" y="408"/>
                    </a:lnTo>
                    <a:lnTo>
                      <a:pt x="385" y="407"/>
                    </a:lnTo>
                    <a:lnTo>
                      <a:pt x="373" y="406"/>
                    </a:lnTo>
                    <a:lnTo>
                      <a:pt x="360" y="406"/>
                    </a:lnTo>
                    <a:lnTo>
                      <a:pt x="347" y="408"/>
                    </a:lnTo>
                    <a:lnTo>
                      <a:pt x="343" y="410"/>
                    </a:lnTo>
                    <a:lnTo>
                      <a:pt x="338" y="413"/>
                    </a:lnTo>
                    <a:lnTo>
                      <a:pt x="333" y="417"/>
                    </a:lnTo>
                    <a:lnTo>
                      <a:pt x="328" y="422"/>
                    </a:lnTo>
                    <a:lnTo>
                      <a:pt x="324" y="428"/>
                    </a:lnTo>
                    <a:lnTo>
                      <a:pt x="322" y="434"/>
                    </a:lnTo>
                    <a:lnTo>
                      <a:pt x="319" y="442"/>
                    </a:lnTo>
                    <a:lnTo>
                      <a:pt x="318" y="452"/>
                    </a:lnTo>
                    <a:lnTo>
                      <a:pt x="325" y="463"/>
                    </a:lnTo>
                    <a:lnTo>
                      <a:pt x="332" y="473"/>
                    </a:lnTo>
                    <a:lnTo>
                      <a:pt x="334" y="480"/>
                    </a:lnTo>
                    <a:lnTo>
                      <a:pt x="334" y="488"/>
                    </a:lnTo>
                    <a:lnTo>
                      <a:pt x="332" y="493"/>
                    </a:lnTo>
                    <a:lnTo>
                      <a:pt x="328" y="496"/>
                    </a:lnTo>
                    <a:lnTo>
                      <a:pt x="323" y="500"/>
                    </a:lnTo>
                    <a:lnTo>
                      <a:pt x="316" y="504"/>
                    </a:lnTo>
                    <a:lnTo>
                      <a:pt x="298" y="510"/>
                    </a:lnTo>
                    <a:lnTo>
                      <a:pt x="280" y="517"/>
                    </a:lnTo>
                    <a:lnTo>
                      <a:pt x="272" y="522"/>
                    </a:lnTo>
                    <a:lnTo>
                      <a:pt x="262" y="528"/>
                    </a:lnTo>
                    <a:lnTo>
                      <a:pt x="253" y="537"/>
                    </a:lnTo>
                    <a:lnTo>
                      <a:pt x="246" y="546"/>
                    </a:lnTo>
                    <a:lnTo>
                      <a:pt x="235" y="564"/>
                    </a:lnTo>
                    <a:lnTo>
                      <a:pt x="229" y="577"/>
                    </a:lnTo>
                    <a:lnTo>
                      <a:pt x="227" y="582"/>
                    </a:lnTo>
                    <a:lnTo>
                      <a:pt x="227" y="587"/>
                    </a:lnTo>
                    <a:lnTo>
                      <a:pt x="227" y="589"/>
                    </a:lnTo>
                    <a:lnTo>
                      <a:pt x="229" y="592"/>
                    </a:lnTo>
                    <a:lnTo>
                      <a:pt x="231" y="593"/>
                    </a:lnTo>
                    <a:lnTo>
                      <a:pt x="234" y="594"/>
                    </a:lnTo>
                    <a:lnTo>
                      <a:pt x="237" y="594"/>
                    </a:lnTo>
                    <a:lnTo>
                      <a:pt x="242" y="594"/>
                    </a:lnTo>
                    <a:lnTo>
                      <a:pt x="252" y="592"/>
                    </a:lnTo>
                    <a:lnTo>
                      <a:pt x="264" y="587"/>
                    </a:lnTo>
                    <a:lnTo>
                      <a:pt x="292" y="576"/>
                    </a:lnTo>
                    <a:lnTo>
                      <a:pt x="322" y="562"/>
                    </a:lnTo>
                    <a:lnTo>
                      <a:pt x="335" y="556"/>
                    </a:lnTo>
                    <a:lnTo>
                      <a:pt x="349" y="553"/>
                    </a:lnTo>
                    <a:lnTo>
                      <a:pt x="360" y="549"/>
                    </a:lnTo>
                    <a:lnTo>
                      <a:pt x="369" y="548"/>
                    </a:lnTo>
                    <a:lnTo>
                      <a:pt x="382" y="549"/>
                    </a:lnTo>
                    <a:lnTo>
                      <a:pt x="391" y="551"/>
                    </a:lnTo>
                    <a:lnTo>
                      <a:pt x="401" y="555"/>
                    </a:lnTo>
                    <a:lnTo>
                      <a:pt x="410" y="561"/>
                    </a:lnTo>
                    <a:lnTo>
                      <a:pt x="426" y="572"/>
                    </a:lnTo>
                    <a:lnTo>
                      <a:pt x="440" y="583"/>
                    </a:lnTo>
                    <a:lnTo>
                      <a:pt x="448" y="588"/>
                    </a:lnTo>
                    <a:lnTo>
                      <a:pt x="455" y="590"/>
                    </a:lnTo>
                    <a:lnTo>
                      <a:pt x="464" y="593"/>
                    </a:lnTo>
                    <a:lnTo>
                      <a:pt x="473" y="592"/>
                    </a:lnTo>
                    <a:lnTo>
                      <a:pt x="485" y="589"/>
                    </a:lnTo>
                    <a:lnTo>
                      <a:pt x="497" y="583"/>
                    </a:lnTo>
                    <a:lnTo>
                      <a:pt x="510" y="575"/>
                    </a:lnTo>
                    <a:lnTo>
                      <a:pt x="526" y="562"/>
                    </a:lnTo>
                    <a:lnTo>
                      <a:pt x="542" y="550"/>
                    </a:lnTo>
                    <a:lnTo>
                      <a:pt x="558" y="538"/>
                    </a:lnTo>
                    <a:lnTo>
                      <a:pt x="573" y="528"/>
                    </a:lnTo>
                    <a:lnTo>
                      <a:pt x="589" y="518"/>
                    </a:lnTo>
                    <a:lnTo>
                      <a:pt x="604" y="510"/>
                    </a:lnTo>
                    <a:lnTo>
                      <a:pt x="620" y="501"/>
                    </a:lnTo>
                    <a:lnTo>
                      <a:pt x="636" y="495"/>
                    </a:lnTo>
                    <a:lnTo>
                      <a:pt x="652" y="489"/>
                    </a:lnTo>
                    <a:lnTo>
                      <a:pt x="668" y="485"/>
                    </a:lnTo>
                    <a:lnTo>
                      <a:pt x="685" y="482"/>
                    </a:lnTo>
                    <a:lnTo>
                      <a:pt x="702" y="479"/>
                    </a:lnTo>
                    <a:lnTo>
                      <a:pt x="720" y="478"/>
                    </a:lnTo>
                    <a:lnTo>
                      <a:pt x="737" y="477"/>
                    </a:lnTo>
                    <a:lnTo>
                      <a:pt x="755" y="478"/>
                    </a:lnTo>
                    <a:lnTo>
                      <a:pt x="773" y="480"/>
                    </a:lnTo>
                    <a:lnTo>
                      <a:pt x="793" y="484"/>
                    </a:lnTo>
                    <a:lnTo>
                      <a:pt x="810" y="488"/>
                    </a:lnTo>
                    <a:lnTo>
                      <a:pt x="825" y="493"/>
                    </a:lnTo>
                    <a:lnTo>
                      <a:pt x="837" y="497"/>
                    </a:lnTo>
                    <a:lnTo>
                      <a:pt x="847" y="502"/>
                    </a:lnTo>
                    <a:lnTo>
                      <a:pt x="853" y="507"/>
                    </a:lnTo>
                    <a:lnTo>
                      <a:pt x="858" y="513"/>
                    </a:lnTo>
                    <a:lnTo>
                      <a:pt x="859" y="519"/>
                    </a:lnTo>
                    <a:lnTo>
                      <a:pt x="859" y="526"/>
                    </a:lnTo>
                    <a:lnTo>
                      <a:pt x="855" y="532"/>
                    </a:lnTo>
                    <a:lnTo>
                      <a:pt x="850" y="537"/>
                    </a:lnTo>
                    <a:lnTo>
                      <a:pt x="843" y="543"/>
                    </a:lnTo>
                    <a:lnTo>
                      <a:pt x="835" y="548"/>
                    </a:lnTo>
                    <a:lnTo>
                      <a:pt x="824" y="553"/>
                    </a:lnTo>
                    <a:lnTo>
                      <a:pt x="810" y="556"/>
                    </a:lnTo>
                    <a:lnTo>
                      <a:pt x="795" y="560"/>
                    </a:lnTo>
                    <a:lnTo>
                      <a:pt x="779" y="562"/>
                    </a:lnTo>
                    <a:lnTo>
                      <a:pt x="582" y="592"/>
                    </a:lnTo>
                    <a:lnTo>
                      <a:pt x="565" y="595"/>
                    </a:lnTo>
                    <a:lnTo>
                      <a:pt x="551" y="599"/>
                    </a:lnTo>
                    <a:lnTo>
                      <a:pt x="544" y="601"/>
                    </a:lnTo>
                    <a:lnTo>
                      <a:pt x="540" y="604"/>
                    </a:lnTo>
                    <a:lnTo>
                      <a:pt x="536" y="606"/>
                    </a:lnTo>
                    <a:lnTo>
                      <a:pt x="532" y="610"/>
                    </a:lnTo>
                    <a:lnTo>
                      <a:pt x="531" y="614"/>
                    </a:lnTo>
                    <a:lnTo>
                      <a:pt x="531" y="617"/>
                    </a:lnTo>
                    <a:lnTo>
                      <a:pt x="531" y="622"/>
                    </a:lnTo>
                    <a:lnTo>
                      <a:pt x="533" y="627"/>
                    </a:lnTo>
                    <a:lnTo>
                      <a:pt x="537" y="632"/>
                    </a:lnTo>
                    <a:lnTo>
                      <a:pt x="543" y="639"/>
                    </a:lnTo>
                    <a:lnTo>
                      <a:pt x="549" y="646"/>
                    </a:lnTo>
                    <a:lnTo>
                      <a:pt x="559" y="654"/>
                    </a:lnTo>
                    <a:lnTo>
                      <a:pt x="568" y="661"/>
                    </a:lnTo>
                    <a:lnTo>
                      <a:pt x="575" y="671"/>
                    </a:lnTo>
                    <a:lnTo>
                      <a:pt x="584" y="682"/>
                    </a:lnTo>
                    <a:lnTo>
                      <a:pt x="592" y="693"/>
                    </a:lnTo>
                    <a:lnTo>
                      <a:pt x="600" y="703"/>
                    </a:lnTo>
                    <a:lnTo>
                      <a:pt x="608" y="713"/>
                    </a:lnTo>
                    <a:lnTo>
                      <a:pt x="617" y="721"/>
                    </a:lnTo>
                    <a:lnTo>
                      <a:pt x="625" y="726"/>
                    </a:lnTo>
                    <a:lnTo>
                      <a:pt x="647" y="736"/>
                    </a:lnTo>
                    <a:lnTo>
                      <a:pt x="662" y="741"/>
                    </a:lnTo>
                    <a:lnTo>
                      <a:pt x="672" y="744"/>
                    </a:lnTo>
                    <a:lnTo>
                      <a:pt x="678" y="746"/>
                    </a:lnTo>
                    <a:lnTo>
                      <a:pt x="680" y="747"/>
                    </a:lnTo>
                    <a:lnTo>
                      <a:pt x="682" y="748"/>
                    </a:lnTo>
                    <a:lnTo>
                      <a:pt x="684" y="752"/>
                    </a:lnTo>
                    <a:lnTo>
                      <a:pt x="685" y="756"/>
                    </a:lnTo>
                    <a:lnTo>
                      <a:pt x="690" y="767"/>
                    </a:lnTo>
                    <a:lnTo>
                      <a:pt x="695" y="786"/>
                    </a:lnTo>
                    <a:lnTo>
                      <a:pt x="706" y="795"/>
                    </a:lnTo>
                    <a:lnTo>
                      <a:pt x="727" y="812"/>
                    </a:lnTo>
                    <a:lnTo>
                      <a:pt x="737" y="821"/>
                    </a:lnTo>
                    <a:lnTo>
                      <a:pt x="742" y="829"/>
                    </a:lnTo>
                    <a:lnTo>
                      <a:pt x="743" y="833"/>
                    </a:lnTo>
                    <a:lnTo>
                      <a:pt x="743" y="837"/>
                    </a:lnTo>
                    <a:lnTo>
                      <a:pt x="740" y="839"/>
                    </a:lnTo>
                    <a:lnTo>
                      <a:pt x="735" y="840"/>
                    </a:lnTo>
                    <a:lnTo>
                      <a:pt x="733" y="844"/>
                    </a:lnTo>
                    <a:lnTo>
                      <a:pt x="729" y="848"/>
                    </a:lnTo>
                    <a:lnTo>
                      <a:pt x="724" y="849"/>
                    </a:lnTo>
                    <a:lnTo>
                      <a:pt x="720" y="849"/>
                    </a:lnTo>
                    <a:lnTo>
                      <a:pt x="709" y="848"/>
                    </a:lnTo>
                    <a:lnTo>
                      <a:pt x="696" y="843"/>
                    </a:lnTo>
                    <a:lnTo>
                      <a:pt x="685" y="837"/>
                    </a:lnTo>
                    <a:lnTo>
                      <a:pt x="674" y="830"/>
                    </a:lnTo>
                    <a:lnTo>
                      <a:pt x="666" y="823"/>
                    </a:lnTo>
                    <a:lnTo>
                      <a:pt x="660" y="818"/>
                    </a:lnTo>
                    <a:lnTo>
                      <a:pt x="652" y="811"/>
                    </a:lnTo>
                    <a:lnTo>
                      <a:pt x="644" y="805"/>
                    </a:lnTo>
                    <a:lnTo>
                      <a:pt x="636" y="801"/>
                    </a:lnTo>
                    <a:lnTo>
                      <a:pt x="629" y="799"/>
                    </a:lnTo>
                    <a:lnTo>
                      <a:pt x="623" y="797"/>
                    </a:lnTo>
                    <a:lnTo>
                      <a:pt x="615" y="797"/>
                    </a:lnTo>
                    <a:lnTo>
                      <a:pt x="608" y="799"/>
                    </a:lnTo>
                    <a:lnTo>
                      <a:pt x="602" y="800"/>
                    </a:lnTo>
                    <a:lnTo>
                      <a:pt x="587" y="802"/>
                    </a:lnTo>
                    <a:lnTo>
                      <a:pt x="570" y="804"/>
                    </a:lnTo>
                    <a:lnTo>
                      <a:pt x="562" y="802"/>
                    </a:lnTo>
                    <a:lnTo>
                      <a:pt x="552" y="800"/>
                    </a:lnTo>
                    <a:lnTo>
                      <a:pt x="542" y="796"/>
                    </a:lnTo>
                    <a:lnTo>
                      <a:pt x="531" y="791"/>
                    </a:lnTo>
                    <a:lnTo>
                      <a:pt x="524" y="788"/>
                    </a:lnTo>
                    <a:lnTo>
                      <a:pt x="519" y="786"/>
                    </a:lnTo>
                    <a:lnTo>
                      <a:pt x="514" y="785"/>
                    </a:lnTo>
                    <a:lnTo>
                      <a:pt x="509" y="785"/>
                    </a:lnTo>
                    <a:lnTo>
                      <a:pt x="505" y="786"/>
                    </a:lnTo>
                    <a:lnTo>
                      <a:pt x="502" y="789"/>
                    </a:lnTo>
                    <a:lnTo>
                      <a:pt x="499" y="791"/>
                    </a:lnTo>
                    <a:lnTo>
                      <a:pt x="497" y="796"/>
                    </a:lnTo>
                    <a:lnTo>
                      <a:pt x="493" y="805"/>
                    </a:lnTo>
                    <a:lnTo>
                      <a:pt x="491" y="817"/>
                    </a:lnTo>
                    <a:lnTo>
                      <a:pt x="491" y="832"/>
                    </a:lnTo>
                    <a:lnTo>
                      <a:pt x="491" y="846"/>
                    </a:lnTo>
                    <a:lnTo>
                      <a:pt x="493" y="878"/>
                    </a:lnTo>
                    <a:lnTo>
                      <a:pt x="496" y="909"/>
                    </a:lnTo>
                    <a:lnTo>
                      <a:pt x="496" y="921"/>
                    </a:lnTo>
                    <a:lnTo>
                      <a:pt x="496" y="932"/>
                    </a:lnTo>
                    <a:lnTo>
                      <a:pt x="494" y="941"/>
                    </a:lnTo>
                    <a:lnTo>
                      <a:pt x="492" y="947"/>
                    </a:lnTo>
                    <a:lnTo>
                      <a:pt x="483" y="955"/>
                    </a:lnTo>
                    <a:lnTo>
                      <a:pt x="476" y="961"/>
                    </a:lnTo>
                    <a:lnTo>
                      <a:pt x="470" y="964"/>
                    </a:lnTo>
                    <a:lnTo>
                      <a:pt x="464" y="965"/>
                    </a:lnTo>
                    <a:lnTo>
                      <a:pt x="459" y="964"/>
                    </a:lnTo>
                    <a:lnTo>
                      <a:pt x="455" y="961"/>
                    </a:lnTo>
                    <a:lnTo>
                      <a:pt x="451" y="958"/>
                    </a:lnTo>
                    <a:lnTo>
                      <a:pt x="448" y="953"/>
                    </a:lnTo>
                    <a:lnTo>
                      <a:pt x="442" y="939"/>
                    </a:lnTo>
                    <a:lnTo>
                      <a:pt x="436" y="925"/>
                    </a:lnTo>
                    <a:lnTo>
                      <a:pt x="432" y="919"/>
                    </a:lnTo>
                    <a:lnTo>
                      <a:pt x="427" y="911"/>
                    </a:lnTo>
                    <a:lnTo>
                      <a:pt x="422" y="906"/>
                    </a:lnTo>
                    <a:lnTo>
                      <a:pt x="417" y="901"/>
                    </a:lnTo>
                    <a:lnTo>
                      <a:pt x="346" y="856"/>
                    </a:lnTo>
                    <a:lnTo>
                      <a:pt x="344" y="854"/>
                    </a:lnTo>
                    <a:lnTo>
                      <a:pt x="341" y="850"/>
                    </a:lnTo>
                    <a:lnTo>
                      <a:pt x="336" y="848"/>
                    </a:lnTo>
                    <a:lnTo>
                      <a:pt x="330" y="846"/>
                    </a:lnTo>
                    <a:lnTo>
                      <a:pt x="317" y="843"/>
                    </a:lnTo>
                    <a:lnTo>
                      <a:pt x="300" y="840"/>
                    </a:lnTo>
                    <a:lnTo>
                      <a:pt x="281" y="839"/>
                    </a:lnTo>
                    <a:lnTo>
                      <a:pt x="265" y="837"/>
                    </a:lnTo>
                    <a:lnTo>
                      <a:pt x="251" y="834"/>
                    </a:lnTo>
                    <a:lnTo>
                      <a:pt x="241" y="830"/>
                    </a:lnTo>
                    <a:lnTo>
                      <a:pt x="235" y="826"/>
                    </a:lnTo>
                    <a:lnTo>
                      <a:pt x="230" y="818"/>
                    </a:lnTo>
                    <a:lnTo>
                      <a:pt x="225" y="811"/>
                    </a:lnTo>
                    <a:lnTo>
                      <a:pt x="223" y="801"/>
                    </a:lnTo>
                    <a:lnTo>
                      <a:pt x="218" y="781"/>
                    </a:lnTo>
                    <a:lnTo>
                      <a:pt x="214" y="759"/>
                    </a:lnTo>
                    <a:lnTo>
                      <a:pt x="212" y="750"/>
                    </a:lnTo>
                    <a:lnTo>
                      <a:pt x="208" y="740"/>
                    </a:lnTo>
                    <a:lnTo>
                      <a:pt x="203" y="731"/>
                    </a:lnTo>
                    <a:lnTo>
                      <a:pt x="197" y="724"/>
                    </a:lnTo>
                    <a:lnTo>
                      <a:pt x="193" y="720"/>
                    </a:lnTo>
                    <a:lnTo>
                      <a:pt x="190" y="718"/>
                    </a:lnTo>
                    <a:lnTo>
                      <a:pt x="185" y="715"/>
                    </a:lnTo>
                    <a:lnTo>
                      <a:pt x="180" y="713"/>
                    </a:lnTo>
                    <a:lnTo>
                      <a:pt x="174" y="712"/>
                    </a:lnTo>
                    <a:lnTo>
                      <a:pt x="167" y="710"/>
                    </a:lnTo>
                    <a:lnTo>
                      <a:pt x="161" y="710"/>
                    </a:lnTo>
                    <a:lnTo>
                      <a:pt x="153" y="710"/>
                    </a:lnTo>
                    <a:lnTo>
                      <a:pt x="144" y="712"/>
                    </a:lnTo>
                    <a:lnTo>
                      <a:pt x="137" y="713"/>
                    </a:lnTo>
                    <a:lnTo>
                      <a:pt x="130" y="715"/>
                    </a:lnTo>
                    <a:lnTo>
                      <a:pt x="122" y="719"/>
                    </a:lnTo>
                    <a:lnTo>
                      <a:pt x="109" y="728"/>
                    </a:lnTo>
                    <a:lnTo>
                      <a:pt x="94" y="736"/>
                    </a:lnTo>
                    <a:lnTo>
                      <a:pt x="81" y="745"/>
                    </a:lnTo>
                    <a:lnTo>
                      <a:pt x="66" y="753"/>
                    </a:lnTo>
                    <a:lnTo>
                      <a:pt x="57" y="756"/>
                    </a:lnTo>
                    <a:lnTo>
                      <a:pt x="50" y="758"/>
                    </a:lnTo>
                    <a:lnTo>
                      <a:pt x="40" y="759"/>
                    </a:lnTo>
                    <a:lnTo>
                      <a:pt x="30" y="761"/>
                    </a:lnTo>
                    <a:lnTo>
                      <a:pt x="0" y="76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10"/>
              <p:cNvSpPr>
                <a:spLocks/>
              </p:cNvSpPr>
              <p:nvPr/>
            </p:nvSpPr>
            <p:spPr bwMode="auto">
              <a:xfrm>
                <a:off x="-892176" y="8276618"/>
                <a:ext cx="147638" cy="157163"/>
              </a:xfrm>
              <a:custGeom>
                <a:avLst/>
                <a:gdLst>
                  <a:gd name="T0" fmla="*/ 1 w 372"/>
                  <a:gd name="T1" fmla="*/ 380 h 396"/>
                  <a:gd name="T2" fmla="*/ 24 w 372"/>
                  <a:gd name="T3" fmla="*/ 353 h 396"/>
                  <a:gd name="T4" fmla="*/ 100 w 372"/>
                  <a:gd name="T5" fmla="*/ 295 h 396"/>
                  <a:gd name="T6" fmla="*/ 116 w 372"/>
                  <a:gd name="T7" fmla="*/ 277 h 396"/>
                  <a:gd name="T8" fmla="*/ 125 w 372"/>
                  <a:gd name="T9" fmla="*/ 257 h 396"/>
                  <a:gd name="T10" fmla="*/ 127 w 372"/>
                  <a:gd name="T11" fmla="*/ 232 h 396"/>
                  <a:gd name="T12" fmla="*/ 118 w 372"/>
                  <a:gd name="T13" fmla="*/ 194 h 396"/>
                  <a:gd name="T14" fmla="*/ 90 w 372"/>
                  <a:gd name="T15" fmla="*/ 128 h 396"/>
                  <a:gd name="T16" fmla="*/ 81 w 372"/>
                  <a:gd name="T17" fmla="*/ 87 h 396"/>
                  <a:gd name="T18" fmla="*/ 84 w 372"/>
                  <a:gd name="T19" fmla="*/ 70 h 396"/>
                  <a:gd name="T20" fmla="*/ 96 w 372"/>
                  <a:gd name="T21" fmla="*/ 60 h 396"/>
                  <a:gd name="T22" fmla="*/ 131 w 372"/>
                  <a:gd name="T23" fmla="*/ 53 h 396"/>
                  <a:gd name="T24" fmla="*/ 174 w 372"/>
                  <a:gd name="T25" fmla="*/ 38 h 396"/>
                  <a:gd name="T26" fmla="*/ 202 w 372"/>
                  <a:gd name="T27" fmla="*/ 14 h 396"/>
                  <a:gd name="T28" fmla="*/ 221 w 372"/>
                  <a:gd name="T29" fmla="*/ 3 h 396"/>
                  <a:gd name="T30" fmla="*/ 235 w 372"/>
                  <a:gd name="T31" fmla="*/ 6 h 396"/>
                  <a:gd name="T32" fmla="*/ 232 w 372"/>
                  <a:gd name="T33" fmla="*/ 25 h 396"/>
                  <a:gd name="T34" fmla="*/ 220 w 372"/>
                  <a:gd name="T35" fmla="*/ 64 h 396"/>
                  <a:gd name="T36" fmla="*/ 220 w 372"/>
                  <a:gd name="T37" fmla="*/ 90 h 396"/>
                  <a:gd name="T38" fmla="*/ 231 w 372"/>
                  <a:gd name="T39" fmla="*/ 107 h 396"/>
                  <a:gd name="T40" fmla="*/ 246 w 372"/>
                  <a:gd name="T41" fmla="*/ 111 h 396"/>
                  <a:gd name="T42" fmla="*/ 262 w 372"/>
                  <a:gd name="T43" fmla="*/ 104 h 396"/>
                  <a:gd name="T44" fmla="*/ 309 w 372"/>
                  <a:gd name="T45" fmla="*/ 74 h 396"/>
                  <a:gd name="T46" fmla="*/ 351 w 372"/>
                  <a:gd name="T47" fmla="*/ 81 h 396"/>
                  <a:gd name="T48" fmla="*/ 371 w 372"/>
                  <a:gd name="T49" fmla="*/ 90 h 396"/>
                  <a:gd name="T50" fmla="*/ 372 w 372"/>
                  <a:gd name="T51" fmla="*/ 102 h 396"/>
                  <a:gd name="T52" fmla="*/ 363 w 372"/>
                  <a:gd name="T53" fmla="*/ 122 h 396"/>
                  <a:gd name="T54" fmla="*/ 339 w 372"/>
                  <a:gd name="T55" fmla="*/ 142 h 396"/>
                  <a:gd name="T56" fmla="*/ 251 w 372"/>
                  <a:gd name="T57" fmla="*/ 186 h 396"/>
                  <a:gd name="T58" fmla="*/ 219 w 372"/>
                  <a:gd name="T59" fmla="*/ 216 h 396"/>
                  <a:gd name="T60" fmla="*/ 207 w 372"/>
                  <a:gd name="T61" fmla="*/ 242 h 396"/>
                  <a:gd name="T62" fmla="*/ 207 w 372"/>
                  <a:gd name="T63" fmla="*/ 262 h 396"/>
                  <a:gd name="T64" fmla="*/ 216 w 372"/>
                  <a:gd name="T65" fmla="*/ 283 h 396"/>
                  <a:gd name="T66" fmla="*/ 242 w 372"/>
                  <a:gd name="T67" fmla="*/ 320 h 396"/>
                  <a:gd name="T68" fmla="*/ 245 w 372"/>
                  <a:gd name="T69" fmla="*/ 336 h 396"/>
                  <a:gd name="T70" fmla="*/ 237 w 372"/>
                  <a:gd name="T71" fmla="*/ 346 h 396"/>
                  <a:gd name="T72" fmla="*/ 215 w 372"/>
                  <a:gd name="T73" fmla="*/ 352 h 396"/>
                  <a:gd name="T74" fmla="*/ 172 w 372"/>
                  <a:gd name="T75" fmla="*/ 350 h 396"/>
                  <a:gd name="T76" fmla="*/ 114 w 372"/>
                  <a:gd name="T77" fmla="*/ 350 h 396"/>
                  <a:gd name="T78" fmla="*/ 67 w 372"/>
                  <a:gd name="T79" fmla="*/ 360 h 396"/>
                  <a:gd name="T80" fmla="*/ 41 w 372"/>
                  <a:gd name="T81" fmla="*/ 373 h 396"/>
                  <a:gd name="T82" fmla="*/ 21 w 372"/>
                  <a:gd name="T83" fmla="*/ 38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2" h="396">
                    <a:moveTo>
                      <a:pt x="0" y="391"/>
                    </a:moveTo>
                    <a:lnTo>
                      <a:pt x="0" y="385"/>
                    </a:lnTo>
                    <a:lnTo>
                      <a:pt x="1" y="380"/>
                    </a:lnTo>
                    <a:lnTo>
                      <a:pt x="5" y="374"/>
                    </a:lnTo>
                    <a:lnTo>
                      <a:pt x="11" y="366"/>
                    </a:lnTo>
                    <a:lnTo>
                      <a:pt x="24" y="353"/>
                    </a:lnTo>
                    <a:lnTo>
                      <a:pt x="41" y="339"/>
                    </a:lnTo>
                    <a:lnTo>
                      <a:pt x="76" y="314"/>
                    </a:lnTo>
                    <a:lnTo>
                      <a:pt x="100" y="295"/>
                    </a:lnTo>
                    <a:lnTo>
                      <a:pt x="106" y="289"/>
                    </a:lnTo>
                    <a:lnTo>
                      <a:pt x="111" y="283"/>
                    </a:lnTo>
                    <a:lnTo>
                      <a:pt x="116" y="277"/>
                    </a:lnTo>
                    <a:lnTo>
                      <a:pt x="120" y="270"/>
                    </a:lnTo>
                    <a:lnTo>
                      <a:pt x="122" y="264"/>
                    </a:lnTo>
                    <a:lnTo>
                      <a:pt x="125" y="257"/>
                    </a:lnTo>
                    <a:lnTo>
                      <a:pt x="126" y="251"/>
                    </a:lnTo>
                    <a:lnTo>
                      <a:pt x="127" y="245"/>
                    </a:lnTo>
                    <a:lnTo>
                      <a:pt x="127" y="232"/>
                    </a:lnTo>
                    <a:lnTo>
                      <a:pt x="126" y="219"/>
                    </a:lnTo>
                    <a:lnTo>
                      <a:pt x="122" y="206"/>
                    </a:lnTo>
                    <a:lnTo>
                      <a:pt x="118" y="194"/>
                    </a:lnTo>
                    <a:lnTo>
                      <a:pt x="107" y="167"/>
                    </a:lnTo>
                    <a:lnTo>
                      <a:pt x="95" y="141"/>
                    </a:lnTo>
                    <a:lnTo>
                      <a:pt x="90" y="128"/>
                    </a:lnTo>
                    <a:lnTo>
                      <a:pt x="85" y="114"/>
                    </a:lnTo>
                    <a:lnTo>
                      <a:pt x="83" y="101"/>
                    </a:lnTo>
                    <a:lnTo>
                      <a:pt x="81" y="87"/>
                    </a:lnTo>
                    <a:lnTo>
                      <a:pt x="82" y="81"/>
                    </a:lnTo>
                    <a:lnTo>
                      <a:pt x="83" y="75"/>
                    </a:lnTo>
                    <a:lnTo>
                      <a:pt x="84" y="70"/>
                    </a:lnTo>
                    <a:lnTo>
                      <a:pt x="88" y="66"/>
                    </a:lnTo>
                    <a:lnTo>
                      <a:pt x="92" y="63"/>
                    </a:lnTo>
                    <a:lnTo>
                      <a:pt x="96" y="60"/>
                    </a:lnTo>
                    <a:lnTo>
                      <a:pt x="101" y="59"/>
                    </a:lnTo>
                    <a:lnTo>
                      <a:pt x="107" y="57"/>
                    </a:lnTo>
                    <a:lnTo>
                      <a:pt x="131" y="53"/>
                    </a:lnTo>
                    <a:lnTo>
                      <a:pt x="154" y="51"/>
                    </a:lnTo>
                    <a:lnTo>
                      <a:pt x="164" y="46"/>
                    </a:lnTo>
                    <a:lnTo>
                      <a:pt x="174" y="38"/>
                    </a:lnTo>
                    <a:lnTo>
                      <a:pt x="183" y="31"/>
                    </a:lnTo>
                    <a:lnTo>
                      <a:pt x="192" y="22"/>
                    </a:lnTo>
                    <a:lnTo>
                      <a:pt x="202" y="14"/>
                    </a:lnTo>
                    <a:lnTo>
                      <a:pt x="212" y="8"/>
                    </a:lnTo>
                    <a:lnTo>
                      <a:pt x="216" y="5"/>
                    </a:lnTo>
                    <a:lnTo>
                      <a:pt x="221" y="3"/>
                    </a:lnTo>
                    <a:lnTo>
                      <a:pt x="227" y="2"/>
                    </a:lnTo>
                    <a:lnTo>
                      <a:pt x="234" y="0"/>
                    </a:lnTo>
                    <a:lnTo>
                      <a:pt x="235" y="6"/>
                    </a:lnTo>
                    <a:lnTo>
                      <a:pt x="235" y="13"/>
                    </a:lnTo>
                    <a:lnTo>
                      <a:pt x="234" y="19"/>
                    </a:lnTo>
                    <a:lnTo>
                      <a:pt x="232" y="25"/>
                    </a:lnTo>
                    <a:lnTo>
                      <a:pt x="227" y="37"/>
                    </a:lnTo>
                    <a:lnTo>
                      <a:pt x="224" y="51"/>
                    </a:lnTo>
                    <a:lnTo>
                      <a:pt x="220" y="64"/>
                    </a:lnTo>
                    <a:lnTo>
                      <a:pt x="219" y="77"/>
                    </a:lnTo>
                    <a:lnTo>
                      <a:pt x="219" y="84"/>
                    </a:lnTo>
                    <a:lnTo>
                      <a:pt x="220" y="90"/>
                    </a:lnTo>
                    <a:lnTo>
                      <a:pt x="223" y="96"/>
                    </a:lnTo>
                    <a:lnTo>
                      <a:pt x="227" y="102"/>
                    </a:lnTo>
                    <a:lnTo>
                      <a:pt x="231" y="107"/>
                    </a:lnTo>
                    <a:lnTo>
                      <a:pt x="236" y="109"/>
                    </a:lnTo>
                    <a:lnTo>
                      <a:pt x="241" y="111"/>
                    </a:lnTo>
                    <a:lnTo>
                      <a:pt x="246" y="111"/>
                    </a:lnTo>
                    <a:lnTo>
                      <a:pt x="251" y="109"/>
                    </a:lnTo>
                    <a:lnTo>
                      <a:pt x="257" y="107"/>
                    </a:lnTo>
                    <a:lnTo>
                      <a:pt x="262" y="104"/>
                    </a:lnTo>
                    <a:lnTo>
                      <a:pt x="268" y="101"/>
                    </a:lnTo>
                    <a:lnTo>
                      <a:pt x="290" y="85"/>
                    </a:lnTo>
                    <a:lnTo>
                      <a:pt x="309" y="74"/>
                    </a:lnTo>
                    <a:lnTo>
                      <a:pt x="320" y="75"/>
                    </a:lnTo>
                    <a:lnTo>
                      <a:pt x="340" y="79"/>
                    </a:lnTo>
                    <a:lnTo>
                      <a:pt x="351" y="81"/>
                    </a:lnTo>
                    <a:lnTo>
                      <a:pt x="361" y="85"/>
                    </a:lnTo>
                    <a:lnTo>
                      <a:pt x="367" y="87"/>
                    </a:lnTo>
                    <a:lnTo>
                      <a:pt x="371" y="90"/>
                    </a:lnTo>
                    <a:lnTo>
                      <a:pt x="372" y="93"/>
                    </a:lnTo>
                    <a:lnTo>
                      <a:pt x="372" y="98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68" y="114"/>
                    </a:lnTo>
                    <a:lnTo>
                      <a:pt x="363" y="122"/>
                    </a:lnTo>
                    <a:lnTo>
                      <a:pt x="357" y="129"/>
                    </a:lnTo>
                    <a:lnTo>
                      <a:pt x="349" y="135"/>
                    </a:lnTo>
                    <a:lnTo>
                      <a:pt x="339" y="142"/>
                    </a:lnTo>
                    <a:lnTo>
                      <a:pt x="328" y="148"/>
                    </a:lnTo>
                    <a:lnTo>
                      <a:pt x="284" y="171"/>
                    </a:lnTo>
                    <a:lnTo>
                      <a:pt x="251" y="186"/>
                    </a:lnTo>
                    <a:lnTo>
                      <a:pt x="240" y="195"/>
                    </a:lnTo>
                    <a:lnTo>
                      <a:pt x="229" y="205"/>
                    </a:lnTo>
                    <a:lnTo>
                      <a:pt x="219" y="216"/>
                    </a:lnTo>
                    <a:lnTo>
                      <a:pt x="212" y="229"/>
                    </a:lnTo>
                    <a:lnTo>
                      <a:pt x="208" y="235"/>
                    </a:lnTo>
                    <a:lnTo>
                      <a:pt x="207" y="242"/>
                    </a:lnTo>
                    <a:lnTo>
                      <a:pt x="205" y="249"/>
                    </a:lnTo>
                    <a:lnTo>
                      <a:pt x="205" y="256"/>
                    </a:lnTo>
                    <a:lnTo>
                      <a:pt x="207" y="262"/>
                    </a:lnTo>
                    <a:lnTo>
                      <a:pt x="209" y="270"/>
                    </a:lnTo>
                    <a:lnTo>
                      <a:pt x="213" y="276"/>
                    </a:lnTo>
                    <a:lnTo>
                      <a:pt x="216" y="283"/>
                    </a:lnTo>
                    <a:lnTo>
                      <a:pt x="229" y="298"/>
                    </a:lnTo>
                    <a:lnTo>
                      <a:pt x="236" y="310"/>
                    </a:lnTo>
                    <a:lnTo>
                      <a:pt x="242" y="320"/>
                    </a:lnTo>
                    <a:lnTo>
                      <a:pt x="245" y="328"/>
                    </a:lnTo>
                    <a:lnTo>
                      <a:pt x="245" y="332"/>
                    </a:lnTo>
                    <a:lnTo>
                      <a:pt x="245" y="336"/>
                    </a:lnTo>
                    <a:lnTo>
                      <a:pt x="243" y="338"/>
                    </a:lnTo>
                    <a:lnTo>
                      <a:pt x="242" y="341"/>
                    </a:lnTo>
                    <a:lnTo>
                      <a:pt x="237" y="346"/>
                    </a:lnTo>
                    <a:lnTo>
                      <a:pt x="231" y="348"/>
                    </a:lnTo>
                    <a:lnTo>
                      <a:pt x="224" y="350"/>
                    </a:lnTo>
                    <a:lnTo>
                      <a:pt x="215" y="352"/>
                    </a:lnTo>
                    <a:lnTo>
                      <a:pt x="205" y="352"/>
                    </a:lnTo>
                    <a:lnTo>
                      <a:pt x="194" y="352"/>
                    </a:lnTo>
                    <a:lnTo>
                      <a:pt x="172" y="350"/>
                    </a:lnTo>
                    <a:lnTo>
                      <a:pt x="149" y="349"/>
                    </a:lnTo>
                    <a:lnTo>
                      <a:pt x="132" y="349"/>
                    </a:lnTo>
                    <a:lnTo>
                      <a:pt x="114" y="350"/>
                    </a:lnTo>
                    <a:lnTo>
                      <a:pt x="94" y="353"/>
                    </a:lnTo>
                    <a:lnTo>
                      <a:pt x="76" y="358"/>
                    </a:lnTo>
                    <a:lnTo>
                      <a:pt x="67" y="360"/>
                    </a:lnTo>
                    <a:lnTo>
                      <a:pt x="57" y="364"/>
                    </a:lnTo>
                    <a:lnTo>
                      <a:pt x="49" y="368"/>
                    </a:lnTo>
                    <a:lnTo>
                      <a:pt x="41" y="373"/>
                    </a:lnTo>
                    <a:lnTo>
                      <a:pt x="34" y="377"/>
                    </a:lnTo>
                    <a:lnTo>
                      <a:pt x="27" y="382"/>
                    </a:lnTo>
                    <a:lnTo>
                      <a:pt x="21" y="388"/>
                    </a:lnTo>
                    <a:lnTo>
                      <a:pt x="14" y="396"/>
                    </a:lnTo>
                    <a:lnTo>
                      <a:pt x="0" y="3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11"/>
              <p:cNvSpPr>
                <a:spLocks/>
              </p:cNvSpPr>
              <p:nvPr/>
            </p:nvSpPr>
            <p:spPr bwMode="auto">
              <a:xfrm>
                <a:off x="-823913" y="8446480"/>
                <a:ext cx="93663" cy="79375"/>
              </a:xfrm>
              <a:custGeom>
                <a:avLst/>
                <a:gdLst>
                  <a:gd name="T0" fmla="*/ 4 w 238"/>
                  <a:gd name="T1" fmla="*/ 148 h 202"/>
                  <a:gd name="T2" fmla="*/ 0 w 238"/>
                  <a:gd name="T3" fmla="*/ 129 h 202"/>
                  <a:gd name="T4" fmla="*/ 2 w 238"/>
                  <a:gd name="T5" fmla="*/ 109 h 202"/>
                  <a:gd name="T6" fmla="*/ 8 w 238"/>
                  <a:gd name="T7" fmla="*/ 97 h 202"/>
                  <a:gd name="T8" fmla="*/ 16 w 238"/>
                  <a:gd name="T9" fmla="*/ 90 h 202"/>
                  <a:gd name="T10" fmla="*/ 28 w 238"/>
                  <a:gd name="T11" fmla="*/ 83 h 202"/>
                  <a:gd name="T12" fmla="*/ 47 w 238"/>
                  <a:gd name="T13" fmla="*/ 80 h 202"/>
                  <a:gd name="T14" fmla="*/ 64 w 238"/>
                  <a:gd name="T15" fmla="*/ 77 h 202"/>
                  <a:gd name="T16" fmla="*/ 79 w 238"/>
                  <a:gd name="T17" fmla="*/ 74 h 202"/>
                  <a:gd name="T18" fmla="*/ 92 w 238"/>
                  <a:gd name="T19" fmla="*/ 63 h 202"/>
                  <a:gd name="T20" fmla="*/ 104 w 238"/>
                  <a:gd name="T21" fmla="*/ 45 h 202"/>
                  <a:gd name="T22" fmla="*/ 115 w 238"/>
                  <a:gd name="T23" fmla="*/ 26 h 202"/>
                  <a:gd name="T24" fmla="*/ 125 w 238"/>
                  <a:gd name="T25" fmla="*/ 12 h 202"/>
                  <a:gd name="T26" fmla="*/ 134 w 238"/>
                  <a:gd name="T27" fmla="*/ 6 h 202"/>
                  <a:gd name="T28" fmla="*/ 146 w 238"/>
                  <a:gd name="T29" fmla="*/ 0 h 202"/>
                  <a:gd name="T30" fmla="*/ 155 w 238"/>
                  <a:gd name="T31" fmla="*/ 3 h 202"/>
                  <a:gd name="T32" fmla="*/ 158 w 238"/>
                  <a:gd name="T33" fmla="*/ 15 h 202"/>
                  <a:gd name="T34" fmla="*/ 162 w 238"/>
                  <a:gd name="T35" fmla="*/ 45 h 202"/>
                  <a:gd name="T36" fmla="*/ 167 w 238"/>
                  <a:gd name="T37" fmla="*/ 74 h 202"/>
                  <a:gd name="T38" fmla="*/ 177 w 238"/>
                  <a:gd name="T39" fmla="*/ 96 h 202"/>
                  <a:gd name="T40" fmla="*/ 191 w 238"/>
                  <a:gd name="T41" fmla="*/ 118 h 202"/>
                  <a:gd name="T42" fmla="*/ 215 w 238"/>
                  <a:gd name="T43" fmla="*/ 146 h 202"/>
                  <a:gd name="T44" fmla="*/ 234 w 238"/>
                  <a:gd name="T45" fmla="*/ 175 h 202"/>
                  <a:gd name="T46" fmla="*/ 238 w 238"/>
                  <a:gd name="T47" fmla="*/ 190 h 202"/>
                  <a:gd name="T48" fmla="*/ 235 w 238"/>
                  <a:gd name="T49" fmla="*/ 199 h 202"/>
                  <a:gd name="T50" fmla="*/ 230 w 238"/>
                  <a:gd name="T51" fmla="*/ 202 h 202"/>
                  <a:gd name="T52" fmla="*/ 226 w 238"/>
                  <a:gd name="T53" fmla="*/ 202 h 202"/>
                  <a:gd name="T54" fmla="*/ 216 w 238"/>
                  <a:gd name="T55" fmla="*/ 195 h 202"/>
                  <a:gd name="T56" fmla="*/ 195 w 238"/>
                  <a:gd name="T57" fmla="*/ 174 h 202"/>
                  <a:gd name="T58" fmla="*/ 177 w 238"/>
                  <a:gd name="T59" fmla="*/ 156 h 202"/>
                  <a:gd name="T60" fmla="*/ 156 w 238"/>
                  <a:gd name="T61" fmla="*/ 146 h 202"/>
                  <a:gd name="T62" fmla="*/ 135 w 238"/>
                  <a:gd name="T63" fmla="*/ 143 h 202"/>
                  <a:gd name="T64" fmla="*/ 119 w 238"/>
                  <a:gd name="T65" fmla="*/ 148 h 202"/>
                  <a:gd name="T66" fmla="*/ 109 w 238"/>
                  <a:gd name="T67" fmla="*/ 154 h 202"/>
                  <a:gd name="T68" fmla="*/ 95 w 238"/>
                  <a:gd name="T69" fmla="*/ 169 h 202"/>
                  <a:gd name="T70" fmla="*/ 77 w 238"/>
                  <a:gd name="T71" fmla="*/ 179 h 202"/>
                  <a:gd name="T72" fmla="*/ 51 w 238"/>
                  <a:gd name="T73" fmla="*/ 181 h 202"/>
                  <a:gd name="T74" fmla="*/ 8 w 238"/>
                  <a:gd name="T75" fmla="*/ 158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8" h="202">
                    <a:moveTo>
                      <a:pt x="8" y="158"/>
                    </a:moveTo>
                    <a:lnTo>
                      <a:pt x="4" y="148"/>
                    </a:lnTo>
                    <a:lnTo>
                      <a:pt x="3" y="139"/>
                    </a:lnTo>
                    <a:lnTo>
                      <a:pt x="0" y="129"/>
                    </a:lnTo>
                    <a:lnTo>
                      <a:pt x="0" y="119"/>
                    </a:lnTo>
                    <a:lnTo>
                      <a:pt x="2" y="109"/>
                    </a:lnTo>
                    <a:lnTo>
                      <a:pt x="5" y="101"/>
                    </a:lnTo>
                    <a:lnTo>
                      <a:pt x="8" y="97"/>
                    </a:lnTo>
                    <a:lnTo>
                      <a:pt x="11" y="93"/>
                    </a:lnTo>
                    <a:lnTo>
                      <a:pt x="16" y="90"/>
                    </a:lnTo>
                    <a:lnTo>
                      <a:pt x="21" y="86"/>
                    </a:lnTo>
                    <a:lnTo>
                      <a:pt x="28" y="83"/>
                    </a:lnTo>
                    <a:lnTo>
                      <a:pt x="37" y="81"/>
                    </a:lnTo>
                    <a:lnTo>
                      <a:pt x="47" y="80"/>
                    </a:lnTo>
                    <a:lnTo>
                      <a:pt x="55" y="79"/>
                    </a:lnTo>
                    <a:lnTo>
                      <a:pt x="64" y="77"/>
                    </a:lnTo>
                    <a:lnTo>
                      <a:pt x="71" y="76"/>
                    </a:lnTo>
                    <a:lnTo>
                      <a:pt x="79" y="74"/>
                    </a:lnTo>
                    <a:lnTo>
                      <a:pt x="86" y="70"/>
                    </a:lnTo>
                    <a:lnTo>
                      <a:pt x="92" y="63"/>
                    </a:lnTo>
                    <a:lnTo>
                      <a:pt x="98" y="55"/>
                    </a:lnTo>
                    <a:lnTo>
                      <a:pt x="104" y="45"/>
                    </a:lnTo>
                    <a:lnTo>
                      <a:pt x="109" y="36"/>
                    </a:lnTo>
                    <a:lnTo>
                      <a:pt x="115" y="26"/>
                    </a:lnTo>
                    <a:lnTo>
                      <a:pt x="122" y="16"/>
                    </a:lnTo>
                    <a:lnTo>
                      <a:pt x="125" y="12"/>
                    </a:lnTo>
                    <a:lnTo>
                      <a:pt x="129" y="9"/>
                    </a:lnTo>
                    <a:lnTo>
                      <a:pt x="134" y="6"/>
                    </a:lnTo>
                    <a:lnTo>
                      <a:pt x="139" y="3"/>
                    </a:lnTo>
                    <a:lnTo>
                      <a:pt x="146" y="0"/>
                    </a:lnTo>
                    <a:lnTo>
                      <a:pt x="152" y="0"/>
                    </a:lnTo>
                    <a:lnTo>
                      <a:pt x="155" y="3"/>
                    </a:lnTo>
                    <a:lnTo>
                      <a:pt x="157" y="5"/>
                    </a:lnTo>
                    <a:lnTo>
                      <a:pt x="158" y="15"/>
                    </a:lnTo>
                    <a:lnTo>
                      <a:pt x="159" y="28"/>
                    </a:lnTo>
                    <a:lnTo>
                      <a:pt x="162" y="45"/>
                    </a:lnTo>
                    <a:lnTo>
                      <a:pt x="164" y="60"/>
                    </a:lnTo>
                    <a:lnTo>
                      <a:pt x="167" y="74"/>
                    </a:lnTo>
                    <a:lnTo>
                      <a:pt x="170" y="85"/>
                    </a:lnTo>
                    <a:lnTo>
                      <a:pt x="177" y="96"/>
                    </a:lnTo>
                    <a:lnTo>
                      <a:pt x="183" y="107"/>
                    </a:lnTo>
                    <a:lnTo>
                      <a:pt x="191" y="118"/>
                    </a:lnTo>
                    <a:lnTo>
                      <a:pt x="202" y="132"/>
                    </a:lnTo>
                    <a:lnTo>
                      <a:pt x="215" y="146"/>
                    </a:lnTo>
                    <a:lnTo>
                      <a:pt x="229" y="164"/>
                    </a:lnTo>
                    <a:lnTo>
                      <a:pt x="234" y="175"/>
                    </a:lnTo>
                    <a:lnTo>
                      <a:pt x="238" y="185"/>
                    </a:lnTo>
                    <a:lnTo>
                      <a:pt x="238" y="190"/>
                    </a:lnTo>
                    <a:lnTo>
                      <a:pt x="238" y="194"/>
                    </a:lnTo>
                    <a:lnTo>
                      <a:pt x="235" y="199"/>
                    </a:lnTo>
                    <a:lnTo>
                      <a:pt x="233" y="201"/>
                    </a:lnTo>
                    <a:lnTo>
                      <a:pt x="230" y="202"/>
                    </a:lnTo>
                    <a:lnTo>
                      <a:pt x="228" y="202"/>
                    </a:lnTo>
                    <a:lnTo>
                      <a:pt x="226" y="202"/>
                    </a:lnTo>
                    <a:lnTo>
                      <a:pt x="222" y="201"/>
                    </a:lnTo>
                    <a:lnTo>
                      <a:pt x="216" y="195"/>
                    </a:lnTo>
                    <a:lnTo>
                      <a:pt x="208" y="189"/>
                    </a:lnTo>
                    <a:lnTo>
                      <a:pt x="195" y="174"/>
                    </a:lnTo>
                    <a:lnTo>
                      <a:pt x="186" y="163"/>
                    </a:lnTo>
                    <a:lnTo>
                      <a:pt x="177" y="156"/>
                    </a:lnTo>
                    <a:lnTo>
                      <a:pt x="167" y="150"/>
                    </a:lnTo>
                    <a:lnTo>
                      <a:pt x="156" y="146"/>
                    </a:lnTo>
                    <a:lnTo>
                      <a:pt x="145" y="143"/>
                    </a:lnTo>
                    <a:lnTo>
                      <a:pt x="135" y="143"/>
                    </a:lnTo>
                    <a:lnTo>
                      <a:pt x="124" y="146"/>
                    </a:lnTo>
                    <a:lnTo>
                      <a:pt x="119" y="148"/>
                    </a:lnTo>
                    <a:lnTo>
                      <a:pt x="114" y="151"/>
                    </a:lnTo>
                    <a:lnTo>
                      <a:pt x="109" y="154"/>
                    </a:lnTo>
                    <a:lnTo>
                      <a:pt x="104" y="159"/>
                    </a:lnTo>
                    <a:lnTo>
                      <a:pt x="95" y="169"/>
                    </a:lnTo>
                    <a:lnTo>
                      <a:pt x="85" y="175"/>
                    </a:lnTo>
                    <a:lnTo>
                      <a:pt x="77" y="179"/>
                    </a:lnTo>
                    <a:lnTo>
                      <a:pt x="69" y="181"/>
                    </a:lnTo>
                    <a:lnTo>
                      <a:pt x="51" y="181"/>
                    </a:lnTo>
                    <a:lnTo>
                      <a:pt x="25" y="179"/>
                    </a:lnTo>
                    <a:lnTo>
                      <a:pt x="8" y="15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12"/>
              <p:cNvSpPr>
                <a:spLocks/>
              </p:cNvSpPr>
              <p:nvPr/>
            </p:nvSpPr>
            <p:spPr bwMode="auto">
              <a:xfrm>
                <a:off x="-684213" y="8541730"/>
                <a:ext cx="41275" cy="12700"/>
              </a:xfrm>
              <a:custGeom>
                <a:avLst/>
                <a:gdLst>
                  <a:gd name="T0" fmla="*/ 0 w 107"/>
                  <a:gd name="T1" fmla="*/ 21 h 36"/>
                  <a:gd name="T2" fmla="*/ 2 w 107"/>
                  <a:gd name="T3" fmla="*/ 17 h 36"/>
                  <a:gd name="T4" fmla="*/ 4 w 107"/>
                  <a:gd name="T5" fmla="*/ 14 h 36"/>
                  <a:gd name="T6" fmla="*/ 9 w 107"/>
                  <a:gd name="T7" fmla="*/ 10 h 36"/>
                  <a:gd name="T8" fmla="*/ 15 w 107"/>
                  <a:gd name="T9" fmla="*/ 7 h 36"/>
                  <a:gd name="T10" fmla="*/ 30 w 107"/>
                  <a:gd name="T11" fmla="*/ 3 h 36"/>
                  <a:gd name="T12" fmla="*/ 47 w 107"/>
                  <a:gd name="T13" fmla="*/ 0 h 36"/>
                  <a:gd name="T14" fmla="*/ 65 w 107"/>
                  <a:gd name="T15" fmla="*/ 0 h 36"/>
                  <a:gd name="T16" fmla="*/ 81 w 107"/>
                  <a:gd name="T17" fmla="*/ 1 h 36"/>
                  <a:gd name="T18" fmla="*/ 89 w 107"/>
                  <a:gd name="T19" fmla="*/ 1 h 36"/>
                  <a:gd name="T20" fmla="*/ 95 w 107"/>
                  <a:gd name="T21" fmla="*/ 4 h 36"/>
                  <a:gd name="T22" fmla="*/ 100 w 107"/>
                  <a:gd name="T23" fmla="*/ 5 h 36"/>
                  <a:gd name="T24" fmla="*/ 103 w 107"/>
                  <a:gd name="T25" fmla="*/ 7 h 36"/>
                  <a:gd name="T26" fmla="*/ 107 w 107"/>
                  <a:gd name="T27" fmla="*/ 11 h 36"/>
                  <a:gd name="T28" fmla="*/ 107 w 107"/>
                  <a:gd name="T29" fmla="*/ 15 h 36"/>
                  <a:gd name="T30" fmla="*/ 104 w 107"/>
                  <a:gd name="T31" fmla="*/ 19 h 36"/>
                  <a:gd name="T32" fmla="*/ 102 w 107"/>
                  <a:gd name="T33" fmla="*/ 22 h 36"/>
                  <a:gd name="T34" fmla="*/ 93 w 107"/>
                  <a:gd name="T35" fmla="*/ 27 h 36"/>
                  <a:gd name="T36" fmla="*/ 85 w 107"/>
                  <a:gd name="T37" fmla="*/ 31 h 36"/>
                  <a:gd name="T38" fmla="*/ 76 w 107"/>
                  <a:gd name="T39" fmla="*/ 33 h 36"/>
                  <a:gd name="T40" fmla="*/ 68 w 107"/>
                  <a:gd name="T41" fmla="*/ 34 h 36"/>
                  <a:gd name="T42" fmla="*/ 59 w 107"/>
                  <a:gd name="T43" fmla="*/ 34 h 36"/>
                  <a:gd name="T44" fmla="*/ 51 w 107"/>
                  <a:gd name="T45" fmla="*/ 36 h 36"/>
                  <a:gd name="T46" fmla="*/ 32 w 107"/>
                  <a:gd name="T47" fmla="*/ 36 h 36"/>
                  <a:gd name="T48" fmla="*/ 15 w 107"/>
                  <a:gd name="T49" fmla="*/ 34 h 36"/>
                  <a:gd name="T50" fmla="*/ 0 w 107"/>
                  <a:gd name="T51" fmla="*/ 2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36">
                    <a:moveTo>
                      <a:pt x="0" y="21"/>
                    </a:moveTo>
                    <a:lnTo>
                      <a:pt x="2" y="17"/>
                    </a:lnTo>
                    <a:lnTo>
                      <a:pt x="4" y="14"/>
                    </a:lnTo>
                    <a:lnTo>
                      <a:pt x="9" y="10"/>
                    </a:lnTo>
                    <a:lnTo>
                      <a:pt x="15" y="7"/>
                    </a:lnTo>
                    <a:lnTo>
                      <a:pt x="30" y="3"/>
                    </a:lnTo>
                    <a:lnTo>
                      <a:pt x="47" y="0"/>
                    </a:lnTo>
                    <a:lnTo>
                      <a:pt x="65" y="0"/>
                    </a:lnTo>
                    <a:lnTo>
                      <a:pt x="81" y="1"/>
                    </a:lnTo>
                    <a:lnTo>
                      <a:pt x="89" y="1"/>
                    </a:lnTo>
                    <a:lnTo>
                      <a:pt x="95" y="4"/>
                    </a:lnTo>
                    <a:lnTo>
                      <a:pt x="100" y="5"/>
                    </a:lnTo>
                    <a:lnTo>
                      <a:pt x="103" y="7"/>
                    </a:lnTo>
                    <a:lnTo>
                      <a:pt x="107" y="11"/>
                    </a:lnTo>
                    <a:lnTo>
                      <a:pt x="107" y="15"/>
                    </a:lnTo>
                    <a:lnTo>
                      <a:pt x="104" y="19"/>
                    </a:lnTo>
                    <a:lnTo>
                      <a:pt x="102" y="22"/>
                    </a:lnTo>
                    <a:lnTo>
                      <a:pt x="93" y="27"/>
                    </a:lnTo>
                    <a:lnTo>
                      <a:pt x="85" y="31"/>
                    </a:lnTo>
                    <a:lnTo>
                      <a:pt x="76" y="33"/>
                    </a:lnTo>
                    <a:lnTo>
                      <a:pt x="68" y="34"/>
                    </a:lnTo>
                    <a:lnTo>
                      <a:pt x="59" y="34"/>
                    </a:lnTo>
                    <a:lnTo>
                      <a:pt x="51" y="36"/>
                    </a:lnTo>
                    <a:lnTo>
                      <a:pt x="32" y="36"/>
                    </a:lnTo>
                    <a:lnTo>
                      <a:pt x="15" y="34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13"/>
              <p:cNvSpPr>
                <a:spLocks/>
              </p:cNvSpPr>
              <p:nvPr/>
            </p:nvSpPr>
            <p:spPr bwMode="auto">
              <a:xfrm>
                <a:off x="922337" y="8257568"/>
                <a:ext cx="31750" cy="33338"/>
              </a:xfrm>
              <a:custGeom>
                <a:avLst/>
                <a:gdLst>
                  <a:gd name="T0" fmla="*/ 29 w 78"/>
                  <a:gd name="T1" fmla="*/ 66 h 85"/>
                  <a:gd name="T2" fmla="*/ 27 w 78"/>
                  <a:gd name="T3" fmla="*/ 64 h 85"/>
                  <a:gd name="T4" fmla="*/ 23 w 78"/>
                  <a:gd name="T5" fmla="*/ 61 h 85"/>
                  <a:gd name="T6" fmla="*/ 18 w 78"/>
                  <a:gd name="T7" fmla="*/ 52 h 85"/>
                  <a:gd name="T8" fmla="*/ 11 w 78"/>
                  <a:gd name="T9" fmla="*/ 42 h 85"/>
                  <a:gd name="T10" fmla="*/ 6 w 78"/>
                  <a:gd name="T11" fmla="*/ 33 h 85"/>
                  <a:gd name="T12" fmla="*/ 1 w 78"/>
                  <a:gd name="T13" fmla="*/ 21 h 85"/>
                  <a:gd name="T14" fmla="*/ 0 w 78"/>
                  <a:gd name="T15" fmla="*/ 16 h 85"/>
                  <a:gd name="T16" fmla="*/ 0 w 78"/>
                  <a:gd name="T17" fmla="*/ 10 h 85"/>
                  <a:gd name="T18" fmla="*/ 0 w 78"/>
                  <a:gd name="T19" fmla="*/ 5 h 85"/>
                  <a:gd name="T20" fmla="*/ 3 w 78"/>
                  <a:gd name="T21" fmla="*/ 1 h 85"/>
                  <a:gd name="T22" fmla="*/ 6 w 78"/>
                  <a:gd name="T23" fmla="*/ 0 h 85"/>
                  <a:gd name="T24" fmla="*/ 9 w 78"/>
                  <a:gd name="T25" fmla="*/ 0 h 85"/>
                  <a:gd name="T26" fmla="*/ 14 w 78"/>
                  <a:gd name="T27" fmla="*/ 0 h 85"/>
                  <a:gd name="T28" fmla="*/ 19 w 78"/>
                  <a:gd name="T29" fmla="*/ 3 h 85"/>
                  <a:gd name="T30" fmla="*/ 29 w 78"/>
                  <a:gd name="T31" fmla="*/ 7 h 85"/>
                  <a:gd name="T32" fmla="*/ 40 w 78"/>
                  <a:gd name="T33" fmla="*/ 15 h 85"/>
                  <a:gd name="T34" fmla="*/ 51 w 78"/>
                  <a:gd name="T35" fmla="*/ 22 h 85"/>
                  <a:gd name="T36" fmla="*/ 61 w 78"/>
                  <a:gd name="T37" fmla="*/ 31 h 85"/>
                  <a:gd name="T38" fmla="*/ 68 w 78"/>
                  <a:gd name="T39" fmla="*/ 38 h 85"/>
                  <a:gd name="T40" fmla="*/ 72 w 78"/>
                  <a:gd name="T41" fmla="*/ 44 h 85"/>
                  <a:gd name="T42" fmla="*/ 76 w 78"/>
                  <a:gd name="T43" fmla="*/ 54 h 85"/>
                  <a:gd name="T44" fmla="*/ 78 w 78"/>
                  <a:gd name="T45" fmla="*/ 64 h 85"/>
                  <a:gd name="T46" fmla="*/ 78 w 78"/>
                  <a:gd name="T47" fmla="*/ 67 h 85"/>
                  <a:gd name="T48" fmla="*/ 77 w 78"/>
                  <a:gd name="T49" fmla="*/ 71 h 85"/>
                  <a:gd name="T50" fmla="*/ 77 w 78"/>
                  <a:gd name="T51" fmla="*/ 75 h 85"/>
                  <a:gd name="T52" fmla="*/ 74 w 78"/>
                  <a:gd name="T53" fmla="*/ 77 h 85"/>
                  <a:gd name="T54" fmla="*/ 72 w 78"/>
                  <a:gd name="T55" fmla="*/ 80 h 85"/>
                  <a:gd name="T56" fmla="*/ 69 w 78"/>
                  <a:gd name="T57" fmla="*/ 82 h 85"/>
                  <a:gd name="T58" fmla="*/ 67 w 78"/>
                  <a:gd name="T59" fmla="*/ 83 h 85"/>
                  <a:gd name="T60" fmla="*/ 62 w 78"/>
                  <a:gd name="T61" fmla="*/ 85 h 85"/>
                  <a:gd name="T62" fmla="*/ 53 w 78"/>
                  <a:gd name="T63" fmla="*/ 85 h 85"/>
                  <a:gd name="T64" fmla="*/ 41 w 78"/>
                  <a:gd name="T65" fmla="*/ 82 h 85"/>
                  <a:gd name="T66" fmla="*/ 29 w 78"/>
                  <a:gd name="T6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8" h="85">
                    <a:moveTo>
                      <a:pt x="29" y="66"/>
                    </a:moveTo>
                    <a:lnTo>
                      <a:pt x="27" y="64"/>
                    </a:lnTo>
                    <a:lnTo>
                      <a:pt x="23" y="61"/>
                    </a:lnTo>
                    <a:lnTo>
                      <a:pt x="18" y="52"/>
                    </a:lnTo>
                    <a:lnTo>
                      <a:pt x="11" y="42"/>
                    </a:lnTo>
                    <a:lnTo>
                      <a:pt x="6" y="33"/>
                    </a:lnTo>
                    <a:lnTo>
                      <a:pt x="1" y="21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9" y="3"/>
                    </a:lnTo>
                    <a:lnTo>
                      <a:pt x="29" y="7"/>
                    </a:lnTo>
                    <a:lnTo>
                      <a:pt x="40" y="15"/>
                    </a:lnTo>
                    <a:lnTo>
                      <a:pt x="51" y="22"/>
                    </a:lnTo>
                    <a:lnTo>
                      <a:pt x="61" y="31"/>
                    </a:lnTo>
                    <a:lnTo>
                      <a:pt x="68" y="38"/>
                    </a:lnTo>
                    <a:lnTo>
                      <a:pt x="72" y="44"/>
                    </a:lnTo>
                    <a:lnTo>
                      <a:pt x="76" y="54"/>
                    </a:lnTo>
                    <a:lnTo>
                      <a:pt x="78" y="64"/>
                    </a:lnTo>
                    <a:lnTo>
                      <a:pt x="78" y="67"/>
                    </a:lnTo>
                    <a:lnTo>
                      <a:pt x="77" y="71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2" y="80"/>
                    </a:lnTo>
                    <a:lnTo>
                      <a:pt x="69" y="82"/>
                    </a:lnTo>
                    <a:lnTo>
                      <a:pt x="67" y="83"/>
                    </a:lnTo>
                    <a:lnTo>
                      <a:pt x="62" y="85"/>
                    </a:lnTo>
                    <a:lnTo>
                      <a:pt x="53" y="85"/>
                    </a:lnTo>
                    <a:lnTo>
                      <a:pt x="41" y="82"/>
                    </a:lnTo>
                    <a:lnTo>
                      <a:pt x="2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14"/>
              <p:cNvSpPr>
                <a:spLocks/>
              </p:cNvSpPr>
              <p:nvPr/>
            </p:nvSpPr>
            <p:spPr bwMode="auto">
              <a:xfrm>
                <a:off x="-944563" y="7692418"/>
                <a:ext cx="153988" cy="42863"/>
              </a:xfrm>
              <a:custGeom>
                <a:avLst/>
                <a:gdLst>
                  <a:gd name="T0" fmla="*/ 0 w 386"/>
                  <a:gd name="T1" fmla="*/ 99 h 105"/>
                  <a:gd name="T2" fmla="*/ 1 w 386"/>
                  <a:gd name="T3" fmla="*/ 92 h 105"/>
                  <a:gd name="T4" fmla="*/ 14 w 386"/>
                  <a:gd name="T5" fmla="*/ 84 h 105"/>
                  <a:gd name="T6" fmla="*/ 34 w 386"/>
                  <a:gd name="T7" fmla="*/ 78 h 105"/>
                  <a:gd name="T8" fmla="*/ 49 w 386"/>
                  <a:gd name="T9" fmla="*/ 69 h 105"/>
                  <a:gd name="T10" fmla="*/ 66 w 386"/>
                  <a:gd name="T11" fmla="*/ 56 h 105"/>
                  <a:gd name="T12" fmla="*/ 83 w 386"/>
                  <a:gd name="T13" fmla="*/ 39 h 105"/>
                  <a:gd name="T14" fmla="*/ 100 w 386"/>
                  <a:gd name="T15" fmla="*/ 29 h 105"/>
                  <a:gd name="T16" fmla="*/ 118 w 386"/>
                  <a:gd name="T17" fmla="*/ 23 h 105"/>
                  <a:gd name="T18" fmla="*/ 138 w 386"/>
                  <a:gd name="T19" fmla="*/ 21 h 105"/>
                  <a:gd name="T20" fmla="*/ 167 w 386"/>
                  <a:gd name="T21" fmla="*/ 22 h 105"/>
                  <a:gd name="T22" fmla="*/ 209 w 386"/>
                  <a:gd name="T23" fmla="*/ 21 h 105"/>
                  <a:gd name="T24" fmla="*/ 250 w 386"/>
                  <a:gd name="T25" fmla="*/ 16 h 105"/>
                  <a:gd name="T26" fmla="*/ 292 w 386"/>
                  <a:gd name="T27" fmla="*/ 8 h 105"/>
                  <a:gd name="T28" fmla="*/ 320 w 386"/>
                  <a:gd name="T29" fmla="*/ 2 h 105"/>
                  <a:gd name="T30" fmla="*/ 352 w 386"/>
                  <a:gd name="T31" fmla="*/ 0 h 105"/>
                  <a:gd name="T32" fmla="*/ 374 w 386"/>
                  <a:gd name="T33" fmla="*/ 1 h 105"/>
                  <a:gd name="T34" fmla="*/ 384 w 386"/>
                  <a:gd name="T35" fmla="*/ 5 h 105"/>
                  <a:gd name="T36" fmla="*/ 385 w 386"/>
                  <a:gd name="T37" fmla="*/ 11 h 105"/>
                  <a:gd name="T38" fmla="*/ 375 w 386"/>
                  <a:gd name="T39" fmla="*/ 21 h 105"/>
                  <a:gd name="T40" fmla="*/ 358 w 386"/>
                  <a:gd name="T41" fmla="*/ 30 h 105"/>
                  <a:gd name="T42" fmla="*/ 345 w 386"/>
                  <a:gd name="T43" fmla="*/ 35 h 105"/>
                  <a:gd name="T44" fmla="*/ 323 w 386"/>
                  <a:gd name="T45" fmla="*/ 39 h 105"/>
                  <a:gd name="T46" fmla="*/ 293 w 386"/>
                  <a:gd name="T47" fmla="*/ 40 h 105"/>
                  <a:gd name="T48" fmla="*/ 271 w 386"/>
                  <a:gd name="T49" fmla="*/ 43 h 105"/>
                  <a:gd name="T50" fmla="*/ 259 w 386"/>
                  <a:gd name="T51" fmla="*/ 46 h 105"/>
                  <a:gd name="T52" fmla="*/ 228 w 386"/>
                  <a:gd name="T53" fmla="*/ 71 h 105"/>
                  <a:gd name="T54" fmla="*/ 197 w 386"/>
                  <a:gd name="T55" fmla="*/ 99 h 105"/>
                  <a:gd name="T56" fmla="*/ 183 w 386"/>
                  <a:gd name="T57" fmla="*/ 105 h 105"/>
                  <a:gd name="T58" fmla="*/ 168 w 386"/>
                  <a:gd name="T59" fmla="*/ 104 h 105"/>
                  <a:gd name="T60" fmla="*/ 151 w 386"/>
                  <a:gd name="T61" fmla="*/ 96 h 105"/>
                  <a:gd name="T62" fmla="*/ 137 w 386"/>
                  <a:gd name="T63" fmla="*/ 85 h 105"/>
                  <a:gd name="T64" fmla="*/ 123 w 386"/>
                  <a:gd name="T65" fmla="*/ 81 h 105"/>
                  <a:gd name="T66" fmla="*/ 99 w 386"/>
                  <a:gd name="T67" fmla="*/ 82 h 105"/>
                  <a:gd name="T68" fmla="*/ 63 w 386"/>
                  <a:gd name="T69" fmla="*/ 92 h 105"/>
                  <a:gd name="T70" fmla="*/ 28 w 386"/>
                  <a:gd name="T71" fmla="*/ 103 h 105"/>
                  <a:gd name="T72" fmla="*/ 0 w 386"/>
                  <a:gd name="T7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86" h="105">
                    <a:moveTo>
                      <a:pt x="0" y="104"/>
                    </a:moveTo>
                    <a:lnTo>
                      <a:pt x="0" y="99"/>
                    </a:lnTo>
                    <a:lnTo>
                      <a:pt x="0" y="95"/>
                    </a:lnTo>
                    <a:lnTo>
                      <a:pt x="1" y="92"/>
                    </a:lnTo>
                    <a:lnTo>
                      <a:pt x="2" y="88"/>
                    </a:lnTo>
                    <a:lnTo>
                      <a:pt x="14" y="84"/>
                    </a:lnTo>
                    <a:lnTo>
                      <a:pt x="25" y="82"/>
                    </a:lnTo>
                    <a:lnTo>
                      <a:pt x="34" y="78"/>
                    </a:lnTo>
                    <a:lnTo>
                      <a:pt x="41" y="74"/>
                    </a:lnTo>
                    <a:lnTo>
                      <a:pt x="49" y="69"/>
                    </a:lnTo>
                    <a:lnTo>
                      <a:pt x="57" y="63"/>
                    </a:lnTo>
                    <a:lnTo>
                      <a:pt x="66" y="56"/>
                    </a:lnTo>
                    <a:lnTo>
                      <a:pt x="75" y="46"/>
                    </a:lnTo>
                    <a:lnTo>
                      <a:pt x="83" y="39"/>
                    </a:lnTo>
                    <a:lnTo>
                      <a:pt x="91" y="34"/>
                    </a:lnTo>
                    <a:lnTo>
                      <a:pt x="100" y="29"/>
                    </a:lnTo>
                    <a:lnTo>
                      <a:pt x="108" y="25"/>
                    </a:lnTo>
                    <a:lnTo>
                      <a:pt x="118" y="23"/>
                    </a:lnTo>
                    <a:lnTo>
                      <a:pt x="128" y="22"/>
                    </a:lnTo>
                    <a:lnTo>
                      <a:pt x="138" y="21"/>
                    </a:lnTo>
                    <a:lnTo>
                      <a:pt x="148" y="21"/>
                    </a:lnTo>
                    <a:lnTo>
                      <a:pt x="167" y="22"/>
                    </a:lnTo>
                    <a:lnTo>
                      <a:pt x="187" y="22"/>
                    </a:lnTo>
                    <a:lnTo>
                      <a:pt x="209" y="21"/>
                    </a:lnTo>
                    <a:lnTo>
                      <a:pt x="230" y="18"/>
                    </a:lnTo>
                    <a:lnTo>
                      <a:pt x="250" y="16"/>
                    </a:lnTo>
                    <a:lnTo>
                      <a:pt x="271" y="13"/>
                    </a:lnTo>
                    <a:lnTo>
                      <a:pt x="292" y="8"/>
                    </a:lnTo>
                    <a:lnTo>
                      <a:pt x="310" y="5"/>
                    </a:lnTo>
                    <a:lnTo>
                      <a:pt x="320" y="2"/>
                    </a:lnTo>
                    <a:lnTo>
                      <a:pt x="335" y="1"/>
                    </a:lnTo>
                    <a:lnTo>
                      <a:pt x="352" y="0"/>
                    </a:lnTo>
                    <a:lnTo>
                      <a:pt x="368" y="1"/>
                    </a:lnTo>
                    <a:lnTo>
                      <a:pt x="374" y="1"/>
                    </a:lnTo>
                    <a:lnTo>
                      <a:pt x="380" y="3"/>
                    </a:lnTo>
                    <a:lnTo>
                      <a:pt x="384" y="5"/>
                    </a:lnTo>
                    <a:lnTo>
                      <a:pt x="386" y="8"/>
                    </a:lnTo>
                    <a:lnTo>
                      <a:pt x="385" y="11"/>
                    </a:lnTo>
                    <a:lnTo>
                      <a:pt x="381" y="16"/>
                    </a:lnTo>
                    <a:lnTo>
                      <a:pt x="375" y="21"/>
                    </a:lnTo>
                    <a:lnTo>
                      <a:pt x="366" y="27"/>
                    </a:lnTo>
                    <a:lnTo>
                      <a:pt x="358" y="30"/>
                    </a:lnTo>
                    <a:lnTo>
                      <a:pt x="352" y="33"/>
                    </a:lnTo>
                    <a:lnTo>
                      <a:pt x="345" y="35"/>
                    </a:lnTo>
                    <a:lnTo>
                      <a:pt x="337" y="36"/>
                    </a:lnTo>
                    <a:lnTo>
                      <a:pt x="323" y="39"/>
                    </a:lnTo>
                    <a:lnTo>
                      <a:pt x="307" y="39"/>
                    </a:lnTo>
                    <a:lnTo>
                      <a:pt x="293" y="40"/>
                    </a:lnTo>
                    <a:lnTo>
                      <a:pt x="279" y="41"/>
                    </a:lnTo>
                    <a:lnTo>
                      <a:pt x="271" y="43"/>
                    </a:lnTo>
                    <a:lnTo>
                      <a:pt x="265" y="44"/>
                    </a:lnTo>
                    <a:lnTo>
                      <a:pt x="259" y="46"/>
                    </a:lnTo>
                    <a:lnTo>
                      <a:pt x="253" y="50"/>
                    </a:lnTo>
                    <a:lnTo>
                      <a:pt x="228" y="71"/>
                    </a:lnTo>
                    <a:lnTo>
                      <a:pt x="204" y="94"/>
                    </a:lnTo>
                    <a:lnTo>
                      <a:pt x="197" y="99"/>
                    </a:lnTo>
                    <a:lnTo>
                      <a:pt x="191" y="103"/>
                    </a:lnTo>
                    <a:lnTo>
                      <a:pt x="183" y="105"/>
                    </a:lnTo>
                    <a:lnTo>
                      <a:pt x="176" y="105"/>
                    </a:lnTo>
                    <a:lnTo>
                      <a:pt x="168" y="104"/>
                    </a:lnTo>
                    <a:lnTo>
                      <a:pt x="160" y="101"/>
                    </a:lnTo>
                    <a:lnTo>
                      <a:pt x="151" y="96"/>
                    </a:lnTo>
                    <a:lnTo>
                      <a:pt x="143" y="89"/>
                    </a:lnTo>
                    <a:lnTo>
                      <a:pt x="137" y="85"/>
                    </a:lnTo>
                    <a:lnTo>
                      <a:pt x="131" y="82"/>
                    </a:lnTo>
                    <a:lnTo>
                      <a:pt x="123" y="81"/>
                    </a:lnTo>
                    <a:lnTo>
                      <a:pt x="116" y="79"/>
                    </a:lnTo>
                    <a:lnTo>
                      <a:pt x="99" y="82"/>
                    </a:lnTo>
                    <a:lnTo>
                      <a:pt x="80" y="85"/>
                    </a:lnTo>
                    <a:lnTo>
                      <a:pt x="63" y="92"/>
                    </a:lnTo>
                    <a:lnTo>
                      <a:pt x="45" y="98"/>
                    </a:lnTo>
                    <a:lnTo>
                      <a:pt x="28" y="103"/>
                    </a:lnTo>
                    <a:lnTo>
                      <a:pt x="13" y="105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15"/>
              <p:cNvSpPr>
                <a:spLocks/>
              </p:cNvSpPr>
              <p:nvPr/>
            </p:nvSpPr>
            <p:spPr bwMode="auto">
              <a:xfrm>
                <a:off x="-763588" y="7687655"/>
                <a:ext cx="107950" cy="28575"/>
              </a:xfrm>
              <a:custGeom>
                <a:avLst/>
                <a:gdLst>
                  <a:gd name="T0" fmla="*/ 9 w 272"/>
                  <a:gd name="T1" fmla="*/ 44 h 73"/>
                  <a:gd name="T2" fmla="*/ 4 w 272"/>
                  <a:gd name="T3" fmla="*/ 33 h 73"/>
                  <a:gd name="T4" fmla="*/ 1 w 272"/>
                  <a:gd name="T5" fmla="*/ 23 h 73"/>
                  <a:gd name="T6" fmla="*/ 0 w 272"/>
                  <a:gd name="T7" fmla="*/ 16 h 73"/>
                  <a:gd name="T8" fmla="*/ 1 w 272"/>
                  <a:gd name="T9" fmla="*/ 11 h 73"/>
                  <a:gd name="T10" fmla="*/ 5 w 272"/>
                  <a:gd name="T11" fmla="*/ 6 h 73"/>
                  <a:gd name="T12" fmla="*/ 10 w 272"/>
                  <a:gd name="T13" fmla="*/ 4 h 73"/>
                  <a:gd name="T14" fmla="*/ 16 w 272"/>
                  <a:gd name="T15" fmla="*/ 1 h 73"/>
                  <a:gd name="T16" fmla="*/ 23 w 272"/>
                  <a:gd name="T17" fmla="*/ 0 h 73"/>
                  <a:gd name="T18" fmla="*/ 55 w 272"/>
                  <a:gd name="T19" fmla="*/ 1 h 73"/>
                  <a:gd name="T20" fmla="*/ 86 w 272"/>
                  <a:gd name="T21" fmla="*/ 4 h 73"/>
                  <a:gd name="T22" fmla="*/ 118 w 272"/>
                  <a:gd name="T23" fmla="*/ 5 h 73"/>
                  <a:gd name="T24" fmla="*/ 148 w 272"/>
                  <a:gd name="T25" fmla="*/ 6 h 73"/>
                  <a:gd name="T26" fmla="*/ 180 w 272"/>
                  <a:gd name="T27" fmla="*/ 7 h 73"/>
                  <a:gd name="T28" fmla="*/ 212 w 272"/>
                  <a:gd name="T29" fmla="*/ 6 h 73"/>
                  <a:gd name="T30" fmla="*/ 222 w 272"/>
                  <a:gd name="T31" fmla="*/ 5 h 73"/>
                  <a:gd name="T32" fmla="*/ 231 w 272"/>
                  <a:gd name="T33" fmla="*/ 5 h 73"/>
                  <a:gd name="T34" fmla="*/ 240 w 272"/>
                  <a:gd name="T35" fmla="*/ 6 h 73"/>
                  <a:gd name="T36" fmla="*/ 247 w 272"/>
                  <a:gd name="T37" fmla="*/ 9 h 73"/>
                  <a:gd name="T38" fmla="*/ 255 w 272"/>
                  <a:gd name="T39" fmla="*/ 12 h 73"/>
                  <a:gd name="T40" fmla="*/ 261 w 272"/>
                  <a:gd name="T41" fmla="*/ 17 h 73"/>
                  <a:gd name="T42" fmla="*/ 266 w 272"/>
                  <a:gd name="T43" fmla="*/ 24 h 73"/>
                  <a:gd name="T44" fmla="*/ 269 w 272"/>
                  <a:gd name="T45" fmla="*/ 34 h 73"/>
                  <a:gd name="T46" fmla="*/ 271 w 272"/>
                  <a:gd name="T47" fmla="*/ 43 h 73"/>
                  <a:gd name="T48" fmla="*/ 272 w 272"/>
                  <a:gd name="T49" fmla="*/ 51 h 73"/>
                  <a:gd name="T50" fmla="*/ 272 w 272"/>
                  <a:gd name="T51" fmla="*/ 58 h 73"/>
                  <a:gd name="T52" fmla="*/ 269 w 272"/>
                  <a:gd name="T53" fmla="*/ 64 h 73"/>
                  <a:gd name="T54" fmla="*/ 267 w 272"/>
                  <a:gd name="T55" fmla="*/ 67 h 73"/>
                  <a:gd name="T56" fmla="*/ 262 w 272"/>
                  <a:gd name="T57" fmla="*/ 70 h 73"/>
                  <a:gd name="T58" fmla="*/ 258 w 272"/>
                  <a:gd name="T59" fmla="*/ 72 h 73"/>
                  <a:gd name="T60" fmla="*/ 252 w 272"/>
                  <a:gd name="T61" fmla="*/ 73 h 73"/>
                  <a:gd name="T62" fmla="*/ 240 w 272"/>
                  <a:gd name="T63" fmla="*/ 73 h 73"/>
                  <a:gd name="T64" fmla="*/ 227 w 272"/>
                  <a:gd name="T65" fmla="*/ 72 h 73"/>
                  <a:gd name="T66" fmla="*/ 213 w 272"/>
                  <a:gd name="T67" fmla="*/ 70 h 73"/>
                  <a:gd name="T68" fmla="*/ 201 w 272"/>
                  <a:gd name="T69" fmla="*/ 67 h 73"/>
                  <a:gd name="T70" fmla="*/ 184 w 272"/>
                  <a:gd name="T71" fmla="*/ 66 h 73"/>
                  <a:gd name="T72" fmla="*/ 168 w 272"/>
                  <a:gd name="T73" fmla="*/ 65 h 73"/>
                  <a:gd name="T74" fmla="*/ 152 w 272"/>
                  <a:gd name="T75" fmla="*/ 65 h 73"/>
                  <a:gd name="T76" fmla="*/ 136 w 272"/>
                  <a:gd name="T77" fmla="*/ 65 h 73"/>
                  <a:gd name="T78" fmla="*/ 114 w 272"/>
                  <a:gd name="T79" fmla="*/ 64 h 73"/>
                  <a:gd name="T80" fmla="*/ 91 w 272"/>
                  <a:gd name="T81" fmla="*/ 61 h 73"/>
                  <a:gd name="T82" fmla="*/ 67 w 272"/>
                  <a:gd name="T83" fmla="*/ 60 h 73"/>
                  <a:gd name="T84" fmla="*/ 45 w 272"/>
                  <a:gd name="T85" fmla="*/ 59 h 73"/>
                  <a:gd name="T86" fmla="*/ 9 w 272"/>
                  <a:gd name="T87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2" h="73">
                    <a:moveTo>
                      <a:pt x="9" y="44"/>
                    </a:moveTo>
                    <a:lnTo>
                      <a:pt x="4" y="33"/>
                    </a:lnTo>
                    <a:lnTo>
                      <a:pt x="1" y="23"/>
                    </a:lnTo>
                    <a:lnTo>
                      <a:pt x="0" y="16"/>
                    </a:lnTo>
                    <a:lnTo>
                      <a:pt x="1" y="11"/>
                    </a:lnTo>
                    <a:lnTo>
                      <a:pt x="5" y="6"/>
                    </a:lnTo>
                    <a:lnTo>
                      <a:pt x="10" y="4"/>
                    </a:lnTo>
                    <a:lnTo>
                      <a:pt x="16" y="1"/>
                    </a:lnTo>
                    <a:lnTo>
                      <a:pt x="23" y="0"/>
                    </a:lnTo>
                    <a:lnTo>
                      <a:pt x="55" y="1"/>
                    </a:lnTo>
                    <a:lnTo>
                      <a:pt x="86" y="4"/>
                    </a:lnTo>
                    <a:lnTo>
                      <a:pt x="118" y="5"/>
                    </a:lnTo>
                    <a:lnTo>
                      <a:pt x="148" y="6"/>
                    </a:lnTo>
                    <a:lnTo>
                      <a:pt x="180" y="7"/>
                    </a:lnTo>
                    <a:lnTo>
                      <a:pt x="212" y="6"/>
                    </a:lnTo>
                    <a:lnTo>
                      <a:pt x="222" y="5"/>
                    </a:lnTo>
                    <a:lnTo>
                      <a:pt x="231" y="5"/>
                    </a:lnTo>
                    <a:lnTo>
                      <a:pt x="240" y="6"/>
                    </a:lnTo>
                    <a:lnTo>
                      <a:pt x="247" y="9"/>
                    </a:lnTo>
                    <a:lnTo>
                      <a:pt x="255" y="12"/>
                    </a:lnTo>
                    <a:lnTo>
                      <a:pt x="261" y="17"/>
                    </a:lnTo>
                    <a:lnTo>
                      <a:pt x="266" y="24"/>
                    </a:lnTo>
                    <a:lnTo>
                      <a:pt x="269" y="34"/>
                    </a:lnTo>
                    <a:lnTo>
                      <a:pt x="271" y="43"/>
                    </a:lnTo>
                    <a:lnTo>
                      <a:pt x="272" y="51"/>
                    </a:lnTo>
                    <a:lnTo>
                      <a:pt x="272" y="58"/>
                    </a:lnTo>
                    <a:lnTo>
                      <a:pt x="269" y="64"/>
                    </a:lnTo>
                    <a:lnTo>
                      <a:pt x="267" y="67"/>
                    </a:lnTo>
                    <a:lnTo>
                      <a:pt x="262" y="70"/>
                    </a:lnTo>
                    <a:lnTo>
                      <a:pt x="258" y="72"/>
                    </a:lnTo>
                    <a:lnTo>
                      <a:pt x="252" y="73"/>
                    </a:lnTo>
                    <a:lnTo>
                      <a:pt x="240" y="73"/>
                    </a:lnTo>
                    <a:lnTo>
                      <a:pt x="227" y="72"/>
                    </a:lnTo>
                    <a:lnTo>
                      <a:pt x="213" y="70"/>
                    </a:lnTo>
                    <a:lnTo>
                      <a:pt x="201" y="67"/>
                    </a:lnTo>
                    <a:lnTo>
                      <a:pt x="184" y="66"/>
                    </a:lnTo>
                    <a:lnTo>
                      <a:pt x="168" y="65"/>
                    </a:lnTo>
                    <a:lnTo>
                      <a:pt x="152" y="65"/>
                    </a:lnTo>
                    <a:lnTo>
                      <a:pt x="136" y="65"/>
                    </a:lnTo>
                    <a:lnTo>
                      <a:pt x="114" y="64"/>
                    </a:lnTo>
                    <a:lnTo>
                      <a:pt x="91" y="61"/>
                    </a:lnTo>
                    <a:lnTo>
                      <a:pt x="67" y="60"/>
                    </a:lnTo>
                    <a:lnTo>
                      <a:pt x="45" y="59"/>
                    </a:lnTo>
                    <a:lnTo>
                      <a:pt x="9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16"/>
              <p:cNvSpPr>
                <a:spLocks/>
              </p:cNvSpPr>
              <p:nvPr/>
            </p:nvSpPr>
            <p:spPr bwMode="auto">
              <a:xfrm>
                <a:off x="-619126" y="7625743"/>
                <a:ext cx="171450" cy="84138"/>
              </a:xfrm>
              <a:custGeom>
                <a:avLst/>
                <a:gdLst>
                  <a:gd name="T0" fmla="*/ 5 w 430"/>
                  <a:gd name="T1" fmla="*/ 137 h 209"/>
                  <a:gd name="T2" fmla="*/ 0 w 430"/>
                  <a:gd name="T3" fmla="*/ 124 h 209"/>
                  <a:gd name="T4" fmla="*/ 1 w 430"/>
                  <a:gd name="T5" fmla="*/ 111 h 209"/>
                  <a:gd name="T6" fmla="*/ 7 w 430"/>
                  <a:gd name="T7" fmla="*/ 103 h 209"/>
                  <a:gd name="T8" fmla="*/ 16 w 430"/>
                  <a:gd name="T9" fmla="*/ 97 h 209"/>
                  <a:gd name="T10" fmla="*/ 28 w 430"/>
                  <a:gd name="T11" fmla="*/ 93 h 209"/>
                  <a:gd name="T12" fmla="*/ 49 w 430"/>
                  <a:gd name="T13" fmla="*/ 92 h 209"/>
                  <a:gd name="T14" fmla="*/ 82 w 430"/>
                  <a:gd name="T15" fmla="*/ 98 h 209"/>
                  <a:gd name="T16" fmla="*/ 117 w 430"/>
                  <a:gd name="T17" fmla="*/ 105 h 209"/>
                  <a:gd name="T18" fmla="*/ 153 w 430"/>
                  <a:gd name="T19" fmla="*/ 108 h 209"/>
                  <a:gd name="T20" fmla="*/ 188 w 430"/>
                  <a:gd name="T21" fmla="*/ 104 h 209"/>
                  <a:gd name="T22" fmla="*/ 219 w 430"/>
                  <a:gd name="T23" fmla="*/ 94 h 209"/>
                  <a:gd name="T24" fmla="*/ 242 w 430"/>
                  <a:gd name="T25" fmla="*/ 83 h 209"/>
                  <a:gd name="T26" fmla="*/ 275 w 430"/>
                  <a:gd name="T27" fmla="*/ 62 h 209"/>
                  <a:gd name="T28" fmla="*/ 320 w 430"/>
                  <a:gd name="T29" fmla="*/ 32 h 209"/>
                  <a:gd name="T30" fmla="*/ 356 w 430"/>
                  <a:gd name="T31" fmla="*/ 12 h 209"/>
                  <a:gd name="T32" fmla="*/ 380 w 430"/>
                  <a:gd name="T33" fmla="*/ 4 h 209"/>
                  <a:gd name="T34" fmla="*/ 399 w 430"/>
                  <a:gd name="T35" fmla="*/ 0 h 209"/>
                  <a:gd name="T36" fmla="*/ 408 w 430"/>
                  <a:gd name="T37" fmla="*/ 6 h 209"/>
                  <a:gd name="T38" fmla="*/ 416 w 430"/>
                  <a:gd name="T39" fmla="*/ 20 h 209"/>
                  <a:gd name="T40" fmla="*/ 422 w 430"/>
                  <a:gd name="T41" fmla="*/ 37 h 209"/>
                  <a:gd name="T42" fmla="*/ 428 w 430"/>
                  <a:gd name="T43" fmla="*/ 67 h 209"/>
                  <a:gd name="T44" fmla="*/ 430 w 430"/>
                  <a:gd name="T45" fmla="*/ 103 h 209"/>
                  <a:gd name="T46" fmla="*/ 426 w 430"/>
                  <a:gd name="T47" fmla="*/ 124 h 209"/>
                  <a:gd name="T48" fmla="*/ 416 w 430"/>
                  <a:gd name="T49" fmla="*/ 138 h 209"/>
                  <a:gd name="T50" fmla="*/ 404 w 430"/>
                  <a:gd name="T51" fmla="*/ 149 h 209"/>
                  <a:gd name="T52" fmla="*/ 390 w 430"/>
                  <a:gd name="T53" fmla="*/ 155 h 209"/>
                  <a:gd name="T54" fmla="*/ 375 w 430"/>
                  <a:gd name="T55" fmla="*/ 157 h 209"/>
                  <a:gd name="T56" fmla="*/ 361 w 430"/>
                  <a:gd name="T57" fmla="*/ 155 h 209"/>
                  <a:gd name="T58" fmla="*/ 335 w 430"/>
                  <a:gd name="T59" fmla="*/ 149 h 209"/>
                  <a:gd name="T60" fmla="*/ 309 w 430"/>
                  <a:gd name="T61" fmla="*/ 141 h 209"/>
                  <a:gd name="T62" fmla="*/ 287 w 430"/>
                  <a:gd name="T63" fmla="*/ 136 h 209"/>
                  <a:gd name="T64" fmla="*/ 265 w 430"/>
                  <a:gd name="T65" fmla="*/ 136 h 209"/>
                  <a:gd name="T66" fmla="*/ 242 w 430"/>
                  <a:gd name="T67" fmla="*/ 138 h 209"/>
                  <a:gd name="T68" fmla="*/ 220 w 430"/>
                  <a:gd name="T69" fmla="*/ 144 h 209"/>
                  <a:gd name="T70" fmla="*/ 198 w 430"/>
                  <a:gd name="T71" fmla="*/ 153 h 209"/>
                  <a:gd name="T72" fmla="*/ 178 w 430"/>
                  <a:gd name="T73" fmla="*/ 164 h 209"/>
                  <a:gd name="T74" fmla="*/ 161 w 430"/>
                  <a:gd name="T75" fmla="*/ 177 h 209"/>
                  <a:gd name="T76" fmla="*/ 144 w 430"/>
                  <a:gd name="T77" fmla="*/ 193 h 209"/>
                  <a:gd name="T78" fmla="*/ 128 w 430"/>
                  <a:gd name="T79" fmla="*/ 204 h 209"/>
                  <a:gd name="T80" fmla="*/ 112 w 430"/>
                  <a:gd name="T81" fmla="*/ 209 h 209"/>
                  <a:gd name="T82" fmla="*/ 98 w 430"/>
                  <a:gd name="T83" fmla="*/ 208 h 209"/>
                  <a:gd name="T84" fmla="*/ 84 w 430"/>
                  <a:gd name="T85" fmla="*/ 201 h 209"/>
                  <a:gd name="T86" fmla="*/ 69 w 430"/>
                  <a:gd name="T87" fmla="*/ 191 h 209"/>
                  <a:gd name="T88" fmla="*/ 47 w 430"/>
                  <a:gd name="T89" fmla="*/ 171 h 209"/>
                  <a:gd name="T90" fmla="*/ 9 w 430"/>
                  <a:gd name="T91" fmla="*/ 14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0" h="209">
                    <a:moveTo>
                      <a:pt x="9" y="146"/>
                    </a:moveTo>
                    <a:lnTo>
                      <a:pt x="5" y="137"/>
                    </a:lnTo>
                    <a:lnTo>
                      <a:pt x="2" y="130"/>
                    </a:lnTo>
                    <a:lnTo>
                      <a:pt x="0" y="124"/>
                    </a:lnTo>
                    <a:lnTo>
                      <a:pt x="0" y="118"/>
                    </a:lnTo>
                    <a:lnTo>
                      <a:pt x="1" y="111"/>
                    </a:lnTo>
                    <a:lnTo>
                      <a:pt x="3" y="106"/>
                    </a:lnTo>
                    <a:lnTo>
                      <a:pt x="7" y="103"/>
                    </a:lnTo>
                    <a:lnTo>
                      <a:pt x="11" y="99"/>
                    </a:lnTo>
                    <a:lnTo>
                      <a:pt x="16" y="97"/>
                    </a:lnTo>
                    <a:lnTo>
                      <a:pt x="22" y="94"/>
                    </a:lnTo>
                    <a:lnTo>
                      <a:pt x="28" y="93"/>
                    </a:lnTo>
                    <a:lnTo>
                      <a:pt x="35" y="92"/>
                    </a:lnTo>
                    <a:lnTo>
                      <a:pt x="49" y="92"/>
                    </a:lnTo>
                    <a:lnTo>
                      <a:pt x="63" y="94"/>
                    </a:lnTo>
                    <a:lnTo>
                      <a:pt x="82" y="98"/>
                    </a:lnTo>
                    <a:lnTo>
                      <a:pt x="99" y="102"/>
                    </a:lnTo>
                    <a:lnTo>
                      <a:pt x="117" y="105"/>
                    </a:lnTo>
                    <a:lnTo>
                      <a:pt x="134" y="106"/>
                    </a:lnTo>
                    <a:lnTo>
                      <a:pt x="153" y="108"/>
                    </a:lnTo>
                    <a:lnTo>
                      <a:pt x="170" y="106"/>
                    </a:lnTo>
                    <a:lnTo>
                      <a:pt x="188" y="104"/>
                    </a:lnTo>
                    <a:lnTo>
                      <a:pt x="206" y="99"/>
                    </a:lnTo>
                    <a:lnTo>
                      <a:pt x="219" y="94"/>
                    </a:lnTo>
                    <a:lnTo>
                      <a:pt x="231" y="89"/>
                    </a:lnTo>
                    <a:lnTo>
                      <a:pt x="242" y="83"/>
                    </a:lnTo>
                    <a:lnTo>
                      <a:pt x="253" y="76"/>
                    </a:lnTo>
                    <a:lnTo>
                      <a:pt x="275" y="62"/>
                    </a:lnTo>
                    <a:lnTo>
                      <a:pt x="297" y="46"/>
                    </a:lnTo>
                    <a:lnTo>
                      <a:pt x="320" y="32"/>
                    </a:lnTo>
                    <a:lnTo>
                      <a:pt x="344" y="18"/>
                    </a:lnTo>
                    <a:lnTo>
                      <a:pt x="356" y="12"/>
                    </a:lnTo>
                    <a:lnTo>
                      <a:pt x="368" y="7"/>
                    </a:lnTo>
                    <a:lnTo>
                      <a:pt x="380" y="4"/>
                    </a:lnTo>
                    <a:lnTo>
                      <a:pt x="394" y="0"/>
                    </a:lnTo>
                    <a:lnTo>
                      <a:pt x="399" y="0"/>
                    </a:lnTo>
                    <a:lnTo>
                      <a:pt x="404" y="2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416" y="20"/>
                    </a:lnTo>
                    <a:lnTo>
                      <a:pt x="419" y="28"/>
                    </a:lnTo>
                    <a:lnTo>
                      <a:pt x="422" y="37"/>
                    </a:lnTo>
                    <a:lnTo>
                      <a:pt x="424" y="46"/>
                    </a:lnTo>
                    <a:lnTo>
                      <a:pt x="428" y="67"/>
                    </a:lnTo>
                    <a:lnTo>
                      <a:pt x="430" y="87"/>
                    </a:lnTo>
                    <a:lnTo>
                      <a:pt x="430" y="103"/>
                    </a:lnTo>
                    <a:lnTo>
                      <a:pt x="429" y="114"/>
                    </a:lnTo>
                    <a:lnTo>
                      <a:pt x="426" y="124"/>
                    </a:lnTo>
                    <a:lnTo>
                      <a:pt x="421" y="132"/>
                    </a:lnTo>
                    <a:lnTo>
                      <a:pt x="416" y="138"/>
                    </a:lnTo>
                    <a:lnTo>
                      <a:pt x="410" y="144"/>
                    </a:lnTo>
                    <a:lnTo>
                      <a:pt x="404" y="149"/>
                    </a:lnTo>
                    <a:lnTo>
                      <a:pt x="397" y="153"/>
                    </a:lnTo>
                    <a:lnTo>
                      <a:pt x="390" y="155"/>
                    </a:lnTo>
                    <a:lnTo>
                      <a:pt x="384" y="157"/>
                    </a:lnTo>
                    <a:lnTo>
                      <a:pt x="375" y="157"/>
                    </a:lnTo>
                    <a:lnTo>
                      <a:pt x="368" y="157"/>
                    </a:lnTo>
                    <a:lnTo>
                      <a:pt x="361" y="155"/>
                    </a:lnTo>
                    <a:lnTo>
                      <a:pt x="352" y="154"/>
                    </a:lnTo>
                    <a:lnTo>
                      <a:pt x="335" y="149"/>
                    </a:lnTo>
                    <a:lnTo>
                      <a:pt x="319" y="143"/>
                    </a:lnTo>
                    <a:lnTo>
                      <a:pt x="309" y="141"/>
                    </a:lnTo>
                    <a:lnTo>
                      <a:pt x="298" y="138"/>
                    </a:lnTo>
                    <a:lnTo>
                      <a:pt x="287" y="136"/>
                    </a:lnTo>
                    <a:lnTo>
                      <a:pt x="276" y="136"/>
                    </a:lnTo>
                    <a:lnTo>
                      <a:pt x="265" y="136"/>
                    </a:lnTo>
                    <a:lnTo>
                      <a:pt x="254" y="137"/>
                    </a:lnTo>
                    <a:lnTo>
                      <a:pt x="242" y="138"/>
                    </a:lnTo>
                    <a:lnTo>
                      <a:pt x="231" y="141"/>
                    </a:lnTo>
                    <a:lnTo>
                      <a:pt x="220" y="144"/>
                    </a:lnTo>
                    <a:lnTo>
                      <a:pt x="209" y="148"/>
                    </a:lnTo>
                    <a:lnTo>
                      <a:pt x="198" y="153"/>
                    </a:lnTo>
                    <a:lnTo>
                      <a:pt x="188" y="158"/>
                    </a:lnTo>
                    <a:lnTo>
                      <a:pt x="178" y="164"/>
                    </a:lnTo>
                    <a:lnTo>
                      <a:pt x="169" y="170"/>
                    </a:lnTo>
                    <a:lnTo>
                      <a:pt x="161" y="177"/>
                    </a:lnTo>
                    <a:lnTo>
                      <a:pt x="154" y="185"/>
                    </a:lnTo>
                    <a:lnTo>
                      <a:pt x="144" y="193"/>
                    </a:lnTo>
                    <a:lnTo>
                      <a:pt x="137" y="200"/>
                    </a:lnTo>
                    <a:lnTo>
                      <a:pt x="128" y="204"/>
                    </a:lnTo>
                    <a:lnTo>
                      <a:pt x="121" y="208"/>
                    </a:lnTo>
                    <a:lnTo>
                      <a:pt x="112" y="209"/>
                    </a:lnTo>
                    <a:lnTo>
                      <a:pt x="105" y="209"/>
                    </a:lnTo>
                    <a:lnTo>
                      <a:pt x="98" y="208"/>
                    </a:lnTo>
                    <a:lnTo>
                      <a:pt x="91" y="204"/>
                    </a:lnTo>
                    <a:lnTo>
                      <a:pt x="84" y="201"/>
                    </a:lnTo>
                    <a:lnTo>
                      <a:pt x="77" y="197"/>
                    </a:lnTo>
                    <a:lnTo>
                      <a:pt x="69" y="191"/>
                    </a:lnTo>
                    <a:lnTo>
                      <a:pt x="62" y="185"/>
                    </a:lnTo>
                    <a:lnTo>
                      <a:pt x="47" y="171"/>
                    </a:lnTo>
                    <a:lnTo>
                      <a:pt x="31" y="157"/>
                    </a:lnTo>
                    <a:lnTo>
                      <a:pt x="9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17"/>
              <p:cNvSpPr>
                <a:spLocks/>
              </p:cNvSpPr>
              <p:nvPr/>
            </p:nvSpPr>
            <p:spPr bwMode="auto">
              <a:xfrm>
                <a:off x="1404937" y="8119455"/>
                <a:ext cx="22225" cy="46038"/>
              </a:xfrm>
              <a:custGeom>
                <a:avLst/>
                <a:gdLst>
                  <a:gd name="T0" fmla="*/ 5 w 55"/>
                  <a:gd name="T1" fmla="*/ 104 h 117"/>
                  <a:gd name="T2" fmla="*/ 3 w 55"/>
                  <a:gd name="T3" fmla="*/ 91 h 117"/>
                  <a:gd name="T4" fmla="*/ 0 w 55"/>
                  <a:gd name="T5" fmla="*/ 76 h 117"/>
                  <a:gd name="T6" fmla="*/ 0 w 55"/>
                  <a:gd name="T7" fmla="*/ 61 h 117"/>
                  <a:gd name="T8" fmla="*/ 0 w 55"/>
                  <a:gd name="T9" fmla="*/ 47 h 117"/>
                  <a:gd name="T10" fmla="*/ 1 w 55"/>
                  <a:gd name="T11" fmla="*/ 38 h 117"/>
                  <a:gd name="T12" fmla="*/ 5 w 55"/>
                  <a:gd name="T13" fmla="*/ 30 h 117"/>
                  <a:gd name="T14" fmla="*/ 9 w 55"/>
                  <a:gd name="T15" fmla="*/ 22 h 117"/>
                  <a:gd name="T16" fmla="*/ 14 w 55"/>
                  <a:gd name="T17" fmla="*/ 15 h 117"/>
                  <a:gd name="T18" fmla="*/ 19 w 55"/>
                  <a:gd name="T19" fmla="*/ 9 h 117"/>
                  <a:gd name="T20" fmla="*/ 25 w 55"/>
                  <a:gd name="T21" fmla="*/ 4 h 117"/>
                  <a:gd name="T22" fmla="*/ 31 w 55"/>
                  <a:gd name="T23" fmla="*/ 1 h 117"/>
                  <a:gd name="T24" fmla="*/ 36 w 55"/>
                  <a:gd name="T25" fmla="*/ 0 h 117"/>
                  <a:gd name="T26" fmla="*/ 41 w 55"/>
                  <a:gd name="T27" fmla="*/ 1 h 117"/>
                  <a:gd name="T28" fmla="*/ 44 w 55"/>
                  <a:gd name="T29" fmla="*/ 3 h 117"/>
                  <a:gd name="T30" fmla="*/ 48 w 55"/>
                  <a:gd name="T31" fmla="*/ 5 h 117"/>
                  <a:gd name="T32" fmla="*/ 52 w 55"/>
                  <a:gd name="T33" fmla="*/ 9 h 117"/>
                  <a:gd name="T34" fmla="*/ 54 w 55"/>
                  <a:gd name="T35" fmla="*/ 12 h 117"/>
                  <a:gd name="T36" fmla="*/ 55 w 55"/>
                  <a:gd name="T37" fmla="*/ 17 h 117"/>
                  <a:gd name="T38" fmla="*/ 55 w 55"/>
                  <a:gd name="T39" fmla="*/ 21 h 117"/>
                  <a:gd name="T40" fmla="*/ 55 w 55"/>
                  <a:gd name="T41" fmla="*/ 26 h 117"/>
                  <a:gd name="T42" fmla="*/ 55 w 55"/>
                  <a:gd name="T43" fmla="*/ 34 h 117"/>
                  <a:gd name="T44" fmla="*/ 53 w 55"/>
                  <a:gd name="T45" fmla="*/ 44 h 117"/>
                  <a:gd name="T46" fmla="*/ 50 w 55"/>
                  <a:gd name="T47" fmla="*/ 53 h 117"/>
                  <a:gd name="T48" fmla="*/ 48 w 55"/>
                  <a:gd name="T49" fmla="*/ 63 h 117"/>
                  <a:gd name="T50" fmla="*/ 48 w 55"/>
                  <a:gd name="T51" fmla="*/ 72 h 117"/>
                  <a:gd name="T52" fmla="*/ 49 w 55"/>
                  <a:gd name="T53" fmla="*/ 81 h 117"/>
                  <a:gd name="T54" fmla="*/ 50 w 55"/>
                  <a:gd name="T55" fmla="*/ 88 h 117"/>
                  <a:gd name="T56" fmla="*/ 53 w 55"/>
                  <a:gd name="T57" fmla="*/ 96 h 117"/>
                  <a:gd name="T58" fmla="*/ 53 w 55"/>
                  <a:gd name="T59" fmla="*/ 99 h 117"/>
                  <a:gd name="T60" fmla="*/ 54 w 55"/>
                  <a:gd name="T61" fmla="*/ 103 h 117"/>
                  <a:gd name="T62" fmla="*/ 53 w 55"/>
                  <a:gd name="T63" fmla="*/ 107 h 117"/>
                  <a:gd name="T64" fmla="*/ 52 w 55"/>
                  <a:gd name="T65" fmla="*/ 109 h 117"/>
                  <a:gd name="T66" fmla="*/ 49 w 55"/>
                  <a:gd name="T67" fmla="*/ 113 h 117"/>
                  <a:gd name="T68" fmla="*/ 44 w 55"/>
                  <a:gd name="T69" fmla="*/ 114 h 117"/>
                  <a:gd name="T70" fmla="*/ 39 w 55"/>
                  <a:gd name="T71" fmla="*/ 115 h 117"/>
                  <a:gd name="T72" fmla="*/ 35 w 55"/>
                  <a:gd name="T73" fmla="*/ 117 h 117"/>
                  <a:gd name="T74" fmla="*/ 25 w 55"/>
                  <a:gd name="T75" fmla="*/ 115 h 117"/>
                  <a:gd name="T76" fmla="*/ 15 w 55"/>
                  <a:gd name="T77" fmla="*/ 114 h 117"/>
                  <a:gd name="T78" fmla="*/ 5 w 55"/>
                  <a:gd name="T79" fmla="*/ 10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5" h="117">
                    <a:moveTo>
                      <a:pt x="5" y="104"/>
                    </a:moveTo>
                    <a:lnTo>
                      <a:pt x="3" y="91"/>
                    </a:lnTo>
                    <a:lnTo>
                      <a:pt x="0" y="76"/>
                    </a:lnTo>
                    <a:lnTo>
                      <a:pt x="0" y="61"/>
                    </a:lnTo>
                    <a:lnTo>
                      <a:pt x="0" y="47"/>
                    </a:lnTo>
                    <a:lnTo>
                      <a:pt x="1" y="38"/>
                    </a:lnTo>
                    <a:lnTo>
                      <a:pt x="5" y="30"/>
                    </a:lnTo>
                    <a:lnTo>
                      <a:pt x="9" y="22"/>
                    </a:lnTo>
                    <a:lnTo>
                      <a:pt x="14" y="15"/>
                    </a:lnTo>
                    <a:lnTo>
                      <a:pt x="19" y="9"/>
                    </a:lnTo>
                    <a:lnTo>
                      <a:pt x="25" y="4"/>
                    </a:lnTo>
                    <a:lnTo>
                      <a:pt x="31" y="1"/>
                    </a:lnTo>
                    <a:lnTo>
                      <a:pt x="36" y="0"/>
                    </a:lnTo>
                    <a:lnTo>
                      <a:pt x="41" y="1"/>
                    </a:lnTo>
                    <a:lnTo>
                      <a:pt x="44" y="3"/>
                    </a:lnTo>
                    <a:lnTo>
                      <a:pt x="48" y="5"/>
                    </a:lnTo>
                    <a:lnTo>
                      <a:pt x="52" y="9"/>
                    </a:lnTo>
                    <a:lnTo>
                      <a:pt x="54" y="12"/>
                    </a:lnTo>
                    <a:lnTo>
                      <a:pt x="55" y="17"/>
                    </a:lnTo>
                    <a:lnTo>
                      <a:pt x="55" y="21"/>
                    </a:lnTo>
                    <a:lnTo>
                      <a:pt x="55" y="26"/>
                    </a:lnTo>
                    <a:lnTo>
                      <a:pt x="55" y="34"/>
                    </a:lnTo>
                    <a:lnTo>
                      <a:pt x="53" y="44"/>
                    </a:lnTo>
                    <a:lnTo>
                      <a:pt x="50" y="53"/>
                    </a:lnTo>
                    <a:lnTo>
                      <a:pt x="48" y="63"/>
                    </a:lnTo>
                    <a:lnTo>
                      <a:pt x="48" y="72"/>
                    </a:lnTo>
                    <a:lnTo>
                      <a:pt x="49" y="81"/>
                    </a:lnTo>
                    <a:lnTo>
                      <a:pt x="50" y="88"/>
                    </a:lnTo>
                    <a:lnTo>
                      <a:pt x="53" y="96"/>
                    </a:lnTo>
                    <a:lnTo>
                      <a:pt x="53" y="99"/>
                    </a:lnTo>
                    <a:lnTo>
                      <a:pt x="54" y="103"/>
                    </a:lnTo>
                    <a:lnTo>
                      <a:pt x="53" y="107"/>
                    </a:lnTo>
                    <a:lnTo>
                      <a:pt x="52" y="109"/>
                    </a:lnTo>
                    <a:lnTo>
                      <a:pt x="49" y="113"/>
                    </a:lnTo>
                    <a:lnTo>
                      <a:pt x="44" y="114"/>
                    </a:lnTo>
                    <a:lnTo>
                      <a:pt x="39" y="115"/>
                    </a:lnTo>
                    <a:lnTo>
                      <a:pt x="35" y="117"/>
                    </a:lnTo>
                    <a:lnTo>
                      <a:pt x="25" y="115"/>
                    </a:lnTo>
                    <a:lnTo>
                      <a:pt x="15" y="114"/>
                    </a:lnTo>
                    <a:lnTo>
                      <a:pt x="5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18"/>
              <p:cNvSpPr>
                <a:spLocks/>
              </p:cNvSpPr>
              <p:nvPr/>
            </p:nvSpPr>
            <p:spPr bwMode="auto">
              <a:xfrm>
                <a:off x="-539751" y="7578118"/>
                <a:ext cx="92075" cy="33338"/>
              </a:xfrm>
              <a:custGeom>
                <a:avLst/>
                <a:gdLst>
                  <a:gd name="T0" fmla="*/ 8 w 228"/>
                  <a:gd name="T1" fmla="*/ 80 h 83"/>
                  <a:gd name="T2" fmla="*/ 6 w 228"/>
                  <a:gd name="T3" fmla="*/ 78 h 83"/>
                  <a:gd name="T4" fmla="*/ 3 w 228"/>
                  <a:gd name="T5" fmla="*/ 75 h 83"/>
                  <a:gd name="T6" fmla="*/ 1 w 228"/>
                  <a:gd name="T7" fmla="*/ 75 h 83"/>
                  <a:gd name="T8" fmla="*/ 0 w 228"/>
                  <a:gd name="T9" fmla="*/ 73 h 83"/>
                  <a:gd name="T10" fmla="*/ 0 w 228"/>
                  <a:gd name="T11" fmla="*/ 71 h 83"/>
                  <a:gd name="T12" fmla="*/ 1 w 228"/>
                  <a:gd name="T13" fmla="*/ 67 h 83"/>
                  <a:gd name="T14" fmla="*/ 6 w 228"/>
                  <a:gd name="T15" fmla="*/ 58 h 83"/>
                  <a:gd name="T16" fmla="*/ 9 w 228"/>
                  <a:gd name="T17" fmla="*/ 53 h 83"/>
                  <a:gd name="T18" fmla="*/ 17 w 228"/>
                  <a:gd name="T19" fmla="*/ 50 h 83"/>
                  <a:gd name="T20" fmla="*/ 27 w 228"/>
                  <a:gd name="T21" fmla="*/ 47 h 83"/>
                  <a:gd name="T22" fmla="*/ 38 w 228"/>
                  <a:gd name="T23" fmla="*/ 46 h 83"/>
                  <a:gd name="T24" fmla="*/ 46 w 228"/>
                  <a:gd name="T25" fmla="*/ 44 h 83"/>
                  <a:gd name="T26" fmla="*/ 84 w 228"/>
                  <a:gd name="T27" fmla="*/ 31 h 83"/>
                  <a:gd name="T28" fmla="*/ 140 w 228"/>
                  <a:gd name="T29" fmla="*/ 13 h 83"/>
                  <a:gd name="T30" fmla="*/ 170 w 228"/>
                  <a:gd name="T31" fmla="*/ 6 h 83"/>
                  <a:gd name="T32" fmla="*/ 195 w 228"/>
                  <a:gd name="T33" fmla="*/ 1 h 83"/>
                  <a:gd name="T34" fmla="*/ 206 w 228"/>
                  <a:gd name="T35" fmla="*/ 0 h 83"/>
                  <a:gd name="T36" fmla="*/ 216 w 228"/>
                  <a:gd name="T37" fmla="*/ 0 h 83"/>
                  <a:gd name="T38" fmla="*/ 220 w 228"/>
                  <a:gd name="T39" fmla="*/ 1 h 83"/>
                  <a:gd name="T40" fmla="*/ 224 w 228"/>
                  <a:gd name="T41" fmla="*/ 2 h 83"/>
                  <a:gd name="T42" fmla="*/ 226 w 228"/>
                  <a:gd name="T43" fmla="*/ 4 h 83"/>
                  <a:gd name="T44" fmla="*/ 227 w 228"/>
                  <a:gd name="T45" fmla="*/ 6 h 83"/>
                  <a:gd name="T46" fmla="*/ 228 w 228"/>
                  <a:gd name="T47" fmla="*/ 9 h 83"/>
                  <a:gd name="T48" fmla="*/ 228 w 228"/>
                  <a:gd name="T49" fmla="*/ 12 h 83"/>
                  <a:gd name="T50" fmla="*/ 227 w 228"/>
                  <a:gd name="T51" fmla="*/ 15 h 83"/>
                  <a:gd name="T52" fmla="*/ 225 w 228"/>
                  <a:gd name="T53" fmla="*/ 18 h 83"/>
                  <a:gd name="T54" fmla="*/ 216 w 228"/>
                  <a:gd name="T55" fmla="*/ 24 h 83"/>
                  <a:gd name="T56" fmla="*/ 205 w 228"/>
                  <a:gd name="T57" fmla="*/ 30 h 83"/>
                  <a:gd name="T58" fmla="*/ 183 w 228"/>
                  <a:gd name="T59" fmla="*/ 41 h 83"/>
                  <a:gd name="T60" fmla="*/ 169 w 228"/>
                  <a:gd name="T61" fmla="*/ 46 h 83"/>
                  <a:gd name="T62" fmla="*/ 135 w 228"/>
                  <a:gd name="T63" fmla="*/ 57 h 83"/>
                  <a:gd name="T64" fmla="*/ 100 w 228"/>
                  <a:gd name="T65" fmla="*/ 67 h 83"/>
                  <a:gd name="T66" fmla="*/ 63 w 228"/>
                  <a:gd name="T67" fmla="*/ 75 h 83"/>
                  <a:gd name="T68" fmla="*/ 29 w 228"/>
                  <a:gd name="T69" fmla="*/ 83 h 83"/>
                  <a:gd name="T70" fmla="*/ 8 w 228"/>
                  <a:gd name="T71" fmla="*/ 8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8" h="83">
                    <a:moveTo>
                      <a:pt x="8" y="80"/>
                    </a:moveTo>
                    <a:lnTo>
                      <a:pt x="6" y="78"/>
                    </a:lnTo>
                    <a:lnTo>
                      <a:pt x="3" y="75"/>
                    </a:lnTo>
                    <a:lnTo>
                      <a:pt x="1" y="75"/>
                    </a:lnTo>
                    <a:lnTo>
                      <a:pt x="0" y="73"/>
                    </a:lnTo>
                    <a:lnTo>
                      <a:pt x="0" y="71"/>
                    </a:lnTo>
                    <a:lnTo>
                      <a:pt x="1" y="67"/>
                    </a:lnTo>
                    <a:lnTo>
                      <a:pt x="6" y="58"/>
                    </a:lnTo>
                    <a:lnTo>
                      <a:pt x="9" y="53"/>
                    </a:lnTo>
                    <a:lnTo>
                      <a:pt x="17" y="50"/>
                    </a:lnTo>
                    <a:lnTo>
                      <a:pt x="27" y="47"/>
                    </a:lnTo>
                    <a:lnTo>
                      <a:pt x="38" y="46"/>
                    </a:lnTo>
                    <a:lnTo>
                      <a:pt x="46" y="44"/>
                    </a:lnTo>
                    <a:lnTo>
                      <a:pt x="84" y="31"/>
                    </a:lnTo>
                    <a:lnTo>
                      <a:pt x="140" y="13"/>
                    </a:lnTo>
                    <a:lnTo>
                      <a:pt x="170" y="6"/>
                    </a:lnTo>
                    <a:lnTo>
                      <a:pt x="195" y="1"/>
                    </a:lnTo>
                    <a:lnTo>
                      <a:pt x="206" y="0"/>
                    </a:lnTo>
                    <a:lnTo>
                      <a:pt x="216" y="0"/>
                    </a:lnTo>
                    <a:lnTo>
                      <a:pt x="220" y="1"/>
                    </a:lnTo>
                    <a:lnTo>
                      <a:pt x="224" y="2"/>
                    </a:lnTo>
                    <a:lnTo>
                      <a:pt x="226" y="4"/>
                    </a:lnTo>
                    <a:lnTo>
                      <a:pt x="227" y="6"/>
                    </a:lnTo>
                    <a:lnTo>
                      <a:pt x="228" y="9"/>
                    </a:lnTo>
                    <a:lnTo>
                      <a:pt x="228" y="12"/>
                    </a:lnTo>
                    <a:lnTo>
                      <a:pt x="227" y="15"/>
                    </a:lnTo>
                    <a:lnTo>
                      <a:pt x="225" y="18"/>
                    </a:lnTo>
                    <a:lnTo>
                      <a:pt x="216" y="24"/>
                    </a:lnTo>
                    <a:lnTo>
                      <a:pt x="205" y="30"/>
                    </a:lnTo>
                    <a:lnTo>
                      <a:pt x="183" y="41"/>
                    </a:lnTo>
                    <a:lnTo>
                      <a:pt x="169" y="46"/>
                    </a:lnTo>
                    <a:lnTo>
                      <a:pt x="135" y="57"/>
                    </a:lnTo>
                    <a:lnTo>
                      <a:pt x="100" y="67"/>
                    </a:lnTo>
                    <a:lnTo>
                      <a:pt x="63" y="75"/>
                    </a:lnTo>
                    <a:lnTo>
                      <a:pt x="29" y="83"/>
                    </a:lnTo>
                    <a:lnTo>
                      <a:pt x="8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20"/>
              <p:cNvSpPr>
                <a:spLocks/>
              </p:cNvSpPr>
              <p:nvPr/>
            </p:nvSpPr>
            <p:spPr bwMode="auto">
              <a:xfrm>
                <a:off x="-1092201" y="6727218"/>
                <a:ext cx="87313" cy="80963"/>
              </a:xfrm>
              <a:custGeom>
                <a:avLst/>
                <a:gdLst>
                  <a:gd name="T0" fmla="*/ 13 w 218"/>
                  <a:gd name="T1" fmla="*/ 168 h 203"/>
                  <a:gd name="T2" fmla="*/ 7 w 218"/>
                  <a:gd name="T3" fmla="*/ 158 h 203"/>
                  <a:gd name="T4" fmla="*/ 2 w 218"/>
                  <a:gd name="T5" fmla="*/ 149 h 203"/>
                  <a:gd name="T6" fmla="*/ 0 w 218"/>
                  <a:gd name="T7" fmla="*/ 141 h 203"/>
                  <a:gd name="T8" fmla="*/ 0 w 218"/>
                  <a:gd name="T9" fmla="*/ 132 h 203"/>
                  <a:gd name="T10" fmla="*/ 1 w 218"/>
                  <a:gd name="T11" fmla="*/ 126 h 203"/>
                  <a:gd name="T12" fmla="*/ 4 w 218"/>
                  <a:gd name="T13" fmla="*/ 119 h 203"/>
                  <a:gd name="T14" fmla="*/ 7 w 218"/>
                  <a:gd name="T15" fmla="*/ 114 h 203"/>
                  <a:gd name="T16" fmla="*/ 12 w 218"/>
                  <a:gd name="T17" fmla="*/ 108 h 203"/>
                  <a:gd name="T18" fmla="*/ 17 w 218"/>
                  <a:gd name="T19" fmla="*/ 104 h 203"/>
                  <a:gd name="T20" fmla="*/ 24 w 218"/>
                  <a:gd name="T21" fmla="*/ 99 h 203"/>
                  <a:gd name="T22" fmla="*/ 32 w 218"/>
                  <a:gd name="T23" fmla="*/ 95 h 203"/>
                  <a:gd name="T24" fmla="*/ 39 w 218"/>
                  <a:gd name="T25" fmla="*/ 92 h 203"/>
                  <a:gd name="T26" fmla="*/ 56 w 218"/>
                  <a:gd name="T27" fmla="*/ 86 h 203"/>
                  <a:gd name="T28" fmla="*/ 72 w 218"/>
                  <a:gd name="T29" fmla="*/ 81 h 203"/>
                  <a:gd name="T30" fmla="*/ 81 w 218"/>
                  <a:gd name="T31" fmla="*/ 78 h 203"/>
                  <a:gd name="T32" fmla="*/ 89 w 218"/>
                  <a:gd name="T33" fmla="*/ 73 h 203"/>
                  <a:gd name="T34" fmla="*/ 98 w 218"/>
                  <a:gd name="T35" fmla="*/ 69 h 203"/>
                  <a:gd name="T36" fmla="*/ 106 w 218"/>
                  <a:gd name="T37" fmla="*/ 62 h 203"/>
                  <a:gd name="T38" fmla="*/ 124 w 218"/>
                  <a:gd name="T39" fmla="*/ 48 h 203"/>
                  <a:gd name="T40" fmla="*/ 142 w 218"/>
                  <a:gd name="T41" fmla="*/ 33 h 203"/>
                  <a:gd name="T42" fmla="*/ 159 w 218"/>
                  <a:gd name="T43" fmla="*/ 18 h 203"/>
                  <a:gd name="T44" fmla="*/ 175 w 218"/>
                  <a:gd name="T45" fmla="*/ 7 h 203"/>
                  <a:gd name="T46" fmla="*/ 184 w 218"/>
                  <a:gd name="T47" fmla="*/ 4 h 203"/>
                  <a:gd name="T48" fmla="*/ 191 w 218"/>
                  <a:gd name="T49" fmla="*/ 0 h 203"/>
                  <a:gd name="T50" fmla="*/ 199 w 218"/>
                  <a:gd name="T51" fmla="*/ 0 h 203"/>
                  <a:gd name="T52" fmla="*/ 207 w 218"/>
                  <a:gd name="T53" fmla="*/ 0 h 203"/>
                  <a:gd name="T54" fmla="*/ 210 w 218"/>
                  <a:gd name="T55" fmla="*/ 20 h 203"/>
                  <a:gd name="T56" fmla="*/ 214 w 218"/>
                  <a:gd name="T57" fmla="*/ 39 h 203"/>
                  <a:gd name="T58" fmla="*/ 217 w 218"/>
                  <a:gd name="T59" fmla="*/ 61 h 203"/>
                  <a:gd name="T60" fmla="*/ 218 w 218"/>
                  <a:gd name="T61" fmla="*/ 83 h 203"/>
                  <a:gd name="T62" fmla="*/ 218 w 218"/>
                  <a:gd name="T63" fmla="*/ 93 h 203"/>
                  <a:gd name="T64" fmla="*/ 217 w 218"/>
                  <a:gd name="T65" fmla="*/ 104 h 203"/>
                  <a:gd name="T66" fmla="*/ 215 w 218"/>
                  <a:gd name="T67" fmla="*/ 114 h 203"/>
                  <a:gd name="T68" fmla="*/ 213 w 218"/>
                  <a:gd name="T69" fmla="*/ 125 h 203"/>
                  <a:gd name="T70" fmla="*/ 210 w 218"/>
                  <a:gd name="T71" fmla="*/ 133 h 203"/>
                  <a:gd name="T72" fmla="*/ 206 w 218"/>
                  <a:gd name="T73" fmla="*/ 143 h 203"/>
                  <a:gd name="T74" fmla="*/ 201 w 218"/>
                  <a:gd name="T75" fmla="*/ 152 h 203"/>
                  <a:gd name="T76" fmla="*/ 193 w 218"/>
                  <a:gd name="T77" fmla="*/ 159 h 203"/>
                  <a:gd name="T78" fmla="*/ 184 w 218"/>
                  <a:gd name="T79" fmla="*/ 168 h 203"/>
                  <a:gd name="T80" fmla="*/ 174 w 218"/>
                  <a:gd name="T81" fmla="*/ 176 h 203"/>
                  <a:gd name="T82" fmla="*/ 165 w 218"/>
                  <a:gd name="T83" fmla="*/ 184 h 203"/>
                  <a:gd name="T84" fmla="*/ 155 w 218"/>
                  <a:gd name="T85" fmla="*/ 190 h 203"/>
                  <a:gd name="T86" fmla="*/ 146 w 218"/>
                  <a:gd name="T87" fmla="*/ 193 h 203"/>
                  <a:gd name="T88" fmla="*/ 136 w 218"/>
                  <a:gd name="T89" fmla="*/ 198 h 203"/>
                  <a:gd name="T90" fmla="*/ 126 w 218"/>
                  <a:gd name="T91" fmla="*/ 201 h 203"/>
                  <a:gd name="T92" fmla="*/ 116 w 218"/>
                  <a:gd name="T93" fmla="*/ 202 h 203"/>
                  <a:gd name="T94" fmla="*/ 106 w 218"/>
                  <a:gd name="T95" fmla="*/ 203 h 203"/>
                  <a:gd name="T96" fmla="*/ 97 w 218"/>
                  <a:gd name="T97" fmla="*/ 203 h 203"/>
                  <a:gd name="T98" fmla="*/ 86 w 218"/>
                  <a:gd name="T99" fmla="*/ 202 h 203"/>
                  <a:gd name="T100" fmla="*/ 75 w 218"/>
                  <a:gd name="T101" fmla="*/ 200 h 203"/>
                  <a:gd name="T102" fmla="*/ 64 w 218"/>
                  <a:gd name="T103" fmla="*/ 197 h 203"/>
                  <a:gd name="T104" fmla="*/ 53 w 218"/>
                  <a:gd name="T105" fmla="*/ 193 h 203"/>
                  <a:gd name="T106" fmla="*/ 40 w 218"/>
                  <a:gd name="T107" fmla="*/ 190 h 203"/>
                  <a:gd name="T108" fmla="*/ 28 w 218"/>
                  <a:gd name="T109" fmla="*/ 184 h 203"/>
                  <a:gd name="T110" fmla="*/ 13 w 218"/>
                  <a:gd name="T111" fmla="*/ 168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8" h="203">
                    <a:moveTo>
                      <a:pt x="13" y="168"/>
                    </a:moveTo>
                    <a:lnTo>
                      <a:pt x="7" y="158"/>
                    </a:lnTo>
                    <a:lnTo>
                      <a:pt x="2" y="149"/>
                    </a:lnTo>
                    <a:lnTo>
                      <a:pt x="0" y="141"/>
                    </a:lnTo>
                    <a:lnTo>
                      <a:pt x="0" y="132"/>
                    </a:lnTo>
                    <a:lnTo>
                      <a:pt x="1" y="126"/>
                    </a:lnTo>
                    <a:lnTo>
                      <a:pt x="4" y="119"/>
                    </a:lnTo>
                    <a:lnTo>
                      <a:pt x="7" y="114"/>
                    </a:lnTo>
                    <a:lnTo>
                      <a:pt x="12" y="108"/>
                    </a:lnTo>
                    <a:lnTo>
                      <a:pt x="17" y="104"/>
                    </a:lnTo>
                    <a:lnTo>
                      <a:pt x="24" y="99"/>
                    </a:lnTo>
                    <a:lnTo>
                      <a:pt x="32" y="95"/>
                    </a:lnTo>
                    <a:lnTo>
                      <a:pt x="39" y="92"/>
                    </a:lnTo>
                    <a:lnTo>
                      <a:pt x="56" y="86"/>
                    </a:lnTo>
                    <a:lnTo>
                      <a:pt x="72" y="81"/>
                    </a:lnTo>
                    <a:lnTo>
                      <a:pt x="81" y="78"/>
                    </a:lnTo>
                    <a:lnTo>
                      <a:pt x="89" y="73"/>
                    </a:lnTo>
                    <a:lnTo>
                      <a:pt x="98" y="69"/>
                    </a:lnTo>
                    <a:lnTo>
                      <a:pt x="106" y="62"/>
                    </a:lnTo>
                    <a:lnTo>
                      <a:pt x="124" y="48"/>
                    </a:lnTo>
                    <a:lnTo>
                      <a:pt x="142" y="33"/>
                    </a:lnTo>
                    <a:lnTo>
                      <a:pt x="159" y="18"/>
                    </a:lnTo>
                    <a:lnTo>
                      <a:pt x="175" y="7"/>
                    </a:lnTo>
                    <a:lnTo>
                      <a:pt x="184" y="4"/>
                    </a:lnTo>
                    <a:lnTo>
                      <a:pt x="191" y="0"/>
                    </a:lnTo>
                    <a:lnTo>
                      <a:pt x="199" y="0"/>
                    </a:lnTo>
                    <a:lnTo>
                      <a:pt x="207" y="0"/>
                    </a:lnTo>
                    <a:lnTo>
                      <a:pt x="210" y="20"/>
                    </a:lnTo>
                    <a:lnTo>
                      <a:pt x="214" y="39"/>
                    </a:lnTo>
                    <a:lnTo>
                      <a:pt x="217" y="61"/>
                    </a:lnTo>
                    <a:lnTo>
                      <a:pt x="218" y="83"/>
                    </a:lnTo>
                    <a:lnTo>
                      <a:pt x="218" y="93"/>
                    </a:lnTo>
                    <a:lnTo>
                      <a:pt x="217" y="104"/>
                    </a:lnTo>
                    <a:lnTo>
                      <a:pt x="215" y="114"/>
                    </a:lnTo>
                    <a:lnTo>
                      <a:pt x="213" y="125"/>
                    </a:lnTo>
                    <a:lnTo>
                      <a:pt x="210" y="133"/>
                    </a:lnTo>
                    <a:lnTo>
                      <a:pt x="206" y="143"/>
                    </a:lnTo>
                    <a:lnTo>
                      <a:pt x="201" y="152"/>
                    </a:lnTo>
                    <a:lnTo>
                      <a:pt x="193" y="159"/>
                    </a:lnTo>
                    <a:lnTo>
                      <a:pt x="184" y="168"/>
                    </a:lnTo>
                    <a:lnTo>
                      <a:pt x="174" y="176"/>
                    </a:lnTo>
                    <a:lnTo>
                      <a:pt x="165" y="184"/>
                    </a:lnTo>
                    <a:lnTo>
                      <a:pt x="155" y="190"/>
                    </a:lnTo>
                    <a:lnTo>
                      <a:pt x="146" y="193"/>
                    </a:lnTo>
                    <a:lnTo>
                      <a:pt x="136" y="198"/>
                    </a:lnTo>
                    <a:lnTo>
                      <a:pt x="126" y="201"/>
                    </a:lnTo>
                    <a:lnTo>
                      <a:pt x="116" y="202"/>
                    </a:lnTo>
                    <a:lnTo>
                      <a:pt x="106" y="203"/>
                    </a:lnTo>
                    <a:lnTo>
                      <a:pt x="97" y="203"/>
                    </a:lnTo>
                    <a:lnTo>
                      <a:pt x="86" y="202"/>
                    </a:lnTo>
                    <a:lnTo>
                      <a:pt x="75" y="200"/>
                    </a:lnTo>
                    <a:lnTo>
                      <a:pt x="64" y="197"/>
                    </a:lnTo>
                    <a:lnTo>
                      <a:pt x="53" y="193"/>
                    </a:lnTo>
                    <a:lnTo>
                      <a:pt x="40" y="190"/>
                    </a:lnTo>
                    <a:lnTo>
                      <a:pt x="28" y="184"/>
                    </a:lnTo>
                    <a:lnTo>
                      <a:pt x="13" y="1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21"/>
              <p:cNvSpPr>
                <a:spLocks/>
              </p:cNvSpPr>
              <p:nvPr/>
            </p:nvSpPr>
            <p:spPr bwMode="auto">
              <a:xfrm>
                <a:off x="-839788" y="6474805"/>
                <a:ext cx="133350" cy="174625"/>
              </a:xfrm>
              <a:custGeom>
                <a:avLst/>
                <a:gdLst>
                  <a:gd name="T0" fmla="*/ 90 w 339"/>
                  <a:gd name="T1" fmla="*/ 426 h 439"/>
                  <a:gd name="T2" fmla="*/ 71 w 339"/>
                  <a:gd name="T3" fmla="*/ 417 h 439"/>
                  <a:gd name="T4" fmla="*/ 58 w 339"/>
                  <a:gd name="T5" fmla="*/ 407 h 439"/>
                  <a:gd name="T6" fmla="*/ 52 w 339"/>
                  <a:gd name="T7" fmla="*/ 399 h 439"/>
                  <a:gd name="T8" fmla="*/ 51 w 339"/>
                  <a:gd name="T9" fmla="*/ 390 h 439"/>
                  <a:gd name="T10" fmla="*/ 55 w 339"/>
                  <a:gd name="T11" fmla="*/ 380 h 439"/>
                  <a:gd name="T12" fmla="*/ 65 w 339"/>
                  <a:gd name="T13" fmla="*/ 364 h 439"/>
                  <a:gd name="T14" fmla="*/ 73 w 339"/>
                  <a:gd name="T15" fmla="*/ 350 h 439"/>
                  <a:gd name="T16" fmla="*/ 76 w 339"/>
                  <a:gd name="T17" fmla="*/ 335 h 439"/>
                  <a:gd name="T18" fmla="*/ 71 w 339"/>
                  <a:gd name="T19" fmla="*/ 318 h 439"/>
                  <a:gd name="T20" fmla="*/ 62 w 339"/>
                  <a:gd name="T21" fmla="*/ 302 h 439"/>
                  <a:gd name="T22" fmla="*/ 60 w 339"/>
                  <a:gd name="T23" fmla="*/ 291 h 439"/>
                  <a:gd name="T24" fmla="*/ 66 w 339"/>
                  <a:gd name="T25" fmla="*/ 276 h 439"/>
                  <a:gd name="T26" fmla="*/ 79 w 339"/>
                  <a:gd name="T27" fmla="*/ 259 h 439"/>
                  <a:gd name="T28" fmla="*/ 87 w 339"/>
                  <a:gd name="T29" fmla="*/ 243 h 439"/>
                  <a:gd name="T30" fmla="*/ 88 w 339"/>
                  <a:gd name="T31" fmla="*/ 232 h 439"/>
                  <a:gd name="T32" fmla="*/ 83 w 339"/>
                  <a:gd name="T33" fmla="*/ 221 h 439"/>
                  <a:gd name="T34" fmla="*/ 76 w 339"/>
                  <a:gd name="T35" fmla="*/ 213 h 439"/>
                  <a:gd name="T36" fmla="*/ 60 w 339"/>
                  <a:gd name="T37" fmla="*/ 205 h 439"/>
                  <a:gd name="T38" fmla="*/ 43 w 339"/>
                  <a:gd name="T39" fmla="*/ 197 h 439"/>
                  <a:gd name="T40" fmla="*/ 34 w 339"/>
                  <a:gd name="T41" fmla="*/ 187 h 439"/>
                  <a:gd name="T42" fmla="*/ 29 w 339"/>
                  <a:gd name="T43" fmla="*/ 173 h 439"/>
                  <a:gd name="T44" fmla="*/ 24 w 339"/>
                  <a:gd name="T45" fmla="*/ 160 h 439"/>
                  <a:gd name="T46" fmla="*/ 23 w 339"/>
                  <a:gd name="T47" fmla="*/ 149 h 439"/>
                  <a:gd name="T48" fmla="*/ 16 w 339"/>
                  <a:gd name="T49" fmla="*/ 124 h 439"/>
                  <a:gd name="T50" fmla="*/ 2 w 339"/>
                  <a:gd name="T51" fmla="*/ 90 h 439"/>
                  <a:gd name="T52" fmla="*/ 0 w 339"/>
                  <a:gd name="T53" fmla="*/ 71 h 439"/>
                  <a:gd name="T54" fmla="*/ 5 w 339"/>
                  <a:gd name="T55" fmla="*/ 63 h 439"/>
                  <a:gd name="T56" fmla="*/ 18 w 339"/>
                  <a:gd name="T57" fmla="*/ 62 h 439"/>
                  <a:gd name="T58" fmla="*/ 33 w 339"/>
                  <a:gd name="T59" fmla="*/ 58 h 439"/>
                  <a:gd name="T60" fmla="*/ 51 w 339"/>
                  <a:gd name="T61" fmla="*/ 46 h 439"/>
                  <a:gd name="T62" fmla="*/ 71 w 339"/>
                  <a:gd name="T63" fmla="*/ 25 h 439"/>
                  <a:gd name="T64" fmla="*/ 87 w 339"/>
                  <a:gd name="T65" fmla="*/ 9 h 439"/>
                  <a:gd name="T66" fmla="*/ 98 w 339"/>
                  <a:gd name="T67" fmla="*/ 2 h 439"/>
                  <a:gd name="T68" fmla="*/ 110 w 339"/>
                  <a:gd name="T69" fmla="*/ 0 h 439"/>
                  <a:gd name="T70" fmla="*/ 125 w 339"/>
                  <a:gd name="T71" fmla="*/ 7 h 439"/>
                  <a:gd name="T72" fmla="*/ 143 w 339"/>
                  <a:gd name="T73" fmla="*/ 18 h 439"/>
                  <a:gd name="T74" fmla="*/ 161 w 339"/>
                  <a:gd name="T75" fmla="*/ 28 h 439"/>
                  <a:gd name="T76" fmla="*/ 178 w 339"/>
                  <a:gd name="T77" fmla="*/ 31 h 439"/>
                  <a:gd name="T78" fmla="*/ 191 w 339"/>
                  <a:gd name="T79" fmla="*/ 40 h 439"/>
                  <a:gd name="T80" fmla="*/ 200 w 339"/>
                  <a:gd name="T81" fmla="*/ 57 h 439"/>
                  <a:gd name="T82" fmla="*/ 209 w 339"/>
                  <a:gd name="T83" fmla="*/ 78 h 439"/>
                  <a:gd name="T84" fmla="*/ 221 w 339"/>
                  <a:gd name="T85" fmla="*/ 113 h 439"/>
                  <a:gd name="T86" fmla="*/ 234 w 339"/>
                  <a:gd name="T87" fmla="*/ 149 h 439"/>
                  <a:gd name="T88" fmla="*/ 241 w 339"/>
                  <a:gd name="T89" fmla="*/ 167 h 439"/>
                  <a:gd name="T90" fmla="*/ 264 w 339"/>
                  <a:gd name="T91" fmla="*/ 199 h 439"/>
                  <a:gd name="T92" fmla="*/ 306 w 339"/>
                  <a:gd name="T93" fmla="*/ 246 h 439"/>
                  <a:gd name="T94" fmla="*/ 328 w 339"/>
                  <a:gd name="T95" fmla="*/ 276 h 439"/>
                  <a:gd name="T96" fmla="*/ 331 w 339"/>
                  <a:gd name="T97" fmla="*/ 296 h 439"/>
                  <a:gd name="T98" fmla="*/ 336 w 339"/>
                  <a:gd name="T99" fmla="*/ 330 h 439"/>
                  <a:gd name="T100" fmla="*/ 339 w 339"/>
                  <a:gd name="T101" fmla="*/ 356 h 439"/>
                  <a:gd name="T102" fmla="*/ 334 w 339"/>
                  <a:gd name="T103" fmla="*/ 367 h 439"/>
                  <a:gd name="T104" fmla="*/ 324 w 339"/>
                  <a:gd name="T105" fmla="*/ 377 h 439"/>
                  <a:gd name="T106" fmla="*/ 308 w 339"/>
                  <a:gd name="T107" fmla="*/ 386 h 439"/>
                  <a:gd name="T108" fmla="*/ 263 w 339"/>
                  <a:gd name="T109" fmla="*/ 405 h 439"/>
                  <a:gd name="T110" fmla="*/ 216 w 339"/>
                  <a:gd name="T111" fmla="*/ 422 h 439"/>
                  <a:gd name="T112" fmla="*/ 186 w 339"/>
                  <a:gd name="T113" fmla="*/ 433 h 439"/>
                  <a:gd name="T114" fmla="*/ 158 w 339"/>
                  <a:gd name="T115" fmla="*/ 438 h 439"/>
                  <a:gd name="T116" fmla="*/ 126 w 339"/>
                  <a:gd name="T117" fmla="*/ 438 h 439"/>
                  <a:gd name="T118" fmla="*/ 99 w 339"/>
                  <a:gd name="T119" fmla="*/ 428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9" h="439">
                    <a:moveTo>
                      <a:pt x="99" y="428"/>
                    </a:moveTo>
                    <a:lnTo>
                      <a:pt x="90" y="426"/>
                    </a:lnTo>
                    <a:lnTo>
                      <a:pt x="81" y="422"/>
                    </a:lnTo>
                    <a:lnTo>
                      <a:pt x="71" y="417"/>
                    </a:lnTo>
                    <a:lnTo>
                      <a:pt x="62" y="411"/>
                    </a:lnTo>
                    <a:lnTo>
                      <a:pt x="58" y="407"/>
                    </a:lnTo>
                    <a:lnTo>
                      <a:pt x="55" y="404"/>
                    </a:lnTo>
                    <a:lnTo>
                      <a:pt x="52" y="399"/>
                    </a:lnTo>
                    <a:lnTo>
                      <a:pt x="51" y="395"/>
                    </a:lnTo>
                    <a:lnTo>
                      <a:pt x="51" y="390"/>
                    </a:lnTo>
                    <a:lnTo>
                      <a:pt x="52" y="385"/>
                    </a:lnTo>
                    <a:lnTo>
                      <a:pt x="55" y="380"/>
                    </a:lnTo>
                    <a:lnTo>
                      <a:pt x="58" y="374"/>
                    </a:lnTo>
                    <a:lnTo>
                      <a:pt x="65" y="364"/>
                    </a:lnTo>
                    <a:lnTo>
                      <a:pt x="69" y="357"/>
                    </a:lnTo>
                    <a:lnTo>
                      <a:pt x="73" y="350"/>
                    </a:lnTo>
                    <a:lnTo>
                      <a:pt x="76" y="342"/>
                    </a:lnTo>
                    <a:lnTo>
                      <a:pt x="76" y="335"/>
                    </a:lnTo>
                    <a:lnTo>
                      <a:pt x="74" y="326"/>
                    </a:lnTo>
                    <a:lnTo>
                      <a:pt x="71" y="318"/>
                    </a:lnTo>
                    <a:lnTo>
                      <a:pt x="65" y="308"/>
                    </a:lnTo>
                    <a:lnTo>
                      <a:pt x="62" y="302"/>
                    </a:lnTo>
                    <a:lnTo>
                      <a:pt x="60" y="296"/>
                    </a:lnTo>
                    <a:lnTo>
                      <a:pt x="60" y="291"/>
                    </a:lnTo>
                    <a:lnTo>
                      <a:pt x="61" y="286"/>
                    </a:lnTo>
                    <a:lnTo>
                      <a:pt x="66" y="276"/>
                    </a:lnTo>
                    <a:lnTo>
                      <a:pt x="73" y="268"/>
                    </a:lnTo>
                    <a:lnTo>
                      <a:pt x="79" y="259"/>
                    </a:lnTo>
                    <a:lnTo>
                      <a:pt x="85" y="249"/>
                    </a:lnTo>
                    <a:lnTo>
                      <a:pt x="87" y="243"/>
                    </a:lnTo>
                    <a:lnTo>
                      <a:pt x="88" y="238"/>
                    </a:lnTo>
                    <a:lnTo>
                      <a:pt x="88" y="232"/>
                    </a:lnTo>
                    <a:lnTo>
                      <a:pt x="85" y="225"/>
                    </a:lnTo>
                    <a:lnTo>
                      <a:pt x="83" y="221"/>
                    </a:lnTo>
                    <a:lnTo>
                      <a:pt x="81" y="216"/>
                    </a:lnTo>
                    <a:lnTo>
                      <a:pt x="76" y="213"/>
                    </a:lnTo>
                    <a:lnTo>
                      <a:pt x="71" y="210"/>
                    </a:lnTo>
                    <a:lnTo>
                      <a:pt x="60" y="205"/>
                    </a:lnTo>
                    <a:lnTo>
                      <a:pt x="50" y="200"/>
                    </a:lnTo>
                    <a:lnTo>
                      <a:pt x="43" y="197"/>
                    </a:lnTo>
                    <a:lnTo>
                      <a:pt x="38" y="192"/>
                    </a:lnTo>
                    <a:lnTo>
                      <a:pt x="34" y="187"/>
                    </a:lnTo>
                    <a:lnTo>
                      <a:pt x="32" y="183"/>
                    </a:lnTo>
                    <a:lnTo>
                      <a:pt x="29" y="173"/>
                    </a:lnTo>
                    <a:lnTo>
                      <a:pt x="23" y="165"/>
                    </a:lnTo>
                    <a:lnTo>
                      <a:pt x="24" y="160"/>
                    </a:lnTo>
                    <a:lnTo>
                      <a:pt x="24" y="155"/>
                    </a:lnTo>
                    <a:lnTo>
                      <a:pt x="23" y="149"/>
                    </a:lnTo>
                    <a:lnTo>
                      <a:pt x="22" y="142"/>
                    </a:lnTo>
                    <a:lnTo>
                      <a:pt x="16" y="124"/>
                    </a:lnTo>
                    <a:lnTo>
                      <a:pt x="8" y="107"/>
                    </a:lnTo>
                    <a:lnTo>
                      <a:pt x="2" y="90"/>
                    </a:lnTo>
                    <a:lnTo>
                      <a:pt x="0" y="75"/>
                    </a:lnTo>
                    <a:lnTo>
                      <a:pt x="0" y="71"/>
                    </a:lnTo>
                    <a:lnTo>
                      <a:pt x="1" y="66"/>
                    </a:lnTo>
                    <a:lnTo>
                      <a:pt x="5" y="63"/>
                    </a:lnTo>
                    <a:lnTo>
                      <a:pt x="10" y="62"/>
                    </a:lnTo>
                    <a:lnTo>
                      <a:pt x="18" y="62"/>
                    </a:lnTo>
                    <a:lnTo>
                      <a:pt x="25" y="61"/>
                    </a:lnTo>
                    <a:lnTo>
                      <a:pt x="33" y="58"/>
                    </a:lnTo>
                    <a:lnTo>
                      <a:pt x="40" y="55"/>
                    </a:lnTo>
                    <a:lnTo>
                      <a:pt x="51" y="46"/>
                    </a:lnTo>
                    <a:lnTo>
                      <a:pt x="61" y="35"/>
                    </a:lnTo>
                    <a:lnTo>
                      <a:pt x="71" y="25"/>
                    </a:lnTo>
                    <a:lnTo>
                      <a:pt x="81" y="14"/>
                    </a:lnTo>
                    <a:lnTo>
                      <a:pt x="87" y="9"/>
                    </a:lnTo>
                    <a:lnTo>
                      <a:pt x="92" y="6"/>
                    </a:lnTo>
                    <a:lnTo>
                      <a:pt x="98" y="2"/>
                    </a:lnTo>
                    <a:lnTo>
                      <a:pt x="105" y="0"/>
                    </a:lnTo>
                    <a:lnTo>
                      <a:pt x="110" y="0"/>
                    </a:lnTo>
                    <a:lnTo>
                      <a:pt x="116" y="2"/>
                    </a:lnTo>
                    <a:lnTo>
                      <a:pt x="125" y="7"/>
                    </a:lnTo>
                    <a:lnTo>
                      <a:pt x="133" y="12"/>
                    </a:lnTo>
                    <a:lnTo>
                      <a:pt x="143" y="18"/>
                    </a:lnTo>
                    <a:lnTo>
                      <a:pt x="153" y="24"/>
                    </a:lnTo>
                    <a:lnTo>
                      <a:pt x="161" y="28"/>
                    </a:lnTo>
                    <a:lnTo>
                      <a:pt x="171" y="29"/>
                    </a:lnTo>
                    <a:lnTo>
                      <a:pt x="178" y="31"/>
                    </a:lnTo>
                    <a:lnTo>
                      <a:pt x="185" y="35"/>
                    </a:lnTo>
                    <a:lnTo>
                      <a:pt x="191" y="40"/>
                    </a:lnTo>
                    <a:lnTo>
                      <a:pt x="196" y="49"/>
                    </a:lnTo>
                    <a:lnTo>
                      <a:pt x="200" y="57"/>
                    </a:lnTo>
                    <a:lnTo>
                      <a:pt x="205" y="67"/>
                    </a:lnTo>
                    <a:lnTo>
                      <a:pt x="209" y="78"/>
                    </a:lnTo>
                    <a:lnTo>
                      <a:pt x="214" y="90"/>
                    </a:lnTo>
                    <a:lnTo>
                      <a:pt x="221" y="113"/>
                    </a:lnTo>
                    <a:lnTo>
                      <a:pt x="229" y="138"/>
                    </a:lnTo>
                    <a:lnTo>
                      <a:pt x="234" y="149"/>
                    </a:lnTo>
                    <a:lnTo>
                      <a:pt x="237" y="159"/>
                    </a:lnTo>
                    <a:lnTo>
                      <a:pt x="241" y="167"/>
                    </a:lnTo>
                    <a:lnTo>
                      <a:pt x="246" y="175"/>
                    </a:lnTo>
                    <a:lnTo>
                      <a:pt x="264" y="199"/>
                    </a:lnTo>
                    <a:lnTo>
                      <a:pt x="285" y="222"/>
                    </a:lnTo>
                    <a:lnTo>
                      <a:pt x="306" y="246"/>
                    </a:lnTo>
                    <a:lnTo>
                      <a:pt x="324" y="270"/>
                    </a:lnTo>
                    <a:lnTo>
                      <a:pt x="328" y="276"/>
                    </a:lnTo>
                    <a:lnTo>
                      <a:pt x="330" y="285"/>
                    </a:lnTo>
                    <a:lnTo>
                      <a:pt x="331" y="296"/>
                    </a:lnTo>
                    <a:lnTo>
                      <a:pt x="334" y="307"/>
                    </a:lnTo>
                    <a:lnTo>
                      <a:pt x="336" y="330"/>
                    </a:lnTo>
                    <a:lnTo>
                      <a:pt x="339" y="350"/>
                    </a:lnTo>
                    <a:lnTo>
                      <a:pt x="339" y="356"/>
                    </a:lnTo>
                    <a:lnTo>
                      <a:pt x="338" y="361"/>
                    </a:lnTo>
                    <a:lnTo>
                      <a:pt x="334" y="367"/>
                    </a:lnTo>
                    <a:lnTo>
                      <a:pt x="330" y="372"/>
                    </a:lnTo>
                    <a:lnTo>
                      <a:pt x="324" y="377"/>
                    </a:lnTo>
                    <a:lnTo>
                      <a:pt x="317" y="382"/>
                    </a:lnTo>
                    <a:lnTo>
                      <a:pt x="308" y="386"/>
                    </a:lnTo>
                    <a:lnTo>
                      <a:pt x="300" y="390"/>
                    </a:lnTo>
                    <a:lnTo>
                      <a:pt x="263" y="405"/>
                    </a:lnTo>
                    <a:lnTo>
                      <a:pt x="235" y="415"/>
                    </a:lnTo>
                    <a:lnTo>
                      <a:pt x="216" y="422"/>
                    </a:lnTo>
                    <a:lnTo>
                      <a:pt x="200" y="428"/>
                    </a:lnTo>
                    <a:lnTo>
                      <a:pt x="186" y="433"/>
                    </a:lnTo>
                    <a:lnTo>
                      <a:pt x="172" y="437"/>
                    </a:lnTo>
                    <a:lnTo>
                      <a:pt x="158" y="438"/>
                    </a:lnTo>
                    <a:lnTo>
                      <a:pt x="143" y="439"/>
                    </a:lnTo>
                    <a:lnTo>
                      <a:pt x="126" y="438"/>
                    </a:lnTo>
                    <a:lnTo>
                      <a:pt x="106" y="437"/>
                    </a:lnTo>
                    <a:lnTo>
                      <a:pt x="99" y="4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22"/>
              <p:cNvSpPr>
                <a:spLocks/>
              </p:cNvSpPr>
              <p:nvPr/>
            </p:nvSpPr>
            <p:spPr bwMode="auto">
              <a:xfrm>
                <a:off x="3637754" y="4277810"/>
                <a:ext cx="1830390" cy="801685"/>
              </a:xfrm>
              <a:custGeom>
                <a:avLst/>
                <a:gdLst>
                  <a:gd name="T0" fmla="*/ 4547 w 4612"/>
                  <a:gd name="T1" fmla="*/ 1995 h 2023"/>
                  <a:gd name="T2" fmla="*/ 4612 w 4612"/>
                  <a:gd name="T3" fmla="*/ 1777 h 2023"/>
                  <a:gd name="T4" fmla="*/ 4557 w 4612"/>
                  <a:gd name="T5" fmla="*/ 1520 h 2023"/>
                  <a:gd name="T6" fmla="*/ 4372 w 4612"/>
                  <a:gd name="T7" fmla="*/ 1265 h 2023"/>
                  <a:gd name="T8" fmla="*/ 4175 w 4612"/>
                  <a:gd name="T9" fmla="*/ 1046 h 2023"/>
                  <a:gd name="T10" fmla="*/ 4079 w 4612"/>
                  <a:gd name="T11" fmla="*/ 856 h 2023"/>
                  <a:gd name="T12" fmla="*/ 3892 w 4612"/>
                  <a:gd name="T13" fmla="*/ 687 h 2023"/>
                  <a:gd name="T14" fmla="*/ 3715 w 4612"/>
                  <a:gd name="T15" fmla="*/ 576 h 2023"/>
                  <a:gd name="T16" fmla="*/ 3593 w 4612"/>
                  <a:gd name="T17" fmla="*/ 484 h 2023"/>
                  <a:gd name="T18" fmla="*/ 3455 w 4612"/>
                  <a:gd name="T19" fmla="*/ 327 h 2023"/>
                  <a:gd name="T20" fmla="*/ 3316 w 4612"/>
                  <a:gd name="T21" fmla="*/ 331 h 2023"/>
                  <a:gd name="T22" fmla="*/ 3257 w 4612"/>
                  <a:gd name="T23" fmla="*/ 216 h 2023"/>
                  <a:gd name="T24" fmla="*/ 3143 w 4612"/>
                  <a:gd name="T25" fmla="*/ 168 h 2023"/>
                  <a:gd name="T26" fmla="*/ 3023 w 4612"/>
                  <a:gd name="T27" fmla="*/ 128 h 2023"/>
                  <a:gd name="T28" fmla="*/ 2929 w 4612"/>
                  <a:gd name="T29" fmla="*/ 103 h 2023"/>
                  <a:gd name="T30" fmla="*/ 2842 w 4612"/>
                  <a:gd name="T31" fmla="*/ 76 h 2023"/>
                  <a:gd name="T32" fmla="*/ 2585 w 4612"/>
                  <a:gd name="T33" fmla="*/ 0 h 2023"/>
                  <a:gd name="T34" fmla="*/ 2431 w 4612"/>
                  <a:gd name="T35" fmla="*/ 75 h 2023"/>
                  <a:gd name="T36" fmla="*/ 2259 w 4612"/>
                  <a:gd name="T37" fmla="*/ 248 h 2023"/>
                  <a:gd name="T38" fmla="*/ 2109 w 4612"/>
                  <a:gd name="T39" fmla="*/ 255 h 2023"/>
                  <a:gd name="T40" fmla="*/ 1863 w 4612"/>
                  <a:gd name="T41" fmla="*/ 164 h 2023"/>
                  <a:gd name="T42" fmla="*/ 1592 w 4612"/>
                  <a:gd name="T43" fmla="*/ 241 h 2023"/>
                  <a:gd name="T44" fmla="*/ 1444 w 4612"/>
                  <a:gd name="T45" fmla="*/ 212 h 2023"/>
                  <a:gd name="T46" fmla="*/ 1202 w 4612"/>
                  <a:gd name="T47" fmla="*/ 61 h 2023"/>
                  <a:gd name="T48" fmla="*/ 921 w 4612"/>
                  <a:gd name="T49" fmla="*/ 25 h 2023"/>
                  <a:gd name="T50" fmla="*/ 787 w 4612"/>
                  <a:gd name="T51" fmla="*/ 70 h 2023"/>
                  <a:gd name="T52" fmla="*/ 603 w 4612"/>
                  <a:gd name="T53" fmla="*/ 146 h 2023"/>
                  <a:gd name="T54" fmla="*/ 427 w 4612"/>
                  <a:gd name="T55" fmla="*/ 152 h 2023"/>
                  <a:gd name="T56" fmla="*/ 275 w 4612"/>
                  <a:gd name="T57" fmla="*/ 162 h 2023"/>
                  <a:gd name="T58" fmla="*/ 128 w 4612"/>
                  <a:gd name="T59" fmla="*/ 136 h 2023"/>
                  <a:gd name="T60" fmla="*/ 5 w 4612"/>
                  <a:gd name="T61" fmla="*/ 294 h 2023"/>
                  <a:gd name="T62" fmla="*/ 132 w 4612"/>
                  <a:gd name="T63" fmla="*/ 419 h 2023"/>
                  <a:gd name="T64" fmla="*/ 304 w 4612"/>
                  <a:gd name="T65" fmla="*/ 585 h 2023"/>
                  <a:gd name="T66" fmla="*/ 434 w 4612"/>
                  <a:gd name="T67" fmla="*/ 694 h 2023"/>
                  <a:gd name="T68" fmla="*/ 519 w 4612"/>
                  <a:gd name="T69" fmla="*/ 855 h 2023"/>
                  <a:gd name="T70" fmla="*/ 661 w 4612"/>
                  <a:gd name="T71" fmla="*/ 845 h 2023"/>
                  <a:gd name="T72" fmla="*/ 880 w 4612"/>
                  <a:gd name="T73" fmla="*/ 750 h 2023"/>
                  <a:gd name="T74" fmla="*/ 1000 w 4612"/>
                  <a:gd name="T75" fmla="*/ 801 h 2023"/>
                  <a:gd name="T76" fmla="*/ 1090 w 4612"/>
                  <a:gd name="T77" fmla="*/ 896 h 2023"/>
                  <a:gd name="T78" fmla="*/ 1155 w 4612"/>
                  <a:gd name="T79" fmla="*/ 861 h 2023"/>
                  <a:gd name="T80" fmla="*/ 1362 w 4612"/>
                  <a:gd name="T81" fmla="*/ 808 h 2023"/>
                  <a:gd name="T82" fmla="*/ 1514 w 4612"/>
                  <a:gd name="T83" fmla="*/ 821 h 2023"/>
                  <a:gd name="T84" fmla="*/ 1597 w 4612"/>
                  <a:gd name="T85" fmla="*/ 909 h 2023"/>
                  <a:gd name="T86" fmla="*/ 1820 w 4612"/>
                  <a:gd name="T87" fmla="*/ 915 h 2023"/>
                  <a:gd name="T88" fmla="*/ 2106 w 4612"/>
                  <a:gd name="T89" fmla="*/ 1065 h 2023"/>
                  <a:gd name="T90" fmla="*/ 2319 w 4612"/>
                  <a:gd name="T91" fmla="*/ 1052 h 2023"/>
                  <a:gd name="T92" fmla="*/ 2493 w 4612"/>
                  <a:gd name="T93" fmla="*/ 1063 h 2023"/>
                  <a:gd name="T94" fmla="*/ 2579 w 4612"/>
                  <a:gd name="T95" fmla="*/ 1086 h 2023"/>
                  <a:gd name="T96" fmla="*/ 2733 w 4612"/>
                  <a:gd name="T97" fmla="*/ 1073 h 2023"/>
                  <a:gd name="T98" fmla="*/ 2887 w 4612"/>
                  <a:gd name="T99" fmla="*/ 1073 h 2023"/>
                  <a:gd name="T100" fmla="*/ 3000 w 4612"/>
                  <a:gd name="T101" fmla="*/ 1101 h 2023"/>
                  <a:gd name="T102" fmla="*/ 3122 w 4612"/>
                  <a:gd name="T103" fmla="*/ 1179 h 2023"/>
                  <a:gd name="T104" fmla="*/ 3235 w 4612"/>
                  <a:gd name="T105" fmla="*/ 1227 h 2023"/>
                  <a:gd name="T106" fmla="*/ 3352 w 4612"/>
                  <a:gd name="T107" fmla="*/ 1345 h 2023"/>
                  <a:gd name="T108" fmla="*/ 3820 w 4612"/>
                  <a:gd name="T109" fmla="*/ 1553 h 2023"/>
                  <a:gd name="T110" fmla="*/ 3980 w 4612"/>
                  <a:gd name="T111" fmla="*/ 1674 h 2023"/>
                  <a:gd name="T112" fmla="*/ 4089 w 4612"/>
                  <a:gd name="T113" fmla="*/ 1718 h 2023"/>
                  <a:gd name="T114" fmla="*/ 4165 w 4612"/>
                  <a:gd name="T115" fmla="*/ 1847 h 2023"/>
                  <a:gd name="T116" fmla="*/ 4328 w 4612"/>
                  <a:gd name="T117" fmla="*/ 1937 h 2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612" h="2023">
                    <a:moveTo>
                      <a:pt x="4394" y="2018"/>
                    </a:moveTo>
                    <a:lnTo>
                      <a:pt x="4410" y="2020"/>
                    </a:lnTo>
                    <a:lnTo>
                      <a:pt x="4427" y="2022"/>
                    </a:lnTo>
                    <a:lnTo>
                      <a:pt x="4443" y="2023"/>
                    </a:lnTo>
                    <a:lnTo>
                      <a:pt x="4459" y="2023"/>
                    </a:lnTo>
                    <a:lnTo>
                      <a:pt x="4475" y="2020"/>
                    </a:lnTo>
                    <a:lnTo>
                      <a:pt x="4491" y="2018"/>
                    </a:lnTo>
                    <a:lnTo>
                      <a:pt x="4505" y="2014"/>
                    </a:lnTo>
                    <a:lnTo>
                      <a:pt x="4520" y="2009"/>
                    </a:lnTo>
                    <a:lnTo>
                      <a:pt x="4533" y="2003"/>
                    </a:lnTo>
                    <a:lnTo>
                      <a:pt x="4547" y="1995"/>
                    </a:lnTo>
                    <a:lnTo>
                      <a:pt x="4558" y="1986"/>
                    </a:lnTo>
                    <a:lnTo>
                      <a:pt x="4568" y="1975"/>
                    </a:lnTo>
                    <a:lnTo>
                      <a:pt x="4577" y="1963"/>
                    </a:lnTo>
                    <a:lnTo>
                      <a:pt x="4585" y="1949"/>
                    </a:lnTo>
                    <a:lnTo>
                      <a:pt x="4591" y="1933"/>
                    </a:lnTo>
                    <a:lnTo>
                      <a:pt x="4595" y="1916"/>
                    </a:lnTo>
                    <a:lnTo>
                      <a:pt x="4600" y="1889"/>
                    </a:lnTo>
                    <a:lnTo>
                      <a:pt x="4603" y="1862"/>
                    </a:lnTo>
                    <a:lnTo>
                      <a:pt x="4608" y="1834"/>
                    </a:lnTo>
                    <a:lnTo>
                      <a:pt x="4611" y="1805"/>
                    </a:lnTo>
                    <a:lnTo>
                      <a:pt x="4612" y="1777"/>
                    </a:lnTo>
                    <a:lnTo>
                      <a:pt x="4611" y="1749"/>
                    </a:lnTo>
                    <a:lnTo>
                      <a:pt x="4611" y="1734"/>
                    </a:lnTo>
                    <a:lnTo>
                      <a:pt x="4608" y="1720"/>
                    </a:lnTo>
                    <a:lnTo>
                      <a:pt x="4606" y="1707"/>
                    </a:lnTo>
                    <a:lnTo>
                      <a:pt x="4602" y="1694"/>
                    </a:lnTo>
                    <a:lnTo>
                      <a:pt x="4593" y="1647"/>
                    </a:lnTo>
                    <a:lnTo>
                      <a:pt x="4584" y="1602"/>
                    </a:lnTo>
                    <a:lnTo>
                      <a:pt x="4577" y="1581"/>
                    </a:lnTo>
                    <a:lnTo>
                      <a:pt x="4571" y="1560"/>
                    </a:lnTo>
                    <a:lnTo>
                      <a:pt x="4564" y="1539"/>
                    </a:lnTo>
                    <a:lnTo>
                      <a:pt x="4557" y="1520"/>
                    </a:lnTo>
                    <a:lnTo>
                      <a:pt x="4548" y="1499"/>
                    </a:lnTo>
                    <a:lnTo>
                      <a:pt x="4538" y="1480"/>
                    </a:lnTo>
                    <a:lnTo>
                      <a:pt x="4527" y="1461"/>
                    </a:lnTo>
                    <a:lnTo>
                      <a:pt x="4516" y="1443"/>
                    </a:lnTo>
                    <a:lnTo>
                      <a:pt x="4503" y="1423"/>
                    </a:lnTo>
                    <a:lnTo>
                      <a:pt x="4489" y="1405"/>
                    </a:lnTo>
                    <a:lnTo>
                      <a:pt x="4473" y="1386"/>
                    </a:lnTo>
                    <a:lnTo>
                      <a:pt x="4458" y="1368"/>
                    </a:lnTo>
                    <a:lnTo>
                      <a:pt x="4427" y="1334"/>
                    </a:lnTo>
                    <a:lnTo>
                      <a:pt x="4399" y="1299"/>
                    </a:lnTo>
                    <a:lnTo>
                      <a:pt x="4372" y="1265"/>
                    </a:lnTo>
                    <a:lnTo>
                      <a:pt x="4346" y="1229"/>
                    </a:lnTo>
                    <a:lnTo>
                      <a:pt x="4319" y="1195"/>
                    </a:lnTo>
                    <a:lnTo>
                      <a:pt x="4292" y="1162"/>
                    </a:lnTo>
                    <a:lnTo>
                      <a:pt x="4278" y="1145"/>
                    </a:lnTo>
                    <a:lnTo>
                      <a:pt x="4263" y="1129"/>
                    </a:lnTo>
                    <a:lnTo>
                      <a:pt x="4247" y="1113"/>
                    </a:lnTo>
                    <a:lnTo>
                      <a:pt x="4230" y="1098"/>
                    </a:lnTo>
                    <a:lnTo>
                      <a:pt x="4213" y="1085"/>
                    </a:lnTo>
                    <a:lnTo>
                      <a:pt x="4198" y="1072"/>
                    </a:lnTo>
                    <a:lnTo>
                      <a:pt x="4186" y="1059"/>
                    </a:lnTo>
                    <a:lnTo>
                      <a:pt x="4175" y="1046"/>
                    </a:lnTo>
                    <a:lnTo>
                      <a:pt x="4165" y="1032"/>
                    </a:lnTo>
                    <a:lnTo>
                      <a:pt x="4156" y="1019"/>
                    </a:lnTo>
                    <a:lnTo>
                      <a:pt x="4149" y="1005"/>
                    </a:lnTo>
                    <a:lnTo>
                      <a:pt x="4143" y="992"/>
                    </a:lnTo>
                    <a:lnTo>
                      <a:pt x="4131" y="963"/>
                    </a:lnTo>
                    <a:lnTo>
                      <a:pt x="4118" y="933"/>
                    </a:lnTo>
                    <a:lnTo>
                      <a:pt x="4112" y="919"/>
                    </a:lnTo>
                    <a:lnTo>
                      <a:pt x="4106" y="903"/>
                    </a:lnTo>
                    <a:lnTo>
                      <a:pt x="4098" y="887"/>
                    </a:lnTo>
                    <a:lnTo>
                      <a:pt x="4089" y="871"/>
                    </a:lnTo>
                    <a:lnTo>
                      <a:pt x="4079" y="856"/>
                    </a:lnTo>
                    <a:lnTo>
                      <a:pt x="4070" y="843"/>
                    </a:lnTo>
                    <a:lnTo>
                      <a:pt x="4057" y="832"/>
                    </a:lnTo>
                    <a:lnTo>
                      <a:pt x="4046" y="821"/>
                    </a:lnTo>
                    <a:lnTo>
                      <a:pt x="4021" y="802"/>
                    </a:lnTo>
                    <a:lnTo>
                      <a:pt x="3992" y="784"/>
                    </a:lnTo>
                    <a:lnTo>
                      <a:pt x="3965" y="764"/>
                    </a:lnTo>
                    <a:lnTo>
                      <a:pt x="3939" y="743"/>
                    </a:lnTo>
                    <a:lnTo>
                      <a:pt x="3926" y="731"/>
                    </a:lnTo>
                    <a:lnTo>
                      <a:pt x="3914" y="718"/>
                    </a:lnTo>
                    <a:lnTo>
                      <a:pt x="3902" y="703"/>
                    </a:lnTo>
                    <a:lnTo>
                      <a:pt x="3892" y="687"/>
                    </a:lnTo>
                    <a:lnTo>
                      <a:pt x="3883" y="676"/>
                    </a:lnTo>
                    <a:lnTo>
                      <a:pt x="3871" y="661"/>
                    </a:lnTo>
                    <a:lnTo>
                      <a:pt x="3857" y="644"/>
                    </a:lnTo>
                    <a:lnTo>
                      <a:pt x="3838" y="627"/>
                    </a:lnTo>
                    <a:lnTo>
                      <a:pt x="3821" y="611"/>
                    </a:lnTo>
                    <a:lnTo>
                      <a:pt x="3803" y="597"/>
                    </a:lnTo>
                    <a:lnTo>
                      <a:pt x="3795" y="592"/>
                    </a:lnTo>
                    <a:lnTo>
                      <a:pt x="3788" y="587"/>
                    </a:lnTo>
                    <a:lnTo>
                      <a:pt x="3782" y="584"/>
                    </a:lnTo>
                    <a:lnTo>
                      <a:pt x="3776" y="582"/>
                    </a:lnTo>
                    <a:lnTo>
                      <a:pt x="3715" y="576"/>
                    </a:lnTo>
                    <a:lnTo>
                      <a:pt x="3678" y="572"/>
                    </a:lnTo>
                    <a:lnTo>
                      <a:pt x="3670" y="570"/>
                    </a:lnTo>
                    <a:lnTo>
                      <a:pt x="3664" y="566"/>
                    </a:lnTo>
                    <a:lnTo>
                      <a:pt x="3657" y="560"/>
                    </a:lnTo>
                    <a:lnTo>
                      <a:pt x="3650" y="552"/>
                    </a:lnTo>
                    <a:lnTo>
                      <a:pt x="3641" y="544"/>
                    </a:lnTo>
                    <a:lnTo>
                      <a:pt x="3633" y="532"/>
                    </a:lnTo>
                    <a:lnTo>
                      <a:pt x="3623" y="517"/>
                    </a:lnTo>
                    <a:lnTo>
                      <a:pt x="3611" y="500"/>
                    </a:lnTo>
                    <a:lnTo>
                      <a:pt x="3602" y="492"/>
                    </a:lnTo>
                    <a:lnTo>
                      <a:pt x="3593" y="484"/>
                    </a:lnTo>
                    <a:lnTo>
                      <a:pt x="3585" y="473"/>
                    </a:lnTo>
                    <a:lnTo>
                      <a:pt x="3576" y="462"/>
                    </a:lnTo>
                    <a:lnTo>
                      <a:pt x="3558" y="435"/>
                    </a:lnTo>
                    <a:lnTo>
                      <a:pt x="3540" y="408"/>
                    </a:lnTo>
                    <a:lnTo>
                      <a:pt x="3521" y="381"/>
                    </a:lnTo>
                    <a:lnTo>
                      <a:pt x="3504" y="358"/>
                    </a:lnTo>
                    <a:lnTo>
                      <a:pt x="3495" y="348"/>
                    </a:lnTo>
                    <a:lnTo>
                      <a:pt x="3487" y="339"/>
                    </a:lnTo>
                    <a:lnTo>
                      <a:pt x="3478" y="333"/>
                    </a:lnTo>
                    <a:lnTo>
                      <a:pt x="3471" y="331"/>
                    </a:lnTo>
                    <a:lnTo>
                      <a:pt x="3455" y="327"/>
                    </a:lnTo>
                    <a:lnTo>
                      <a:pt x="3440" y="326"/>
                    </a:lnTo>
                    <a:lnTo>
                      <a:pt x="3426" y="327"/>
                    </a:lnTo>
                    <a:lnTo>
                      <a:pt x="3411" y="330"/>
                    </a:lnTo>
                    <a:lnTo>
                      <a:pt x="3384" y="336"/>
                    </a:lnTo>
                    <a:lnTo>
                      <a:pt x="3360" y="342"/>
                    </a:lnTo>
                    <a:lnTo>
                      <a:pt x="3349" y="342"/>
                    </a:lnTo>
                    <a:lnTo>
                      <a:pt x="3338" y="342"/>
                    </a:lnTo>
                    <a:lnTo>
                      <a:pt x="3331" y="339"/>
                    </a:lnTo>
                    <a:lnTo>
                      <a:pt x="3327" y="338"/>
                    </a:lnTo>
                    <a:lnTo>
                      <a:pt x="3320" y="335"/>
                    </a:lnTo>
                    <a:lnTo>
                      <a:pt x="3316" y="331"/>
                    </a:lnTo>
                    <a:lnTo>
                      <a:pt x="3311" y="326"/>
                    </a:lnTo>
                    <a:lnTo>
                      <a:pt x="3306" y="320"/>
                    </a:lnTo>
                    <a:lnTo>
                      <a:pt x="3301" y="314"/>
                    </a:lnTo>
                    <a:lnTo>
                      <a:pt x="3296" y="305"/>
                    </a:lnTo>
                    <a:lnTo>
                      <a:pt x="3287" y="286"/>
                    </a:lnTo>
                    <a:lnTo>
                      <a:pt x="3278" y="261"/>
                    </a:lnTo>
                    <a:lnTo>
                      <a:pt x="3274" y="248"/>
                    </a:lnTo>
                    <a:lnTo>
                      <a:pt x="3269" y="237"/>
                    </a:lnTo>
                    <a:lnTo>
                      <a:pt x="3265" y="228"/>
                    </a:lnTo>
                    <a:lnTo>
                      <a:pt x="3260" y="222"/>
                    </a:lnTo>
                    <a:lnTo>
                      <a:pt x="3257" y="216"/>
                    </a:lnTo>
                    <a:lnTo>
                      <a:pt x="3252" y="212"/>
                    </a:lnTo>
                    <a:lnTo>
                      <a:pt x="3248" y="210"/>
                    </a:lnTo>
                    <a:lnTo>
                      <a:pt x="3242" y="208"/>
                    </a:lnTo>
                    <a:lnTo>
                      <a:pt x="3231" y="206"/>
                    </a:lnTo>
                    <a:lnTo>
                      <a:pt x="3215" y="205"/>
                    </a:lnTo>
                    <a:lnTo>
                      <a:pt x="3197" y="201"/>
                    </a:lnTo>
                    <a:lnTo>
                      <a:pt x="3174" y="195"/>
                    </a:lnTo>
                    <a:lnTo>
                      <a:pt x="3164" y="190"/>
                    </a:lnTo>
                    <a:lnTo>
                      <a:pt x="3156" y="184"/>
                    </a:lnTo>
                    <a:lnTo>
                      <a:pt x="3149" y="177"/>
                    </a:lnTo>
                    <a:lnTo>
                      <a:pt x="3143" y="168"/>
                    </a:lnTo>
                    <a:lnTo>
                      <a:pt x="3137" y="159"/>
                    </a:lnTo>
                    <a:lnTo>
                      <a:pt x="3129" y="152"/>
                    </a:lnTo>
                    <a:lnTo>
                      <a:pt x="3123" y="145"/>
                    </a:lnTo>
                    <a:lnTo>
                      <a:pt x="3116" y="139"/>
                    </a:lnTo>
                    <a:lnTo>
                      <a:pt x="3109" y="135"/>
                    </a:lnTo>
                    <a:lnTo>
                      <a:pt x="3101" y="132"/>
                    </a:lnTo>
                    <a:lnTo>
                      <a:pt x="3095" y="130"/>
                    </a:lnTo>
                    <a:lnTo>
                      <a:pt x="3087" y="129"/>
                    </a:lnTo>
                    <a:lnTo>
                      <a:pt x="3072" y="126"/>
                    </a:lnTo>
                    <a:lnTo>
                      <a:pt x="3055" y="125"/>
                    </a:lnTo>
                    <a:lnTo>
                      <a:pt x="3023" y="128"/>
                    </a:lnTo>
                    <a:lnTo>
                      <a:pt x="2992" y="130"/>
                    </a:lnTo>
                    <a:lnTo>
                      <a:pt x="2981" y="131"/>
                    </a:lnTo>
                    <a:lnTo>
                      <a:pt x="2973" y="131"/>
                    </a:lnTo>
                    <a:lnTo>
                      <a:pt x="2965" y="130"/>
                    </a:lnTo>
                    <a:lnTo>
                      <a:pt x="2959" y="129"/>
                    </a:lnTo>
                    <a:lnTo>
                      <a:pt x="2954" y="128"/>
                    </a:lnTo>
                    <a:lnTo>
                      <a:pt x="2950" y="125"/>
                    </a:lnTo>
                    <a:lnTo>
                      <a:pt x="2946" y="121"/>
                    </a:lnTo>
                    <a:lnTo>
                      <a:pt x="2942" y="118"/>
                    </a:lnTo>
                    <a:lnTo>
                      <a:pt x="2935" y="110"/>
                    </a:lnTo>
                    <a:lnTo>
                      <a:pt x="2929" y="103"/>
                    </a:lnTo>
                    <a:lnTo>
                      <a:pt x="2919" y="95"/>
                    </a:lnTo>
                    <a:lnTo>
                      <a:pt x="2907" y="87"/>
                    </a:lnTo>
                    <a:lnTo>
                      <a:pt x="2901" y="84"/>
                    </a:lnTo>
                    <a:lnTo>
                      <a:pt x="2894" y="82"/>
                    </a:lnTo>
                    <a:lnTo>
                      <a:pt x="2887" y="82"/>
                    </a:lnTo>
                    <a:lnTo>
                      <a:pt x="2881" y="82"/>
                    </a:lnTo>
                    <a:lnTo>
                      <a:pt x="2875" y="81"/>
                    </a:lnTo>
                    <a:lnTo>
                      <a:pt x="2869" y="81"/>
                    </a:lnTo>
                    <a:lnTo>
                      <a:pt x="2861" y="80"/>
                    </a:lnTo>
                    <a:lnTo>
                      <a:pt x="2855" y="77"/>
                    </a:lnTo>
                    <a:lnTo>
                      <a:pt x="2842" y="76"/>
                    </a:lnTo>
                    <a:lnTo>
                      <a:pt x="2828" y="74"/>
                    </a:lnTo>
                    <a:lnTo>
                      <a:pt x="2815" y="71"/>
                    </a:lnTo>
                    <a:lnTo>
                      <a:pt x="2801" y="69"/>
                    </a:lnTo>
                    <a:lnTo>
                      <a:pt x="2776" y="60"/>
                    </a:lnTo>
                    <a:lnTo>
                      <a:pt x="2751" y="52"/>
                    </a:lnTo>
                    <a:lnTo>
                      <a:pt x="2704" y="32"/>
                    </a:lnTo>
                    <a:lnTo>
                      <a:pt x="2656" y="14"/>
                    </a:lnTo>
                    <a:lnTo>
                      <a:pt x="2633" y="6"/>
                    </a:lnTo>
                    <a:lnTo>
                      <a:pt x="2609" y="1"/>
                    </a:lnTo>
                    <a:lnTo>
                      <a:pt x="2597" y="0"/>
                    </a:lnTo>
                    <a:lnTo>
                      <a:pt x="2585" y="0"/>
                    </a:lnTo>
                    <a:lnTo>
                      <a:pt x="2573" y="0"/>
                    </a:lnTo>
                    <a:lnTo>
                      <a:pt x="2560" y="1"/>
                    </a:lnTo>
                    <a:lnTo>
                      <a:pt x="2548" y="4"/>
                    </a:lnTo>
                    <a:lnTo>
                      <a:pt x="2535" y="6"/>
                    </a:lnTo>
                    <a:lnTo>
                      <a:pt x="2522" y="11"/>
                    </a:lnTo>
                    <a:lnTo>
                      <a:pt x="2509" y="17"/>
                    </a:lnTo>
                    <a:lnTo>
                      <a:pt x="2495" y="24"/>
                    </a:lnTo>
                    <a:lnTo>
                      <a:pt x="2482" y="32"/>
                    </a:lnTo>
                    <a:lnTo>
                      <a:pt x="2469" y="42"/>
                    </a:lnTo>
                    <a:lnTo>
                      <a:pt x="2454" y="53"/>
                    </a:lnTo>
                    <a:lnTo>
                      <a:pt x="2431" y="75"/>
                    </a:lnTo>
                    <a:lnTo>
                      <a:pt x="2409" y="97"/>
                    </a:lnTo>
                    <a:lnTo>
                      <a:pt x="2389" y="119"/>
                    </a:lnTo>
                    <a:lnTo>
                      <a:pt x="2371" y="141"/>
                    </a:lnTo>
                    <a:lnTo>
                      <a:pt x="2352" y="162"/>
                    </a:lnTo>
                    <a:lnTo>
                      <a:pt x="2334" y="183"/>
                    </a:lnTo>
                    <a:lnTo>
                      <a:pt x="2317" y="202"/>
                    </a:lnTo>
                    <a:lnTo>
                      <a:pt x="2298" y="219"/>
                    </a:lnTo>
                    <a:lnTo>
                      <a:pt x="2289" y="228"/>
                    </a:lnTo>
                    <a:lnTo>
                      <a:pt x="2279" y="235"/>
                    </a:lnTo>
                    <a:lnTo>
                      <a:pt x="2269" y="241"/>
                    </a:lnTo>
                    <a:lnTo>
                      <a:pt x="2259" y="248"/>
                    </a:lnTo>
                    <a:lnTo>
                      <a:pt x="2248" y="254"/>
                    </a:lnTo>
                    <a:lnTo>
                      <a:pt x="2237" y="257"/>
                    </a:lnTo>
                    <a:lnTo>
                      <a:pt x="2225" y="261"/>
                    </a:lnTo>
                    <a:lnTo>
                      <a:pt x="2213" y="265"/>
                    </a:lnTo>
                    <a:lnTo>
                      <a:pt x="2200" y="266"/>
                    </a:lnTo>
                    <a:lnTo>
                      <a:pt x="2187" y="267"/>
                    </a:lnTo>
                    <a:lnTo>
                      <a:pt x="2172" y="267"/>
                    </a:lnTo>
                    <a:lnTo>
                      <a:pt x="2158" y="266"/>
                    </a:lnTo>
                    <a:lnTo>
                      <a:pt x="2142" y="263"/>
                    </a:lnTo>
                    <a:lnTo>
                      <a:pt x="2126" y="260"/>
                    </a:lnTo>
                    <a:lnTo>
                      <a:pt x="2109" y="255"/>
                    </a:lnTo>
                    <a:lnTo>
                      <a:pt x="2090" y="249"/>
                    </a:lnTo>
                    <a:lnTo>
                      <a:pt x="2061" y="238"/>
                    </a:lnTo>
                    <a:lnTo>
                      <a:pt x="2030" y="223"/>
                    </a:lnTo>
                    <a:lnTo>
                      <a:pt x="1997" y="207"/>
                    </a:lnTo>
                    <a:lnTo>
                      <a:pt x="1963" y="192"/>
                    </a:lnTo>
                    <a:lnTo>
                      <a:pt x="1946" y="185"/>
                    </a:lnTo>
                    <a:lnTo>
                      <a:pt x="1929" y="179"/>
                    </a:lnTo>
                    <a:lnTo>
                      <a:pt x="1912" y="174"/>
                    </a:lnTo>
                    <a:lnTo>
                      <a:pt x="1894" y="169"/>
                    </a:lnTo>
                    <a:lnTo>
                      <a:pt x="1879" y="166"/>
                    </a:lnTo>
                    <a:lnTo>
                      <a:pt x="1863" y="164"/>
                    </a:lnTo>
                    <a:lnTo>
                      <a:pt x="1847" y="164"/>
                    </a:lnTo>
                    <a:lnTo>
                      <a:pt x="1832" y="166"/>
                    </a:lnTo>
                    <a:lnTo>
                      <a:pt x="1804" y="169"/>
                    </a:lnTo>
                    <a:lnTo>
                      <a:pt x="1777" y="175"/>
                    </a:lnTo>
                    <a:lnTo>
                      <a:pt x="1752" y="183"/>
                    </a:lnTo>
                    <a:lnTo>
                      <a:pt x="1729" y="191"/>
                    </a:lnTo>
                    <a:lnTo>
                      <a:pt x="1686" y="210"/>
                    </a:lnTo>
                    <a:lnTo>
                      <a:pt x="1645" y="227"/>
                    </a:lnTo>
                    <a:lnTo>
                      <a:pt x="1624" y="234"/>
                    </a:lnTo>
                    <a:lnTo>
                      <a:pt x="1603" y="239"/>
                    </a:lnTo>
                    <a:lnTo>
                      <a:pt x="1592" y="241"/>
                    </a:lnTo>
                    <a:lnTo>
                      <a:pt x="1581" y="243"/>
                    </a:lnTo>
                    <a:lnTo>
                      <a:pt x="1569" y="244"/>
                    </a:lnTo>
                    <a:lnTo>
                      <a:pt x="1557" y="244"/>
                    </a:lnTo>
                    <a:lnTo>
                      <a:pt x="1544" y="243"/>
                    </a:lnTo>
                    <a:lnTo>
                      <a:pt x="1532" y="241"/>
                    </a:lnTo>
                    <a:lnTo>
                      <a:pt x="1519" y="239"/>
                    </a:lnTo>
                    <a:lnTo>
                      <a:pt x="1505" y="235"/>
                    </a:lnTo>
                    <a:lnTo>
                      <a:pt x="1491" y="230"/>
                    </a:lnTo>
                    <a:lnTo>
                      <a:pt x="1476" y="226"/>
                    </a:lnTo>
                    <a:lnTo>
                      <a:pt x="1461" y="219"/>
                    </a:lnTo>
                    <a:lnTo>
                      <a:pt x="1444" y="212"/>
                    </a:lnTo>
                    <a:lnTo>
                      <a:pt x="1426" y="201"/>
                    </a:lnTo>
                    <a:lnTo>
                      <a:pt x="1406" y="190"/>
                    </a:lnTo>
                    <a:lnTo>
                      <a:pt x="1388" y="179"/>
                    </a:lnTo>
                    <a:lnTo>
                      <a:pt x="1369" y="167"/>
                    </a:lnTo>
                    <a:lnTo>
                      <a:pt x="1333" y="141"/>
                    </a:lnTo>
                    <a:lnTo>
                      <a:pt x="1296" y="117"/>
                    </a:lnTo>
                    <a:lnTo>
                      <a:pt x="1278" y="104"/>
                    </a:lnTo>
                    <a:lnTo>
                      <a:pt x="1259" y="92"/>
                    </a:lnTo>
                    <a:lnTo>
                      <a:pt x="1241" y="81"/>
                    </a:lnTo>
                    <a:lnTo>
                      <a:pt x="1221" y="71"/>
                    </a:lnTo>
                    <a:lnTo>
                      <a:pt x="1202" y="61"/>
                    </a:lnTo>
                    <a:lnTo>
                      <a:pt x="1182" y="53"/>
                    </a:lnTo>
                    <a:lnTo>
                      <a:pt x="1161" y="47"/>
                    </a:lnTo>
                    <a:lnTo>
                      <a:pt x="1140" y="42"/>
                    </a:lnTo>
                    <a:lnTo>
                      <a:pt x="1121" y="38"/>
                    </a:lnTo>
                    <a:lnTo>
                      <a:pt x="1093" y="33"/>
                    </a:lnTo>
                    <a:lnTo>
                      <a:pt x="1057" y="30"/>
                    </a:lnTo>
                    <a:lnTo>
                      <a:pt x="1021" y="26"/>
                    </a:lnTo>
                    <a:lnTo>
                      <a:pt x="983" y="24"/>
                    </a:lnTo>
                    <a:lnTo>
                      <a:pt x="948" y="24"/>
                    </a:lnTo>
                    <a:lnTo>
                      <a:pt x="935" y="24"/>
                    </a:lnTo>
                    <a:lnTo>
                      <a:pt x="921" y="25"/>
                    </a:lnTo>
                    <a:lnTo>
                      <a:pt x="912" y="27"/>
                    </a:lnTo>
                    <a:lnTo>
                      <a:pt x="904" y="30"/>
                    </a:lnTo>
                    <a:lnTo>
                      <a:pt x="898" y="28"/>
                    </a:lnTo>
                    <a:lnTo>
                      <a:pt x="891" y="27"/>
                    </a:lnTo>
                    <a:lnTo>
                      <a:pt x="875" y="28"/>
                    </a:lnTo>
                    <a:lnTo>
                      <a:pt x="858" y="32"/>
                    </a:lnTo>
                    <a:lnTo>
                      <a:pt x="843" y="37"/>
                    </a:lnTo>
                    <a:lnTo>
                      <a:pt x="828" y="44"/>
                    </a:lnTo>
                    <a:lnTo>
                      <a:pt x="814" y="52"/>
                    </a:lnTo>
                    <a:lnTo>
                      <a:pt x="800" y="60"/>
                    </a:lnTo>
                    <a:lnTo>
                      <a:pt x="787" y="70"/>
                    </a:lnTo>
                    <a:lnTo>
                      <a:pt x="773" y="81"/>
                    </a:lnTo>
                    <a:lnTo>
                      <a:pt x="745" y="102"/>
                    </a:lnTo>
                    <a:lnTo>
                      <a:pt x="717" y="121"/>
                    </a:lnTo>
                    <a:lnTo>
                      <a:pt x="702" y="130"/>
                    </a:lnTo>
                    <a:lnTo>
                      <a:pt x="688" y="137"/>
                    </a:lnTo>
                    <a:lnTo>
                      <a:pt x="672" y="142"/>
                    </a:lnTo>
                    <a:lnTo>
                      <a:pt x="655" y="147"/>
                    </a:lnTo>
                    <a:lnTo>
                      <a:pt x="641" y="148"/>
                    </a:lnTo>
                    <a:lnTo>
                      <a:pt x="629" y="148"/>
                    </a:lnTo>
                    <a:lnTo>
                      <a:pt x="615" y="147"/>
                    </a:lnTo>
                    <a:lnTo>
                      <a:pt x="603" y="146"/>
                    </a:lnTo>
                    <a:lnTo>
                      <a:pt x="579" y="139"/>
                    </a:lnTo>
                    <a:lnTo>
                      <a:pt x="554" y="130"/>
                    </a:lnTo>
                    <a:lnTo>
                      <a:pt x="543" y="126"/>
                    </a:lnTo>
                    <a:lnTo>
                      <a:pt x="531" y="123"/>
                    </a:lnTo>
                    <a:lnTo>
                      <a:pt x="520" y="120"/>
                    </a:lnTo>
                    <a:lnTo>
                      <a:pt x="509" y="118"/>
                    </a:lnTo>
                    <a:lnTo>
                      <a:pt x="498" y="118"/>
                    </a:lnTo>
                    <a:lnTo>
                      <a:pt x="487" y="119"/>
                    </a:lnTo>
                    <a:lnTo>
                      <a:pt x="476" y="121"/>
                    </a:lnTo>
                    <a:lnTo>
                      <a:pt x="466" y="126"/>
                    </a:lnTo>
                    <a:lnTo>
                      <a:pt x="427" y="152"/>
                    </a:lnTo>
                    <a:lnTo>
                      <a:pt x="394" y="175"/>
                    </a:lnTo>
                    <a:lnTo>
                      <a:pt x="386" y="180"/>
                    </a:lnTo>
                    <a:lnTo>
                      <a:pt x="378" y="184"/>
                    </a:lnTo>
                    <a:lnTo>
                      <a:pt x="368" y="186"/>
                    </a:lnTo>
                    <a:lnTo>
                      <a:pt x="358" y="188"/>
                    </a:lnTo>
                    <a:lnTo>
                      <a:pt x="347" y="188"/>
                    </a:lnTo>
                    <a:lnTo>
                      <a:pt x="336" y="186"/>
                    </a:lnTo>
                    <a:lnTo>
                      <a:pt x="323" y="184"/>
                    </a:lnTo>
                    <a:lnTo>
                      <a:pt x="309" y="180"/>
                    </a:lnTo>
                    <a:lnTo>
                      <a:pt x="293" y="173"/>
                    </a:lnTo>
                    <a:lnTo>
                      <a:pt x="275" y="162"/>
                    </a:lnTo>
                    <a:lnTo>
                      <a:pt x="256" y="148"/>
                    </a:lnTo>
                    <a:lnTo>
                      <a:pt x="235" y="135"/>
                    </a:lnTo>
                    <a:lnTo>
                      <a:pt x="215" y="121"/>
                    </a:lnTo>
                    <a:lnTo>
                      <a:pt x="196" y="113"/>
                    </a:lnTo>
                    <a:lnTo>
                      <a:pt x="187" y="110"/>
                    </a:lnTo>
                    <a:lnTo>
                      <a:pt x="178" y="108"/>
                    </a:lnTo>
                    <a:lnTo>
                      <a:pt x="171" y="109"/>
                    </a:lnTo>
                    <a:lnTo>
                      <a:pt x="165" y="110"/>
                    </a:lnTo>
                    <a:lnTo>
                      <a:pt x="151" y="118"/>
                    </a:lnTo>
                    <a:lnTo>
                      <a:pt x="140" y="126"/>
                    </a:lnTo>
                    <a:lnTo>
                      <a:pt x="128" y="136"/>
                    </a:lnTo>
                    <a:lnTo>
                      <a:pt x="118" y="146"/>
                    </a:lnTo>
                    <a:lnTo>
                      <a:pt x="98" y="168"/>
                    </a:lnTo>
                    <a:lnTo>
                      <a:pt x="79" y="191"/>
                    </a:lnTo>
                    <a:lnTo>
                      <a:pt x="61" y="215"/>
                    </a:lnTo>
                    <a:lnTo>
                      <a:pt x="43" y="238"/>
                    </a:lnTo>
                    <a:lnTo>
                      <a:pt x="33" y="249"/>
                    </a:lnTo>
                    <a:lnTo>
                      <a:pt x="22" y="259"/>
                    </a:lnTo>
                    <a:lnTo>
                      <a:pt x="11" y="268"/>
                    </a:lnTo>
                    <a:lnTo>
                      <a:pt x="0" y="278"/>
                    </a:lnTo>
                    <a:lnTo>
                      <a:pt x="1" y="286"/>
                    </a:lnTo>
                    <a:lnTo>
                      <a:pt x="5" y="294"/>
                    </a:lnTo>
                    <a:lnTo>
                      <a:pt x="8" y="300"/>
                    </a:lnTo>
                    <a:lnTo>
                      <a:pt x="14" y="308"/>
                    </a:lnTo>
                    <a:lnTo>
                      <a:pt x="27" y="321"/>
                    </a:lnTo>
                    <a:lnTo>
                      <a:pt x="36" y="335"/>
                    </a:lnTo>
                    <a:lnTo>
                      <a:pt x="46" y="350"/>
                    </a:lnTo>
                    <a:lnTo>
                      <a:pt x="57" y="365"/>
                    </a:lnTo>
                    <a:lnTo>
                      <a:pt x="69" y="377"/>
                    </a:lnTo>
                    <a:lnTo>
                      <a:pt x="84" y="390"/>
                    </a:lnTo>
                    <a:lnTo>
                      <a:pt x="99" y="399"/>
                    </a:lnTo>
                    <a:lnTo>
                      <a:pt x="115" y="409"/>
                    </a:lnTo>
                    <a:lnTo>
                      <a:pt x="132" y="419"/>
                    </a:lnTo>
                    <a:lnTo>
                      <a:pt x="149" y="428"/>
                    </a:lnTo>
                    <a:lnTo>
                      <a:pt x="183" y="446"/>
                    </a:lnTo>
                    <a:lnTo>
                      <a:pt x="216" y="464"/>
                    </a:lnTo>
                    <a:lnTo>
                      <a:pt x="231" y="474"/>
                    </a:lnTo>
                    <a:lnTo>
                      <a:pt x="246" y="485"/>
                    </a:lnTo>
                    <a:lnTo>
                      <a:pt x="259" y="499"/>
                    </a:lnTo>
                    <a:lnTo>
                      <a:pt x="270" y="512"/>
                    </a:lnTo>
                    <a:lnTo>
                      <a:pt x="281" y="528"/>
                    </a:lnTo>
                    <a:lnTo>
                      <a:pt x="290" y="546"/>
                    </a:lnTo>
                    <a:lnTo>
                      <a:pt x="297" y="566"/>
                    </a:lnTo>
                    <a:lnTo>
                      <a:pt x="304" y="585"/>
                    </a:lnTo>
                    <a:lnTo>
                      <a:pt x="313" y="604"/>
                    </a:lnTo>
                    <a:lnTo>
                      <a:pt x="324" y="621"/>
                    </a:lnTo>
                    <a:lnTo>
                      <a:pt x="330" y="628"/>
                    </a:lnTo>
                    <a:lnTo>
                      <a:pt x="338" y="634"/>
                    </a:lnTo>
                    <a:lnTo>
                      <a:pt x="345" y="642"/>
                    </a:lnTo>
                    <a:lnTo>
                      <a:pt x="355" y="647"/>
                    </a:lnTo>
                    <a:lnTo>
                      <a:pt x="394" y="665"/>
                    </a:lnTo>
                    <a:lnTo>
                      <a:pt x="420" y="680"/>
                    </a:lnTo>
                    <a:lnTo>
                      <a:pt x="424" y="683"/>
                    </a:lnTo>
                    <a:lnTo>
                      <a:pt x="429" y="688"/>
                    </a:lnTo>
                    <a:lnTo>
                      <a:pt x="434" y="694"/>
                    </a:lnTo>
                    <a:lnTo>
                      <a:pt x="439" y="701"/>
                    </a:lnTo>
                    <a:lnTo>
                      <a:pt x="449" y="716"/>
                    </a:lnTo>
                    <a:lnTo>
                      <a:pt x="459" y="739"/>
                    </a:lnTo>
                    <a:lnTo>
                      <a:pt x="466" y="761"/>
                    </a:lnTo>
                    <a:lnTo>
                      <a:pt x="476" y="785"/>
                    </a:lnTo>
                    <a:lnTo>
                      <a:pt x="481" y="799"/>
                    </a:lnTo>
                    <a:lnTo>
                      <a:pt x="487" y="811"/>
                    </a:lnTo>
                    <a:lnTo>
                      <a:pt x="494" y="823"/>
                    </a:lnTo>
                    <a:lnTo>
                      <a:pt x="502" y="834"/>
                    </a:lnTo>
                    <a:lnTo>
                      <a:pt x="509" y="845"/>
                    </a:lnTo>
                    <a:lnTo>
                      <a:pt x="519" y="855"/>
                    </a:lnTo>
                    <a:lnTo>
                      <a:pt x="528" y="863"/>
                    </a:lnTo>
                    <a:lnTo>
                      <a:pt x="538" y="871"/>
                    </a:lnTo>
                    <a:lnTo>
                      <a:pt x="549" y="876"/>
                    </a:lnTo>
                    <a:lnTo>
                      <a:pt x="562" y="879"/>
                    </a:lnTo>
                    <a:lnTo>
                      <a:pt x="575" y="881"/>
                    </a:lnTo>
                    <a:lnTo>
                      <a:pt x="588" y="878"/>
                    </a:lnTo>
                    <a:lnTo>
                      <a:pt x="599" y="876"/>
                    </a:lnTo>
                    <a:lnTo>
                      <a:pt x="610" y="872"/>
                    </a:lnTo>
                    <a:lnTo>
                      <a:pt x="623" y="866"/>
                    </a:lnTo>
                    <a:lnTo>
                      <a:pt x="635" y="860"/>
                    </a:lnTo>
                    <a:lnTo>
                      <a:pt x="661" y="845"/>
                    </a:lnTo>
                    <a:lnTo>
                      <a:pt x="685" y="829"/>
                    </a:lnTo>
                    <a:lnTo>
                      <a:pt x="711" y="811"/>
                    </a:lnTo>
                    <a:lnTo>
                      <a:pt x="737" y="794"/>
                    </a:lnTo>
                    <a:lnTo>
                      <a:pt x="761" y="779"/>
                    </a:lnTo>
                    <a:lnTo>
                      <a:pt x="784" y="768"/>
                    </a:lnTo>
                    <a:lnTo>
                      <a:pt x="801" y="762"/>
                    </a:lnTo>
                    <a:lnTo>
                      <a:pt x="820" y="756"/>
                    </a:lnTo>
                    <a:lnTo>
                      <a:pt x="839" y="752"/>
                    </a:lnTo>
                    <a:lnTo>
                      <a:pt x="860" y="750"/>
                    </a:lnTo>
                    <a:lnTo>
                      <a:pt x="870" y="750"/>
                    </a:lnTo>
                    <a:lnTo>
                      <a:pt x="880" y="750"/>
                    </a:lnTo>
                    <a:lnTo>
                      <a:pt x="890" y="751"/>
                    </a:lnTo>
                    <a:lnTo>
                      <a:pt x="899" y="753"/>
                    </a:lnTo>
                    <a:lnTo>
                      <a:pt x="908" y="756"/>
                    </a:lnTo>
                    <a:lnTo>
                      <a:pt x="916" y="759"/>
                    </a:lnTo>
                    <a:lnTo>
                      <a:pt x="925" y="764"/>
                    </a:lnTo>
                    <a:lnTo>
                      <a:pt x="932" y="769"/>
                    </a:lnTo>
                    <a:lnTo>
                      <a:pt x="945" y="780"/>
                    </a:lnTo>
                    <a:lnTo>
                      <a:pt x="956" y="789"/>
                    </a:lnTo>
                    <a:lnTo>
                      <a:pt x="967" y="794"/>
                    </a:lnTo>
                    <a:lnTo>
                      <a:pt x="976" y="797"/>
                    </a:lnTo>
                    <a:lnTo>
                      <a:pt x="1000" y="801"/>
                    </a:lnTo>
                    <a:lnTo>
                      <a:pt x="1028" y="805"/>
                    </a:lnTo>
                    <a:lnTo>
                      <a:pt x="1036" y="807"/>
                    </a:lnTo>
                    <a:lnTo>
                      <a:pt x="1044" y="811"/>
                    </a:lnTo>
                    <a:lnTo>
                      <a:pt x="1050" y="816"/>
                    </a:lnTo>
                    <a:lnTo>
                      <a:pt x="1055" y="822"/>
                    </a:lnTo>
                    <a:lnTo>
                      <a:pt x="1063" y="836"/>
                    </a:lnTo>
                    <a:lnTo>
                      <a:pt x="1069" y="852"/>
                    </a:lnTo>
                    <a:lnTo>
                      <a:pt x="1074" y="868"/>
                    </a:lnTo>
                    <a:lnTo>
                      <a:pt x="1081" y="884"/>
                    </a:lnTo>
                    <a:lnTo>
                      <a:pt x="1085" y="890"/>
                    </a:lnTo>
                    <a:lnTo>
                      <a:pt x="1090" y="896"/>
                    </a:lnTo>
                    <a:lnTo>
                      <a:pt x="1095" y="900"/>
                    </a:lnTo>
                    <a:lnTo>
                      <a:pt x="1103" y="904"/>
                    </a:lnTo>
                    <a:lnTo>
                      <a:pt x="1107" y="905"/>
                    </a:lnTo>
                    <a:lnTo>
                      <a:pt x="1111" y="905"/>
                    </a:lnTo>
                    <a:lnTo>
                      <a:pt x="1115" y="905"/>
                    </a:lnTo>
                    <a:lnTo>
                      <a:pt x="1118" y="904"/>
                    </a:lnTo>
                    <a:lnTo>
                      <a:pt x="1125" y="900"/>
                    </a:lnTo>
                    <a:lnTo>
                      <a:pt x="1131" y="895"/>
                    </a:lnTo>
                    <a:lnTo>
                      <a:pt x="1139" y="882"/>
                    </a:lnTo>
                    <a:lnTo>
                      <a:pt x="1149" y="868"/>
                    </a:lnTo>
                    <a:lnTo>
                      <a:pt x="1155" y="861"/>
                    </a:lnTo>
                    <a:lnTo>
                      <a:pt x="1164" y="855"/>
                    </a:lnTo>
                    <a:lnTo>
                      <a:pt x="1171" y="850"/>
                    </a:lnTo>
                    <a:lnTo>
                      <a:pt x="1180" y="846"/>
                    </a:lnTo>
                    <a:lnTo>
                      <a:pt x="1198" y="840"/>
                    </a:lnTo>
                    <a:lnTo>
                      <a:pt x="1218" y="834"/>
                    </a:lnTo>
                    <a:lnTo>
                      <a:pt x="1232" y="834"/>
                    </a:lnTo>
                    <a:lnTo>
                      <a:pt x="1248" y="833"/>
                    </a:lnTo>
                    <a:lnTo>
                      <a:pt x="1265" y="830"/>
                    </a:lnTo>
                    <a:lnTo>
                      <a:pt x="1284" y="827"/>
                    </a:lnTo>
                    <a:lnTo>
                      <a:pt x="1322" y="818"/>
                    </a:lnTo>
                    <a:lnTo>
                      <a:pt x="1362" y="808"/>
                    </a:lnTo>
                    <a:lnTo>
                      <a:pt x="1382" y="805"/>
                    </a:lnTo>
                    <a:lnTo>
                      <a:pt x="1401" y="801"/>
                    </a:lnTo>
                    <a:lnTo>
                      <a:pt x="1420" y="799"/>
                    </a:lnTo>
                    <a:lnTo>
                      <a:pt x="1438" y="797"/>
                    </a:lnTo>
                    <a:lnTo>
                      <a:pt x="1455" y="797"/>
                    </a:lnTo>
                    <a:lnTo>
                      <a:pt x="1472" y="800"/>
                    </a:lnTo>
                    <a:lnTo>
                      <a:pt x="1480" y="802"/>
                    </a:lnTo>
                    <a:lnTo>
                      <a:pt x="1487" y="805"/>
                    </a:lnTo>
                    <a:lnTo>
                      <a:pt x="1494" y="807"/>
                    </a:lnTo>
                    <a:lnTo>
                      <a:pt x="1500" y="811"/>
                    </a:lnTo>
                    <a:lnTo>
                      <a:pt x="1514" y="821"/>
                    </a:lnTo>
                    <a:lnTo>
                      <a:pt x="1524" y="832"/>
                    </a:lnTo>
                    <a:lnTo>
                      <a:pt x="1531" y="841"/>
                    </a:lnTo>
                    <a:lnTo>
                      <a:pt x="1536" y="851"/>
                    </a:lnTo>
                    <a:lnTo>
                      <a:pt x="1542" y="870"/>
                    </a:lnTo>
                    <a:lnTo>
                      <a:pt x="1547" y="887"/>
                    </a:lnTo>
                    <a:lnTo>
                      <a:pt x="1551" y="894"/>
                    </a:lnTo>
                    <a:lnTo>
                      <a:pt x="1555" y="899"/>
                    </a:lnTo>
                    <a:lnTo>
                      <a:pt x="1562" y="904"/>
                    </a:lnTo>
                    <a:lnTo>
                      <a:pt x="1570" y="907"/>
                    </a:lnTo>
                    <a:lnTo>
                      <a:pt x="1581" y="909"/>
                    </a:lnTo>
                    <a:lnTo>
                      <a:pt x="1597" y="909"/>
                    </a:lnTo>
                    <a:lnTo>
                      <a:pt x="1615" y="906"/>
                    </a:lnTo>
                    <a:lnTo>
                      <a:pt x="1640" y="903"/>
                    </a:lnTo>
                    <a:lnTo>
                      <a:pt x="1655" y="900"/>
                    </a:lnTo>
                    <a:lnTo>
                      <a:pt x="1672" y="900"/>
                    </a:lnTo>
                    <a:lnTo>
                      <a:pt x="1690" y="901"/>
                    </a:lnTo>
                    <a:lnTo>
                      <a:pt x="1710" y="903"/>
                    </a:lnTo>
                    <a:lnTo>
                      <a:pt x="1750" y="906"/>
                    </a:lnTo>
                    <a:lnTo>
                      <a:pt x="1786" y="909"/>
                    </a:lnTo>
                    <a:lnTo>
                      <a:pt x="1797" y="910"/>
                    </a:lnTo>
                    <a:lnTo>
                      <a:pt x="1808" y="911"/>
                    </a:lnTo>
                    <a:lnTo>
                      <a:pt x="1820" y="915"/>
                    </a:lnTo>
                    <a:lnTo>
                      <a:pt x="1831" y="920"/>
                    </a:lnTo>
                    <a:lnTo>
                      <a:pt x="1855" y="931"/>
                    </a:lnTo>
                    <a:lnTo>
                      <a:pt x="1879" y="944"/>
                    </a:lnTo>
                    <a:lnTo>
                      <a:pt x="1924" y="975"/>
                    </a:lnTo>
                    <a:lnTo>
                      <a:pt x="1968" y="1002"/>
                    </a:lnTo>
                    <a:lnTo>
                      <a:pt x="2000" y="1019"/>
                    </a:lnTo>
                    <a:lnTo>
                      <a:pt x="2028" y="1034"/>
                    </a:lnTo>
                    <a:lnTo>
                      <a:pt x="2054" y="1047"/>
                    </a:lnTo>
                    <a:lnTo>
                      <a:pt x="2079" y="1057"/>
                    </a:lnTo>
                    <a:lnTo>
                      <a:pt x="2093" y="1062"/>
                    </a:lnTo>
                    <a:lnTo>
                      <a:pt x="2106" y="1065"/>
                    </a:lnTo>
                    <a:lnTo>
                      <a:pt x="2121" y="1068"/>
                    </a:lnTo>
                    <a:lnTo>
                      <a:pt x="2136" y="1070"/>
                    </a:lnTo>
                    <a:lnTo>
                      <a:pt x="2152" y="1072"/>
                    </a:lnTo>
                    <a:lnTo>
                      <a:pt x="2169" y="1073"/>
                    </a:lnTo>
                    <a:lnTo>
                      <a:pt x="2188" y="1073"/>
                    </a:lnTo>
                    <a:lnTo>
                      <a:pt x="2208" y="1072"/>
                    </a:lnTo>
                    <a:lnTo>
                      <a:pt x="2222" y="1070"/>
                    </a:lnTo>
                    <a:lnTo>
                      <a:pt x="2240" y="1069"/>
                    </a:lnTo>
                    <a:lnTo>
                      <a:pt x="2258" y="1065"/>
                    </a:lnTo>
                    <a:lnTo>
                      <a:pt x="2278" y="1062"/>
                    </a:lnTo>
                    <a:lnTo>
                      <a:pt x="2319" y="1052"/>
                    </a:lnTo>
                    <a:lnTo>
                      <a:pt x="2362" y="1045"/>
                    </a:lnTo>
                    <a:lnTo>
                      <a:pt x="2383" y="1042"/>
                    </a:lnTo>
                    <a:lnTo>
                      <a:pt x="2405" y="1040"/>
                    </a:lnTo>
                    <a:lnTo>
                      <a:pt x="2424" y="1041"/>
                    </a:lnTo>
                    <a:lnTo>
                      <a:pt x="2444" y="1042"/>
                    </a:lnTo>
                    <a:lnTo>
                      <a:pt x="2453" y="1045"/>
                    </a:lnTo>
                    <a:lnTo>
                      <a:pt x="2462" y="1046"/>
                    </a:lnTo>
                    <a:lnTo>
                      <a:pt x="2471" y="1050"/>
                    </a:lnTo>
                    <a:lnTo>
                      <a:pt x="2478" y="1053"/>
                    </a:lnTo>
                    <a:lnTo>
                      <a:pt x="2486" y="1057"/>
                    </a:lnTo>
                    <a:lnTo>
                      <a:pt x="2493" y="1063"/>
                    </a:lnTo>
                    <a:lnTo>
                      <a:pt x="2500" y="1069"/>
                    </a:lnTo>
                    <a:lnTo>
                      <a:pt x="2506" y="1075"/>
                    </a:lnTo>
                    <a:lnTo>
                      <a:pt x="2510" y="1080"/>
                    </a:lnTo>
                    <a:lnTo>
                      <a:pt x="2515" y="1084"/>
                    </a:lnTo>
                    <a:lnTo>
                      <a:pt x="2519" y="1086"/>
                    </a:lnTo>
                    <a:lnTo>
                      <a:pt x="2524" y="1089"/>
                    </a:lnTo>
                    <a:lnTo>
                      <a:pt x="2533" y="1092"/>
                    </a:lnTo>
                    <a:lnTo>
                      <a:pt x="2544" y="1094"/>
                    </a:lnTo>
                    <a:lnTo>
                      <a:pt x="2555" y="1092"/>
                    </a:lnTo>
                    <a:lnTo>
                      <a:pt x="2566" y="1090"/>
                    </a:lnTo>
                    <a:lnTo>
                      <a:pt x="2579" y="1086"/>
                    </a:lnTo>
                    <a:lnTo>
                      <a:pt x="2591" y="1081"/>
                    </a:lnTo>
                    <a:lnTo>
                      <a:pt x="2617" y="1073"/>
                    </a:lnTo>
                    <a:lnTo>
                      <a:pt x="2644" y="1065"/>
                    </a:lnTo>
                    <a:lnTo>
                      <a:pt x="2657" y="1063"/>
                    </a:lnTo>
                    <a:lnTo>
                      <a:pt x="2670" y="1063"/>
                    </a:lnTo>
                    <a:lnTo>
                      <a:pt x="2684" y="1064"/>
                    </a:lnTo>
                    <a:lnTo>
                      <a:pt x="2696" y="1067"/>
                    </a:lnTo>
                    <a:lnTo>
                      <a:pt x="2705" y="1069"/>
                    </a:lnTo>
                    <a:lnTo>
                      <a:pt x="2713" y="1072"/>
                    </a:lnTo>
                    <a:lnTo>
                      <a:pt x="2723" y="1072"/>
                    </a:lnTo>
                    <a:lnTo>
                      <a:pt x="2733" y="1073"/>
                    </a:lnTo>
                    <a:lnTo>
                      <a:pt x="2752" y="1072"/>
                    </a:lnTo>
                    <a:lnTo>
                      <a:pt x="2773" y="1069"/>
                    </a:lnTo>
                    <a:lnTo>
                      <a:pt x="2794" y="1065"/>
                    </a:lnTo>
                    <a:lnTo>
                      <a:pt x="2815" y="1063"/>
                    </a:lnTo>
                    <a:lnTo>
                      <a:pt x="2836" y="1062"/>
                    </a:lnTo>
                    <a:lnTo>
                      <a:pt x="2855" y="1061"/>
                    </a:lnTo>
                    <a:lnTo>
                      <a:pt x="2861" y="1062"/>
                    </a:lnTo>
                    <a:lnTo>
                      <a:pt x="2868" y="1063"/>
                    </a:lnTo>
                    <a:lnTo>
                      <a:pt x="2872" y="1064"/>
                    </a:lnTo>
                    <a:lnTo>
                      <a:pt x="2877" y="1067"/>
                    </a:lnTo>
                    <a:lnTo>
                      <a:pt x="2887" y="1073"/>
                    </a:lnTo>
                    <a:lnTo>
                      <a:pt x="2897" y="1079"/>
                    </a:lnTo>
                    <a:lnTo>
                      <a:pt x="2907" y="1085"/>
                    </a:lnTo>
                    <a:lnTo>
                      <a:pt x="2918" y="1091"/>
                    </a:lnTo>
                    <a:lnTo>
                      <a:pt x="2924" y="1092"/>
                    </a:lnTo>
                    <a:lnTo>
                      <a:pt x="2931" y="1095"/>
                    </a:lnTo>
                    <a:lnTo>
                      <a:pt x="2939" y="1095"/>
                    </a:lnTo>
                    <a:lnTo>
                      <a:pt x="2946" y="1096"/>
                    </a:lnTo>
                    <a:lnTo>
                      <a:pt x="2963" y="1096"/>
                    </a:lnTo>
                    <a:lnTo>
                      <a:pt x="2976" y="1097"/>
                    </a:lnTo>
                    <a:lnTo>
                      <a:pt x="2989" y="1098"/>
                    </a:lnTo>
                    <a:lnTo>
                      <a:pt x="3000" y="1101"/>
                    </a:lnTo>
                    <a:lnTo>
                      <a:pt x="3008" y="1103"/>
                    </a:lnTo>
                    <a:lnTo>
                      <a:pt x="3017" y="1107"/>
                    </a:lnTo>
                    <a:lnTo>
                      <a:pt x="3024" y="1111"/>
                    </a:lnTo>
                    <a:lnTo>
                      <a:pt x="3030" y="1116"/>
                    </a:lnTo>
                    <a:lnTo>
                      <a:pt x="3043" y="1127"/>
                    </a:lnTo>
                    <a:lnTo>
                      <a:pt x="3056" y="1139"/>
                    </a:lnTo>
                    <a:lnTo>
                      <a:pt x="3072" y="1152"/>
                    </a:lnTo>
                    <a:lnTo>
                      <a:pt x="3094" y="1167"/>
                    </a:lnTo>
                    <a:lnTo>
                      <a:pt x="3104" y="1173"/>
                    </a:lnTo>
                    <a:lnTo>
                      <a:pt x="3114" y="1177"/>
                    </a:lnTo>
                    <a:lnTo>
                      <a:pt x="3122" y="1179"/>
                    </a:lnTo>
                    <a:lnTo>
                      <a:pt x="3131" y="1181"/>
                    </a:lnTo>
                    <a:lnTo>
                      <a:pt x="3147" y="1182"/>
                    </a:lnTo>
                    <a:lnTo>
                      <a:pt x="3161" y="1183"/>
                    </a:lnTo>
                    <a:lnTo>
                      <a:pt x="3169" y="1184"/>
                    </a:lnTo>
                    <a:lnTo>
                      <a:pt x="3177" y="1185"/>
                    </a:lnTo>
                    <a:lnTo>
                      <a:pt x="3186" y="1188"/>
                    </a:lnTo>
                    <a:lnTo>
                      <a:pt x="3194" y="1192"/>
                    </a:lnTo>
                    <a:lnTo>
                      <a:pt x="3203" y="1198"/>
                    </a:lnTo>
                    <a:lnTo>
                      <a:pt x="3213" y="1205"/>
                    </a:lnTo>
                    <a:lnTo>
                      <a:pt x="3224" y="1215"/>
                    </a:lnTo>
                    <a:lnTo>
                      <a:pt x="3235" y="1227"/>
                    </a:lnTo>
                    <a:lnTo>
                      <a:pt x="3248" y="1238"/>
                    </a:lnTo>
                    <a:lnTo>
                      <a:pt x="3259" y="1248"/>
                    </a:lnTo>
                    <a:lnTo>
                      <a:pt x="3268" y="1258"/>
                    </a:lnTo>
                    <a:lnTo>
                      <a:pt x="3274" y="1267"/>
                    </a:lnTo>
                    <a:lnTo>
                      <a:pt x="3286" y="1287"/>
                    </a:lnTo>
                    <a:lnTo>
                      <a:pt x="3303" y="1314"/>
                    </a:lnTo>
                    <a:lnTo>
                      <a:pt x="3311" y="1323"/>
                    </a:lnTo>
                    <a:lnTo>
                      <a:pt x="3319" y="1330"/>
                    </a:lnTo>
                    <a:lnTo>
                      <a:pt x="3329" y="1336"/>
                    </a:lnTo>
                    <a:lnTo>
                      <a:pt x="3340" y="1341"/>
                    </a:lnTo>
                    <a:lnTo>
                      <a:pt x="3352" y="1345"/>
                    </a:lnTo>
                    <a:lnTo>
                      <a:pt x="3366" y="1348"/>
                    </a:lnTo>
                    <a:lnTo>
                      <a:pt x="3379" y="1351"/>
                    </a:lnTo>
                    <a:lnTo>
                      <a:pt x="3394" y="1353"/>
                    </a:lnTo>
                    <a:lnTo>
                      <a:pt x="3422" y="1357"/>
                    </a:lnTo>
                    <a:lnTo>
                      <a:pt x="3450" y="1362"/>
                    </a:lnTo>
                    <a:lnTo>
                      <a:pt x="3464" y="1365"/>
                    </a:lnTo>
                    <a:lnTo>
                      <a:pt x="3477" y="1369"/>
                    </a:lnTo>
                    <a:lnTo>
                      <a:pt x="3489" y="1373"/>
                    </a:lnTo>
                    <a:lnTo>
                      <a:pt x="3500" y="1378"/>
                    </a:lnTo>
                    <a:lnTo>
                      <a:pt x="3799" y="1540"/>
                    </a:lnTo>
                    <a:lnTo>
                      <a:pt x="3820" y="1553"/>
                    </a:lnTo>
                    <a:lnTo>
                      <a:pt x="3837" y="1565"/>
                    </a:lnTo>
                    <a:lnTo>
                      <a:pt x="3852" y="1576"/>
                    </a:lnTo>
                    <a:lnTo>
                      <a:pt x="3864" y="1588"/>
                    </a:lnTo>
                    <a:lnTo>
                      <a:pt x="3885" y="1616"/>
                    </a:lnTo>
                    <a:lnTo>
                      <a:pt x="3909" y="1652"/>
                    </a:lnTo>
                    <a:lnTo>
                      <a:pt x="3914" y="1657"/>
                    </a:lnTo>
                    <a:lnTo>
                      <a:pt x="3920" y="1660"/>
                    </a:lnTo>
                    <a:lnTo>
                      <a:pt x="3928" y="1663"/>
                    </a:lnTo>
                    <a:lnTo>
                      <a:pt x="3936" y="1667"/>
                    </a:lnTo>
                    <a:lnTo>
                      <a:pt x="3957" y="1670"/>
                    </a:lnTo>
                    <a:lnTo>
                      <a:pt x="3980" y="1674"/>
                    </a:lnTo>
                    <a:lnTo>
                      <a:pt x="4003" y="1678"/>
                    </a:lnTo>
                    <a:lnTo>
                      <a:pt x="4027" y="1681"/>
                    </a:lnTo>
                    <a:lnTo>
                      <a:pt x="4038" y="1684"/>
                    </a:lnTo>
                    <a:lnTo>
                      <a:pt x="4047" y="1686"/>
                    </a:lnTo>
                    <a:lnTo>
                      <a:pt x="4057" y="1690"/>
                    </a:lnTo>
                    <a:lnTo>
                      <a:pt x="4065" y="1694"/>
                    </a:lnTo>
                    <a:lnTo>
                      <a:pt x="4066" y="1697"/>
                    </a:lnTo>
                    <a:lnTo>
                      <a:pt x="4068" y="1702"/>
                    </a:lnTo>
                    <a:lnTo>
                      <a:pt x="4073" y="1706"/>
                    </a:lnTo>
                    <a:lnTo>
                      <a:pt x="4078" y="1711"/>
                    </a:lnTo>
                    <a:lnTo>
                      <a:pt x="4089" y="1718"/>
                    </a:lnTo>
                    <a:lnTo>
                      <a:pt x="4099" y="1727"/>
                    </a:lnTo>
                    <a:lnTo>
                      <a:pt x="4109" y="1739"/>
                    </a:lnTo>
                    <a:lnTo>
                      <a:pt x="4116" y="1751"/>
                    </a:lnTo>
                    <a:lnTo>
                      <a:pt x="4122" y="1765"/>
                    </a:lnTo>
                    <a:lnTo>
                      <a:pt x="4128" y="1778"/>
                    </a:lnTo>
                    <a:lnTo>
                      <a:pt x="4134" y="1793"/>
                    </a:lnTo>
                    <a:lnTo>
                      <a:pt x="4139" y="1806"/>
                    </a:lnTo>
                    <a:lnTo>
                      <a:pt x="4147" y="1820"/>
                    </a:lnTo>
                    <a:lnTo>
                      <a:pt x="4154" y="1833"/>
                    </a:lnTo>
                    <a:lnTo>
                      <a:pt x="4159" y="1840"/>
                    </a:lnTo>
                    <a:lnTo>
                      <a:pt x="4165" y="1847"/>
                    </a:lnTo>
                    <a:lnTo>
                      <a:pt x="4172" y="1853"/>
                    </a:lnTo>
                    <a:lnTo>
                      <a:pt x="4180" y="1858"/>
                    </a:lnTo>
                    <a:lnTo>
                      <a:pt x="4197" y="1866"/>
                    </a:lnTo>
                    <a:lnTo>
                      <a:pt x="4214" y="1873"/>
                    </a:lnTo>
                    <a:lnTo>
                      <a:pt x="4232" y="1880"/>
                    </a:lnTo>
                    <a:lnTo>
                      <a:pt x="4252" y="1887"/>
                    </a:lnTo>
                    <a:lnTo>
                      <a:pt x="4269" y="1894"/>
                    </a:lnTo>
                    <a:lnTo>
                      <a:pt x="4286" y="1904"/>
                    </a:lnTo>
                    <a:lnTo>
                      <a:pt x="4301" y="1913"/>
                    </a:lnTo>
                    <a:lnTo>
                      <a:pt x="4314" y="1925"/>
                    </a:lnTo>
                    <a:lnTo>
                      <a:pt x="4328" y="1937"/>
                    </a:lnTo>
                    <a:lnTo>
                      <a:pt x="4341" y="1949"/>
                    </a:lnTo>
                    <a:lnTo>
                      <a:pt x="4367" y="1976"/>
                    </a:lnTo>
                    <a:lnTo>
                      <a:pt x="4393" y="2002"/>
                    </a:lnTo>
                    <a:lnTo>
                      <a:pt x="4394" y="2018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23"/>
              <p:cNvSpPr>
                <a:spLocks/>
              </p:cNvSpPr>
              <p:nvPr/>
            </p:nvSpPr>
            <p:spPr bwMode="auto">
              <a:xfrm>
                <a:off x="5041900" y="5447693"/>
                <a:ext cx="104775" cy="87313"/>
              </a:xfrm>
              <a:custGeom>
                <a:avLst/>
                <a:gdLst>
                  <a:gd name="T0" fmla="*/ 39 w 265"/>
                  <a:gd name="T1" fmla="*/ 205 h 221"/>
                  <a:gd name="T2" fmla="*/ 23 w 265"/>
                  <a:gd name="T3" fmla="*/ 197 h 221"/>
                  <a:gd name="T4" fmla="*/ 9 w 265"/>
                  <a:gd name="T5" fmla="*/ 189 h 221"/>
                  <a:gd name="T6" fmla="*/ 3 w 265"/>
                  <a:gd name="T7" fmla="*/ 178 h 221"/>
                  <a:gd name="T8" fmla="*/ 0 w 265"/>
                  <a:gd name="T9" fmla="*/ 169 h 221"/>
                  <a:gd name="T10" fmla="*/ 3 w 265"/>
                  <a:gd name="T11" fmla="*/ 152 h 221"/>
                  <a:gd name="T12" fmla="*/ 9 w 265"/>
                  <a:gd name="T13" fmla="*/ 129 h 221"/>
                  <a:gd name="T14" fmla="*/ 6 w 265"/>
                  <a:gd name="T15" fmla="*/ 98 h 221"/>
                  <a:gd name="T16" fmla="*/ 3 w 265"/>
                  <a:gd name="T17" fmla="*/ 71 h 221"/>
                  <a:gd name="T18" fmla="*/ 5 w 265"/>
                  <a:gd name="T19" fmla="*/ 54 h 221"/>
                  <a:gd name="T20" fmla="*/ 18 w 265"/>
                  <a:gd name="T21" fmla="*/ 37 h 221"/>
                  <a:gd name="T22" fmla="*/ 52 w 265"/>
                  <a:gd name="T23" fmla="*/ 14 h 221"/>
                  <a:gd name="T24" fmla="*/ 69 w 265"/>
                  <a:gd name="T25" fmla="*/ 2 h 221"/>
                  <a:gd name="T26" fmla="*/ 78 w 265"/>
                  <a:gd name="T27" fmla="*/ 2 h 221"/>
                  <a:gd name="T28" fmla="*/ 93 w 265"/>
                  <a:gd name="T29" fmla="*/ 11 h 221"/>
                  <a:gd name="T30" fmla="*/ 119 w 265"/>
                  <a:gd name="T31" fmla="*/ 20 h 221"/>
                  <a:gd name="T32" fmla="*/ 154 w 265"/>
                  <a:gd name="T33" fmla="*/ 21 h 221"/>
                  <a:gd name="T34" fmla="*/ 190 w 265"/>
                  <a:gd name="T35" fmla="*/ 20 h 221"/>
                  <a:gd name="T36" fmla="*/ 216 w 265"/>
                  <a:gd name="T37" fmla="*/ 20 h 221"/>
                  <a:gd name="T38" fmla="*/ 231 w 265"/>
                  <a:gd name="T39" fmla="*/ 24 h 221"/>
                  <a:gd name="T40" fmla="*/ 247 w 265"/>
                  <a:gd name="T41" fmla="*/ 31 h 221"/>
                  <a:gd name="T42" fmla="*/ 260 w 265"/>
                  <a:gd name="T43" fmla="*/ 46 h 221"/>
                  <a:gd name="T44" fmla="*/ 265 w 265"/>
                  <a:gd name="T45" fmla="*/ 59 h 221"/>
                  <a:gd name="T46" fmla="*/ 263 w 265"/>
                  <a:gd name="T47" fmla="*/ 68 h 221"/>
                  <a:gd name="T48" fmla="*/ 260 w 265"/>
                  <a:gd name="T49" fmla="*/ 75 h 221"/>
                  <a:gd name="T50" fmla="*/ 251 w 265"/>
                  <a:gd name="T51" fmla="*/ 81 h 221"/>
                  <a:gd name="T52" fmla="*/ 227 w 265"/>
                  <a:gd name="T53" fmla="*/ 89 h 221"/>
                  <a:gd name="T54" fmla="*/ 200 w 265"/>
                  <a:gd name="T55" fmla="*/ 102 h 221"/>
                  <a:gd name="T56" fmla="*/ 185 w 265"/>
                  <a:gd name="T57" fmla="*/ 113 h 221"/>
                  <a:gd name="T58" fmla="*/ 173 w 265"/>
                  <a:gd name="T59" fmla="*/ 129 h 221"/>
                  <a:gd name="T60" fmla="*/ 165 w 265"/>
                  <a:gd name="T61" fmla="*/ 148 h 221"/>
                  <a:gd name="T62" fmla="*/ 160 w 265"/>
                  <a:gd name="T63" fmla="*/ 167 h 221"/>
                  <a:gd name="T64" fmla="*/ 156 w 265"/>
                  <a:gd name="T65" fmla="*/ 185 h 221"/>
                  <a:gd name="T66" fmla="*/ 143 w 265"/>
                  <a:gd name="T67" fmla="*/ 204 h 221"/>
                  <a:gd name="T68" fmla="*/ 126 w 265"/>
                  <a:gd name="T69" fmla="*/ 216 h 221"/>
                  <a:gd name="T70" fmla="*/ 105 w 265"/>
                  <a:gd name="T71" fmla="*/ 221 h 221"/>
                  <a:gd name="T72" fmla="*/ 83 w 265"/>
                  <a:gd name="T73" fmla="*/ 221 h 221"/>
                  <a:gd name="T74" fmla="*/ 48 w 265"/>
                  <a:gd name="T75" fmla="*/ 207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5" h="221">
                    <a:moveTo>
                      <a:pt x="48" y="207"/>
                    </a:moveTo>
                    <a:lnTo>
                      <a:pt x="39" y="205"/>
                    </a:lnTo>
                    <a:lnTo>
                      <a:pt x="32" y="201"/>
                    </a:lnTo>
                    <a:lnTo>
                      <a:pt x="23" y="197"/>
                    </a:lnTo>
                    <a:lnTo>
                      <a:pt x="16" y="194"/>
                    </a:lnTo>
                    <a:lnTo>
                      <a:pt x="9" y="189"/>
                    </a:lnTo>
                    <a:lnTo>
                      <a:pt x="4" y="182"/>
                    </a:lnTo>
                    <a:lnTo>
                      <a:pt x="3" y="178"/>
                    </a:lnTo>
                    <a:lnTo>
                      <a:pt x="1" y="174"/>
                    </a:lnTo>
                    <a:lnTo>
                      <a:pt x="0" y="169"/>
                    </a:lnTo>
                    <a:lnTo>
                      <a:pt x="0" y="163"/>
                    </a:lnTo>
                    <a:lnTo>
                      <a:pt x="3" y="152"/>
                    </a:lnTo>
                    <a:lnTo>
                      <a:pt x="5" y="140"/>
                    </a:lnTo>
                    <a:lnTo>
                      <a:pt x="9" y="129"/>
                    </a:lnTo>
                    <a:lnTo>
                      <a:pt x="9" y="115"/>
                    </a:lnTo>
                    <a:lnTo>
                      <a:pt x="6" y="98"/>
                    </a:lnTo>
                    <a:lnTo>
                      <a:pt x="4" y="81"/>
                    </a:lnTo>
                    <a:lnTo>
                      <a:pt x="3" y="71"/>
                    </a:lnTo>
                    <a:lnTo>
                      <a:pt x="4" y="63"/>
                    </a:lnTo>
                    <a:lnTo>
                      <a:pt x="5" y="54"/>
                    </a:lnTo>
                    <a:lnTo>
                      <a:pt x="9" y="47"/>
                    </a:lnTo>
                    <a:lnTo>
                      <a:pt x="18" y="37"/>
                    </a:lnTo>
                    <a:lnTo>
                      <a:pt x="34" y="25"/>
                    </a:lnTo>
                    <a:lnTo>
                      <a:pt x="52" y="14"/>
                    </a:lnTo>
                    <a:lnTo>
                      <a:pt x="64" y="4"/>
                    </a:lnTo>
                    <a:lnTo>
                      <a:pt x="69" y="2"/>
                    </a:lnTo>
                    <a:lnTo>
                      <a:pt x="74" y="0"/>
                    </a:lnTo>
                    <a:lnTo>
                      <a:pt x="78" y="2"/>
                    </a:lnTo>
                    <a:lnTo>
                      <a:pt x="83" y="4"/>
                    </a:lnTo>
                    <a:lnTo>
                      <a:pt x="93" y="11"/>
                    </a:lnTo>
                    <a:lnTo>
                      <a:pt x="103" y="16"/>
                    </a:lnTo>
                    <a:lnTo>
                      <a:pt x="119" y="20"/>
                    </a:lnTo>
                    <a:lnTo>
                      <a:pt x="136" y="21"/>
                    </a:lnTo>
                    <a:lnTo>
                      <a:pt x="154" y="21"/>
                    </a:lnTo>
                    <a:lnTo>
                      <a:pt x="173" y="20"/>
                    </a:lnTo>
                    <a:lnTo>
                      <a:pt x="190" y="20"/>
                    </a:lnTo>
                    <a:lnTo>
                      <a:pt x="207" y="20"/>
                    </a:lnTo>
                    <a:lnTo>
                      <a:pt x="216" y="20"/>
                    </a:lnTo>
                    <a:lnTo>
                      <a:pt x="224" y="21"/>
                    </a:lnTo>
                    <a:lnTo>
                      <a:pt x="231" y="24"/>
                    </a:lnTo>
                    <a:lnTo>
                      <a:pt x="239" y="26"/>
                    </a:lnTo>
                    <a:lnTo>
                      <a:pt x="247" y="31"/>
                    </a:lnTo>
                    <a:lnTo>
                      <a:pt x="255" y="38"/>
                    </a:lnTo>
                    <a:lnTo>
                      <a:pt x="260" y="46"/>
                    </a:lnTo>
                    <a:lnTo>
                      <a:pt x="263" y="55"/>
                    </a:lnTo>
                    <a:lnTo>
                      <a:pt x="265" y="59"/>
                    </a:lnTo>
                    <a:lnTo>
                      <a:pt x="265" y="64"/>
                    </a:lnTo>
                    <a:lnTo>
                      <a:pt x="263" y="68"/>
                    </a:lnTo>
                    <a:lnTo>
                      <a:pt x="262" y="71"/>
                    </a:lnTo>
                    <a:lnTo>
                      <a:pt x="260" y="75"/>
                    </a:lnTo>
                    <a:lnTo>
                      <a:pt x="256" y="79"/>
                    </a:lnTo>
                    <a:lnTo>
                      <a:pt x="251" y="81"/>
                    </a:lnTo>
                    <a:lnTo>
                      <a:pt x="245" y="82"/>
                    </a:lnTo>
                    <a:lnTo>
                      <a:pt x="227" y="89"/>
                    </a:lnTo>
                    <a:lnTo>
                      <a:pt x="208" y="97"/>
                    </a:lnTo>
                    <a:lnTo>
                      <a:pt x="200" y="102"/>
                    </a:lnTo>
                    <a:lnTo>
                      <a:pt x="192" y="107"/>
                    </a:lnTo>
                    <a:lnTo>
                      <a:pt x="185" y="113"/>
                    </a:lnTo>
                    <a:lnTo>
                      <a:pt x="178" y="120"/>
                    </a:lnTo>
                    <a:lnTo>
                      <a:pt x="173" y="129"/>
                    </a:lnTo>
                    <a:lnTo>
                      <a:pt x="168" y="139"/>
                    </a:lnTo>
                    <a:lnTo>
                      <a:pt x="165" y="148"/>
                    </a:lnTo>
                    <a:lnTo>
                      <a:pt x="163" y="157"/>
                    </a:lnTo>
                    <a:lnTo>
                      <a:pt x="160" y="167"/>
                    </a:lnTo>
                    <a:lnTo>
                      <a:pt x="159" y="177"/>
                    </a:lnTo>
                    <a:lnTo>
                      <a:pt x="156" y="185"/>
                    </a:lnTo>
                    <a:lnTo>
                      <a:pt x="151" y="194"/>
                    </a:lnTo>
                    <a:lnTo>
                      <a:pt x="143" y="204"/>
                    </a:lnTo>
                    <a:lnTo>
                      <a:pt x="135" y="211"/>
                    </a:lnTo>
                    <a:lnTo>
                      <a:pt x="126" y="216"/>
                    </a:lnTo>
                    <a:lnTo>
                      <a:pt x="116" y="218"/>
                    </a:lnTo>
                    <a:lnTo>
                      <a:pt x="105" y="221"/>
                    </a:lnTo>
                    <a:lnTo>
                      <a:pt x="96" y="221"/>
                    </a:lnTo>
                    <a:lnTo>
                      <a:pt x="83" y="221"/>
                    </a:lnTo>
                    <a:lnTo>
                      <a:pt x="72" y="220"/>
                    </a:lnTo>
                    <a:lnTo>
                      <a:pt x="48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24"/>
              <p:cNvSpPr>
                <a:spLocks/>
              </p:cNvSpPr>
              <p:nvPr/>
            </p:nvSpPr>
            <p:spPr bwMode="auto">
              <a:xfrm>
                <a:off x="5053012" y="5690580"/>
                <a:ext cx="55563" cy="46038"/>
              </a:xfrm>
              <a:custGeom>
                <a:avLst/>
                <a:gdLst>
                  <a:gd name="T0" fmla="*/ 10 w 141"/>
                  <a:gd name="T1" fmla="*/ 101 h 115"/>
                  <a:gd name="T2" fmla="*/ 8 w 141"/>
                  <a:gd name="T3" fmla="*/ 93 h 115"/>
                  <a:gd name="T4" fmla="*/ 5 w 141"/>
                  <a:gd name="T5" fmla="*/ 85 h 115"/>
                  <a:gd name="T6" fmla="*/ 3 w 141"/>
                  <a:gd name="T7" fmla="*/ 76 h 115"/>
                  <a:gd name="T8" fmla="*/ 0 w 141"/>
                  <a:gd name="T9" fmla="*/ 66 h 115"/>
                  <a:gd name="T10" fmla="*/ 0 w 141"/>
                  <a:gd name="T11" fmla="*/ 57 h 115"/>
                  <a:gd name="T12" fmla="*/ 2 w 141"/>
                  <a:gd name="T13" fmla="*/ 47 h 115"/>
                  <a:gd name="T14" fmla="*/ 4 w 141"/>
                  <a:gd name="T15" fmla="*/ 43 h 115"/>
                  <a:gd name="T16" fmla="*/ 5 w 141"/>
                  <a:gd name="T17" fmla="*/ 39 h 115"/>
                  <a:gd name="T18" fmla="*/ 8 w 141"/>
                  <a:gd name="T19" fmla="*/ 36 h 115"/>
                  <a:gd name="T20" fmla="*/ 11 w 141"/>
                  <a:gd name="T21" fmla="*/ 32 h 115"/>
                  <a:gd name="T22" fmla="*/ 26 w 141"/>
                  <a:gd name="T23" fmla="*/ 21 h 115"/>
                  <a:gd name="T24" fmla="*/ 43 w 141"/>
                  <a:gd name="T25" fmla="*/ 10 h 115"/>
                  <a:gd name="T26" fmla="*/ 52 w 141"/>
                  <a:gd name="T27" fmla="*/ 6 h 115"/>
                  <a:gd name="T28" fmla="*/ 60 w 141"/>
                  <a:gd name="T29" fmla="*/ 3 h 115"/>
                  <a:gd name="T30" fmla="*/ 70 w 141"/>
                  <a:gd name="T31" fmla="*/ 2 h 115"/>
                  <a:gd name="T32" fmla="*/ 79 w 141"/>
                  <a:gd name="T33" fmla="*/ 0 h 115"/>
                  <a:gd name="T34" fmla="*/ 95 w 141"/>
                  <a:gd name="T35" fmla="*/ 2 h 115"/>
                  <a:gd name="T36" fmla="*/ 107 w 141"/>
                  <a:gd name="T37" fmla="*/ 3 h 115"/>
                  <a:gd name="T38" fmla="*/ 113 w 141"/>
                  <a:gd name="T39" fmla="*/ 4 h 115"/>
                  <a:gd name="T40" fmla="*/ 119 w 141"/>
                  <a:gd name="T41" fmla="*/ 6 h 115"/>
                  <a:gd name="T42" fmla="*/ 124 w 141"/>
                  <a:gd name="T43" fmla="*/ 8 h 115"/>
                  <a:gd name="T44" fmla="*/ 129 w 141"/>
                  <a:gd name="T45" fmla="*/ 11 h 115"/>
                  <a:gd name="T46" fmla="*/ 132 w 141"/>
                  <a:gd name="T47" fmla="*/ 14 h 115"/>
                  <a:gd name="T48" fmla="*/ 135 w 141"/>
                  <a:gd name="T49" fmla="*/ 19 h 115"/>
                  <a:gd name="T50" fmla="*/ 137 w 141"/>
                  <a:gd name="T51" fmla="*/ 22 h 115"/>
                  <a:gd name="T52" fmla="*/ 140 w 141"/>
                  <a:gd name="T53" fmla="*/ 28 h 115"/>
                  <a:gd name="T54" fmla="*/ 141 w 141"/>
                  <a:gd name="T55" fmla="*/ 33 h 115"/>
                  <a:gd name="T56" fmla="*/ 141 w 141"/>
                  <a:gd name="T57" fmla="*/ 41 h 115"/>
                  <a:gd name="T58" fmla="*/ 140 w 141"/>
                  <a:gd name="T59" fmla="*/ 48 h 115"/>
                  <a:gd name="T60" fmla="*/ 139 w 141"/>
                  <a:gd name="T61" fmla="*/ 57 h 115"/>
                  <a:gd name="T62" fmla="*/ 135 w 141"/>
                  <a:gd name="T63" fmla="*/ 65 h 115"/>
                  <a:gd name="T64" fmla="*/ 132 w 141"/>
                  <a:gd name="T65" fmla="*/ 73 h 115"/>
                  <a:gd name="T66" fmla="*/ 128 w 141"/>
                  <a:gd name="T67" fmla="*/ 79 h 115"/>
                  <a:gd name="T68" fmla="*/ 123 w 141"/>
                  <a:gd name="T69" fmla="*/ 85 h 115"/>
                  <a:gd name="T70" fmla="*/ 117 w 141"/>
                  <a:gd name="T71" fmla="*/ 91 h 115"/>
                  <a:gd name="T72" fmla="*/ 110 w 141"/>
                  <a:gd name="T73" fmla="*/ 96 h 115"/>
                  <a:gd name="T74" fmla="*/ 103 w 141"/>
                  <a:gd name="T75" fmla="*/ 99 h 115"/>
                  <a:gd name="T76" fmla="*/ 96 w 141"/>
                  <a:gd name="T77" fmla="*/ 104 h 115"/>
                  <a:gd name="T78" fmla="*/ 80 w 141"/>
                  <a:gd name="T79" fmla="*/ 109 h 115"/>
                  <a:gd name="T80" fmla="*/ 63 w 141"/>
                  <a:gd name="T81" fmla="*/ 113 h 115"/>
                  <a:gd name="T82" fmla="*/ 46 w 141"/>
                  <a:gd name="T83" fmla="*/ 115 h 115"/>
                  <a:gd name="T84" fmla="*/ 30 w 141"/>
                  <a:gd name="T85" fmla="*/ 114 h 115"/>
                  <a:gd name="T86" fmla="*/ 10 w 141"/>
                  <a:gd name="T87" fmla="*/ 10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1" h="115">
                    <a:moveTo>
                      <a:pt x="10" y="101"/>
                    </a:moveTo>
                    <a:lnTo>
                      <a:pt x="8" y="93"/>
                    </a:lnTo>
                    <a:lnTo>
                      <a:pt x="5" y="85"/>
                    </a:lnTo>
                    <a:lnTo>
                      <a:pt x="3" y="76"/>
                    </a:lnTo>
                    <a:lnTo>
                      <a:pt x="0" y="66"/>
                    </a:lnTo>
                    <a:lnTo>
                      <a:pt x="0" y="57"/>
                    </a:lnTo>
                    <a:lnTo>
                      <a:pt x="2" y="47"/>
                    </a:lnTo>
                    <a:lnTo>
                      <a:pt x="4" y="43"/>
                    </a:lnTo>
                    <a:lnTo>
                      <a:pt x="5" y="39"/>
                    </a:lnTo>
                    <a:lnTo>
                      <a:pt x="8" y="36"/>
                    </a:lnTo>
                    <a:lnTo>
                      <a:pt x="11" y="32"/>
                    </a:lnTo>
                    <a:lnTo>
                      <a:pt x="26" y="21"/>
                    </a:lnTo>
                    <a:lnTo>
                      <a:pt x="43" y="10"/>
                    </a:lnTo>
                    <a:lnTo>
                      <a:pt x="52" y="6"/>
                    </a:lnTo>
                    <a:lnTo>
                      <a:pt x="60" y="3"/>
                    </a:lnTo>
                    <a:lnTo>
                      <a:pt x="70" y="2"/>
                    </a:lnTo>
                    <a:lnTo>
                      <a:pt x="79" y="0"/>
                    </a:lnTo>
                    <a:lnTo>
                      <a:pt x="95" y="2"/>
                    </a:lnTo>
                    <a:lnTo>
                      <a:pt x="107" y="3"/>
                    </a:lnTo>
                    <a:lnTo>
                      <a:pt x="113" y="4"/>
                    </a:lnTo>
                    <a:lnTo>
                      <a:pt x="119" y="6"/>
                    </a:lnTo>
                    <a:lnTo>
                      <a:pt x="124" y="8"/>
                    </a:lnTo>
                    <a:lnTo>
                      <a:pt x="129" y="11"/>
                    </a:lnTo>
                    <a:lnTo>
                      <a:pt x="132" y="14"/>
                    </a:lnTo>
                    <a:lnTo>
                      <a:pt x="135" y="19"/>
                    </a:lnTo>
                    <a:lnTo>
                      <a:pt x="137" y="22"/>
                    </a:lnTo>
                    <a:lnTo>
                      <a:pt x="140" y="28"/>
                    </a:lnTo>
                    <a:lnTo>
                      <a:pt x="141" y="33"/>
                    </a:lnTo>
                    <a:lnTo>
                      <a:pt x="141" y="41"/>
                    </a:lnTo>
                    <a:lnTo>
                      <a:pt x="140" y="48"/>
                    </a:lnTo>
                    <a:lnTo>
                      <a:pt x="139" y="57"/>
                    </a:lnTo>
                    <a:lnTo>
                      <a:pt x="135" y="65"/>
                    </a:lnTo>
                    <a:lnTo>
                      <a:pt x="132" y="73"/>
                    </a:lnTo>
                    <a:lnTo>
                      <a:pt x="128" y="79"/>
                    </a:lnTo>
                    <a:lnTo>
                      <a:pt x="123" y="85"/>
                    </a:lnTo>
                    <a:lnTo>
                      <a:pt x="117" y="91"/>
                    </a:lnTo>
                    <a:lnTo>
                      <a:pt x="110" y="96"/>
                    </a:lnTo>
                    <a:lnTo>
                      <a:pt x="103" y="99"/>
                    </a:lnTo>
                    <a:lnTo>
                      <a:pt x="96" y="104"/>
                    </a:lnTo>
                    <a:lnTo>
                      <a:pt x="80" y="109"/>
                    </a:lnTo>
                    <a:lnTo>
                      <a:pt x="63" y="113"/>
                    </a:lnTo>
                    <a:lnTo>
                      <a:pt x="46" y="115"/>
                    </a:lnTo>
                    <a:lnTo>
                      <a:pt x="30" y="114"/>
                    </a:lnTo>
                    <a:lnTo>
                      <a:pt x="10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25"/>
              <p:cNvSpPr>
                <a:spLocks/>
              </p:cNvSpPr>
              <p:nvPr/>
            </p:nvSpPr>
            <p:spPr bwMode="auto">
              <a:xfrm>
                <a:off x="3976687" y="5774718"/>
                <a:ext cx="1576388" cy="1057275"/>
              </a:xfrm>
              <a:custGeom>
                <a:avLst/>
                <a:gdLst>
                  <a:gd name="T0" fmla="*/ 3329 w 3973"/>
                  <a:gd name="T1" fmla="*/ 134 h 2664"/>
                  <a:gd name="T2" fmla="*/ 3601 w 3973"/>
                  <a:gd name="T3" fmla="*/ 119 h 2664"/>
                  <a:gd name="T4" fmla="*/ 3778 w 3973"/>
                  <a:gd name="T5" fmla="*/ 53 h 2664"/>
                  <a:gd name="T6" fmla="*/ 3929 w 3973"/>
                  <a:gd name="T7" fmla="*/ 103 h 2664"/>
                  <a:gd name="T8" fmla="*/ 3774 w 3973"/>
                  <a:gd name="T9" fmla="*/ 231 h 2664"/>
                  <a:gd name="T10" fmla="*/ 3606 w 3973"/>
                  <a:gd name="T11" fmla="*/ 294 h 2664"/>
                  <a:gd name="T12" fmla="*/ 3358 w 3973"/>
                  <a:gd name="T13" fmla="*/ 416 h 2664"/>
                  <a:gd name="T14" fmla="*/ 3186 w 3973"/>
                  <a:gd name="T15" fmla="*/ 360 h 2664"/>
                  <a:gd name="T16" fmla="*/ 2892 w 3973"/>
                  <a:gd name="T17" fmla="*/ 482 h 2664"/>
                  <a:gd name="T18" fmla="*/ 2717 w 3973"/>
                  <a:gd name="T19" fmla="*/ 661 h 2664"/>
                  <a:gd name="T20" fmla="*/ 2491 w 3973"/>
                  <a:gd name="T21" fmla="*/ 692 h 2664"/>
                  <a:gd name="T22" fmla="*/ 2340 w 3973"/>
                  <a:gd name="T23" fmla="*/ 747 h 2664"/>
                  <a:gd name="T24" fmla="*/ 2128 w 3973"/>
                  <a:gd name="T25" fmla="*/ 730 h 2664"/>
                  <a:gd name="T26" fmla="*/ 1859 w 3973"/>
                  <a:gd name="T27" fmla="*/ 710 h 2664"/>
                  <a:gd name="T28" fmla="*/ 1827 w 3973"/>
                  <a:gd name="T29" fmla="*/ 895 h 2664"/>
                  <a:gd name="T30" fmla="*/ 1767 w 3973"/>
                  <a:gd name="T31" fmla="*/ 1032 h 2664"/>
                  <a:gd name="T32" fmla="*/ 1844 w 3973"/>
                  <a:gd name="T33" fmla="*/ 1073 h 2664"/>
                  <a:gd name="T34" fmla="*/ 1872 w 3973"/>
                  <a:gd name="T35" fmla="*/ 1233 h 2664"/>
                  <a:gd name="T36" fmla="*/ 1761 w 3973"/>
                  <a:gd name="T37" fmla="*/ 1217 h 2664"/>
                  <a:gd name="T38" fmla="*/ 1527 w 3973"/>
                  <a:gd name="T39" fmla="*/ 1271 h 2664"/>
                  <a:gd name="T40" fmla="*/ 1149 w 3973"/>
                  <a:gd name="T41" fmla="*/ 1253 h 2664"/>
                  <a:gd name="T42" fmla="*/ 983 w 3973"/>
                  <a:gd name="T43" fmla="*/ 1396 h 2664"/>
                  <a:gd name="T44" fmla="*/ 691 w 3973"/>
                  <a:gd name="T45" fmla="*/ 1543 h 2664"/>
                  <a:gd name="T46" fmla="*/ 684 w 3973"/>
                  <a:gd name="T47" fmla="*/ 1693 h 2664"/>
                  <a:gd name="T48" fmla="*/ 615 w 3973"/>
                  <a:gd name="T49" fmla="*/ 1904 h 2664"/>
                  <a:gd name="T50" fmla="*/ 552 w 3973"/>
                  <a:gd name="T51" fmla="*/ 2214 h 2664"/>
                  <a:gd name="T52" fmla="*/ 705 w 3973"/>
                  <a:gd name="T53" fmla="*/ 2365 h 2664"/>
                  <a:gd name="T54" fmla="*/ 580 w 3973"/>
                  <a:gd name="T55" fmla="*/ 2519 h 2664"/>
                  <a:gd name="T56" fmla="*/ 264 w 3973"/>
                  <a:gd name="T57" fmla="*/ 2545 h 2664"/>
                  <a:gd name="T58" fmla="*/ 155 w 3973"/>
                  <a:gd name="T59" fmla="*/ 2640 h 2664"/>
                  <a:gd name="T60" fmla="*/ 1 w 3973"/>
                  <a:gd name="T61" fmla="*/ 2634 h 2664"/>
                  <a:gd name="T62" fmla="*/ 54 w 3973"/>
                  <a:gd name="T63" fmla="*/ 2481 h 2664"/>
                  <a:gd name="T64" fmla="*/ 95 w 3973"/>
                  <a:gd name="T65" fmla="*/ 2236 h 2664"/>
                  <a:gd name="T66" fmla="*/ 211 w 3973"/>
                  <a:gd name="T67" fmla="*/ 2002 h 2664"/>
                  <a:gd name="T68" fmla="*/ 308 w 3973"/>
                  <a:gd name="T69" fmla="*/ 1790 h 2664"/>
                  <a:gd name="T70" fmla="*/ 200 w 3973"/>
                  <a:gd name="T71" fmla="*/ 1627 h 2664"/>
                  <a:gd name="T72" fmla="*/ 220 w 3973"/>
                  <a:gd name="T73" fmla="*/ 1463 h 2664"/>
                  <a:gd name="T74" fmla="*/ 372 w 3973"/>
                  <a:gd name="T75" fmla="*/ 1517 h 2664"/>
                  <a:gd name="T76" fmla="*/ 498 w 3973"/>
                  <a:gd name="T77" fmla="*/ 1426 h 2664"/>
                  <a:gd name="T78" fmla="*/ 591 w 3973"/>
                  <a:gd name="T79" fmla="*/ 1335 h 2664"/>
                  <a:gd name="T80" fmla="*/ 749 w 3973"/>
                  <a:gd name="T81" fmla="*/ 1402 h 2664"/>
                  <a:gd name="T82" fmla="*/ 1009 w 3973"/>
                  <a:gd name="T83" fmla="*/ 1178 h 2664"/>
                  <a:gd name="T84" fmla="*/ 1056 w 3973"/>
                  <a:gd name="T85" fmla="*/ 981 h 2664"/>
                  <a:gd name="T86" fmla="*/ 1001 w 3973"/>
                  <a:gd name="T87" fmla="*/ 769 h 2664"/>
                  <a:gd name="T88" fmla="*/ 1035 w 3973"/>
                  <a:gd name="T89" fmla="*/ 629 h 2664"/>
                  <a:gd name="T90" fmla="*/ 1084 w 3973"/>
                  <a:gd name="T91" fmla="*/ 446 h 2664"/>
                  <a:gd name="T92" fmla="*/ 1068 w 3973"/>
                  <a:gd name="T93" fmla="*/ 165 h 2664"/>
                  <a:gd name="T94" fmla="*/ 958 w 3973"/>
                  <a:gd name="T95" fmla="*/ 22 h 2664"/>
                  <a:gd name="T96" fmla="*/ 1129 w 3973"/>
                  <a:gd name="T97" fmla="*/ 77 h 2664"/>
                  <a:gd name="T98" fmla="*/ 1341 w 3973"/>
                  <a:gd name="T99" fmla="*/ 70 h 2664"/>
                  <a:gd name="T100" fmla="*/ 1563 w 3973"/>
                  <a:gd name="T101" fmla="*/ 70 h 2664"/>
                  <a:gd name="T102" fmla="*/ 1740 w 3973"/>
                  <a:gd name="T103" fmla="*/ 249 h 2664"/>
                  <a:gd name="T104" fmla="*/ 1956 w 3973"/>
                  <a:gd name="T105" fmla="*/ 223 h 2664"/>
                  <a:gd name="T106" fmla="*/ 2067 w 3973"/>
                  <a:gd name="T107" fmla="*/ 309 h 2664"/>
                  <a:gd name="T108" fmla="*/ 2043 w 3973"/>
                  <a:gd name="T109" fmla="*/ 519 h 2664"/>
                  <a:gd name="T110" fmla="*/ 2304 w 3973"/>
                  <a:gd name="T111" fmla="*/ 486 h 2664"/>
                  <a:gd name="T112" fmla="*/ 2564 w 3973"/>
                  <a:gd name="T113" fmla="*/ 453 h 2664"/>
                  <a:gd name="T114" fmla="*/ 2887 w 3973"/>
                  <a:gd name="T115" fmla="*/ 436 h 2664"/>
                  <a:gd name="T116" fmla="*/ 2778 w 3973"/>
                  <a:gd name="T117" fmla="*/ 349 h 2664"/>
                  <a:gd name="T118" fmla="*/ 2798 w 3973"/>
                  <a:gd name="T119" fmla="*/ 196 h 2664"/>
                  <a:gd name="T120" fmla="*/ 3079 w 3973"/>
                  <a:gd name="T121" fmla="*/ 74 h 2664"/>
                  <a:gd name="T122" fmla="*/ 3025 w 3973"/>
                  <a:gd name="T123" fmla="*/ 251 h 2664"/>
                  <a:gd name="T124" fmla="*/ 3095 w 3973"/>
                  <a:gd name="T125" fmla="*/ 307 h 2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73" h="2664">
                    <a:moveTo>
                      <a:pt x="3095" y="307"/>
                    </a:moveTo>
                    <a:lnTo>
                      <a:pt x="3105" y="299"/>
                    </a:lnTo>
                    <a:lnTo>
                      <a:pt x="3115" y="293"/>
                    </a:lnTo>
                    <a:lnTo>
                      <a:pt x="3126" y="285"/>
                    </a:lnTo>
                    <a:lnTo>
                      <a:pt x="3136" y="280"/>
                    </a:lnTo>
                    <a:lnTo>
                      <a:pt x="3158" y="271"/>
                    </a:lnTo>
                    <a:lnTo>
                      <a:pt x="3180" y="261"/>
                    </a:lnTo>
                    <a:lnTo>
                      <a:pt x="3200" y="252"/>
                    </a:lnTo>
                    <a:lnTo>
                      <a:pt x="3220" y="241"/>
                    </a:lnTo>
                    <a:lnTo>
                      <a:pt x="3230" y="235"/>
                    </a:lnTo>
                    <a:lnTo>
                      <a:pt x="3238" y="229"/>
                    </a:lnTo>
                    <a:lnTo>
                      <a:pt x="3247" y="222"/>
                    </a:lnTo>
                    <a:lnTo>
                      <a:pt x="3254" y="213"/>
                    </a:lnTo>
                    <a:lnTo>
                      <a:pt x="3278" y="180"/>
                    </a:lnTo>
                    <a:lnTo>
                      <a:pt x="3300" y="151"/>
                    </a:lnTo>
                    <a:lnTo>
                      <a:pt x="3306" y="145"/>
                    </a:lnTo>
                    <a:lnTo>
                      <a:pt x="3313" y="140"/>
                    </a:lnTo>
                    <a:lnTo>
                      <a:pt x="3320" y="136"/>
                    </a:lnTo>
                    <a:lnTo>
                      <a:pt x="3329" y="134"/>
                    </a:lnTo>
                    <a:lnTo>
                      <a:pt x="3338" y="132"/>
                    </a:lnTo>
                    <a:lnTo>
                      <a:pt x="3349" y="132"/>
                    </a:lnTo>
                    <a:lnTo>
                      <a:pt x="3360" y="134"/>
                    </a:lnTo>
                    <a:lnTo>
                      <a:pt x="3372" y="136"/>
                    </a:lnTo>
                    <a:lnTo>
                      <a:pt x="3385" y="140"/>
                    </a:lnTo>
                    <a:lnTo>
                      <a:pt x="3399" y="140"/>
                    </a:lnTo>
                    <a:lnTo>
                      <a:pt x="3412" y="138"/>
                    </a:lnTo>
                    <a:lnTo>
                      <a:pt x="3427" y="136"/>
                    </a:lnTo>
                    <a:lnTo>
                      <a:pt x="3455" y="126"/>
                    </a:lnTo>
                    <a:lnTo>
                      <a:pt x="3484" y="116"/>
                    </a:lnTo>
                    <a:lnTo>
                      <a:pt x="3499" y="112"/>
                    </a:lnTo>
                    <a:lnTo>
                      <a:pt x="3514" y="108"/>
                    </a:lnTo>
                    <a:lnTo>
                      <a:pt x="3530" y="105"/>
                    </a:lnTo>
                    <a:lnTo>
                      <a:pt x="3544" y="104"/>
                    </a:lnTo>
                    <a:lnTo>
                      <a:pt x="3560" y="105"/>
                    </a:lnTo>
                    <a:lnTo>
                      <a:pt x="3576" y="109"/>
                    </a:lnTo>
                    <a:lnTo>
                      <a:pt x="3585" y="112"/>
                    </a:lnTo>
                    <a:lnTo>
                      <a:pt x="3592" y="115"/>
                    </a:lnTo>
                    <a:lnTo>
                      <a:pt x="3601" y="119"/>
                    </a:lnTo>
                    <a:lnTo>
                      <a:pt x="3608" y="124"/>
                    </a:lnTo>
                    <a:lnTo>
                      <a:pt x="3621" y="132"/>
                    </a:lnTo>
                    <a:lnTo>
                      <a:pt x="3634" y="141"/>
                    </a:lnTo>
                    <a:lnTo>
                      <a:pt x="3647" y="148"/>
                    </a:lnTo>
                    <a:lnTo>
                      <a:pt x="3662" y="153"/>
                    </a:lnTo>
                    <a:lnTo>
                      <a:pt x="3669" y="156"/>
                    </a:lnTo>
                    <a:lnTo>
                      <a:pt x="3677" y="157"/>
                    </a:lnTo>
                    <a:lnTo>
                      <a:pt x="3684" y="157"/>
                    </a:lnTo>
                    <a:lnTo>
                      <a:pt x="3691" y="157"/>
                    </a:lnTo>
                    <a:lnTo>
                      <a:pt x="3699" y="156"/>
                    </a:lnTo>
                    <a:lnTo>
                      <a:pt x="3706" y="153"/>
                    </a:lnTo>
                    <a:lnTo>
                      <a:pt x="3713" y="149"/>
                    </a:lnTo>
                    <a:lnTo>
                      <a:pt x="3721" y="145"/>
                    </a:lnTo>
                    <a:lnTo>
                      <a:pt x="3733" y="124"/>
                    </a:lnTo>
                    <a:lnTo>
                      <a:pt x="3749" y="89"/>
                    </a:lnTo>
                    <a:lnTo>
                      <a:pt x="3759" y="72"/>
                    </a:lnTo>
                    <a:lnTo>
                      <a:pt x="3768" y="60"/>
                    </a:lnTo>
                    <a:lnTo>
                      <a:pt x="3773" y="55"/>
                    </a:lnTo>
                    <a:lnTo>
                      <a:pt x="3778" y="53"/>
                    </a:lnTo>
                    <a:lnTo>
                      <a:pt x="3783" y="53"/>
                    </a:lnTo>
                    <a:lnTo>
                      <a:pt x="3788" y="55"/>
                    </a:lnTo>
                    <a:lnTo>
                      <a:pt x="3800" y="59"/>
                    </a:lnTo>
                    <a:lnTo>
                      <a:pt x="3816" y="67"/>
                    </a:lnTo>
                    <a:lnTo>
                      <a:pt x="3828" y="69"/>
                    </a:lnTo>
                    <a:lnTo>
                      <a:pt x="3849" y="67"/>
                    </a:lnTo>
                    <a:lnTo>
                      <a:pt x="3874" y="66"/>
                    </a:lnTo>
                    <a:lnTo>
                      <a:pt x="3901" y="64"/>
                    </a:lnTo>
                    <a:lnTo>
                      <a:pt x="3927" y="63"/>
                    </a:lnTo>
                    <a:lnTo>
                      <a:pt x="3950" y="63"/>
                    </a:lnTo>
                    <a:lnTo>
                      <a:pt x="3959" y="64"/>
                    </a:lnTo>
                    <a:lnTo>
                      <a:pt x="3965" y="65"/>
                    </a:lnTo>
                    <a:lnTo>
                      <a:pt x="3970" y="67"/>
                    </a:lnTo>
                    <a:lnTo>
                      <a:pt x="3973" y="70"/>
                    </a:lnTo>
                    <a:lnTo>
                      <a:pt x="3964" y="74"/>
                    </a:lnTo>
                    <a:lnTo>
                      <a:pt x="3956" y="78"/>
                    </a:lnTo>
                    <a:lnTo>
                      <a:pt x="3948" y="83"/>
                    </a:lnTo>
                    <a:lnTo>
                      <a:pt x="3941" y="89"/>
                    </a:lnTo>
                    <a:lnTo>
                      <a:pt x="3929" y="103"/>
                    </a:lnTo>
                    <a:lnTo>
                      <a:pt x="3916" y="118"/>
                    </a:lnTo>
                    <a:lnTo>
                      <a:pt x="3905" y="134"/>
                    </a:lnTo>
                    <a:lnTo>
                      <a:pt x="3894" y="149"/>
                    </a:lnTo>
                    <a:lnTo>
                      <a:pt x="3883" y="163"/>
                    </a:lnTo>
                    <a:lnTo>
                      <a:pt x="3871" y="175"/>
                    </a:lnTo>
                    <a:lnTo>
                      <a:pt x="3866" y="179"/>
                    </a:lnTo>
                    <a:lnTo>
                      <a:pt x="3860" y="181"/>
                    </a:lnTo>
                    <a:lnTo>
                      <a:pt x="3853" y="183"/>
                    </a:lnTo>
                    <a:lnTo>
                      <a:pt x="3847" y="184"/>
                    </a:lnTo>
                    <a:lnTo>
                      <a:pt x="3831" y="185"/>
                    </a:lnTo>
                    <a:lnTo>
                      <a:pt x="3816" y="185"/>
                    </a:lnTo>
                    <a:lnTo>
                      <a:pt x="3801" y="186"/>
                    </a:lnTo>
                    <a:lnTo>
                      <a:pt x="3790" y="189"/>
                    </a:lnTo>
                    <a:lnTo>
                      <a:pt x="3786" y="191"/>
                    </a:lnTo>
                    <a:lnTo>
                      <a:pt x="3782" y="195"/>
                    </a:lnTo>
                    <a:lnTo>
                      <a:pt x="3779" y="200"/>
                    </a:lnTo>
                    <a:lnTo>
                      <a:pt x="3778" y="206"/>
                    </a:lnTo>
                    <a:lnTo>
                      <a:pt x="3777" y="218"/>
                    </a:lnTo>
                    <a:lnTo>
                      <a:pt x="3774" y="231"/>
                    </a:lnTo>
                    <a:lnTo>
                      <a:pt x="3771" y="244"/>
                    </a:lnTo>
                    <a:lnTo>
                      <a:pt x="3767" y="255"/>
                    </a:lnTo>
                    <a:lnTo>
                      <a:pt x="3762" y="266"/>
                    </a:lnTo>
                    <a:lnTo>
                      <a:pt x="3756" y="276"/>
                    </a:lnTo>
                    <a:lnTo>
                      <a:pt x="3749" y="284"/>
                    </a:lnTo>
                    <a:lnTo>
                      <a:pt x="3741" y="291"/>
                    </a:lnTo>
                    <a:lnTo>
                      <a:pt x="3734" y="298"/>
                    </a:lnTo>
                    <a:lnTo>
                      <a:pt x="3724" y="302"/>
                    </a:lnTo>
                    <a:lnTo>
                      <a:pt x="3716" y="306"/>
                    </a:lnTo>
                    <a:lnTo>
                      <a:pt x="3705" y="309"/>
                    </a:lnTo>
                    <a:lnTo>
                      <a:pt x="3695" y="309"/>
                    </a:lnTo>
                    <a:lnTo>
                      <a:pt x="3684" y="307"/>
                    </a:lnTo>
                    <a:lnTo>
                      <a:pt x="3672" y="304"/>
                    </a:lnTo>
                    <a:lnTo>
                      <a:pt x="3659" y="298"/>
                    </a:lnTo>
                    <a:lnTo>
                      <a:pt x="3648" y="293"/>
                    </a:lnTo>
                    <a:lnTo>
                      <a:pt x="3636" y="289"/>
                    </a:lnTo>
                    <a:lnTo>
                      <a:pt x="3625" y="289"/>
                    </a:lnTo>
                    <a:lnTo>
                      <a:pt x="3615" y="290"/>
                    </a:lnTo>
                    <a:lnTo>
                      <a:pt x="3606" y="294"/>
                    </a:lnTo>
                    <a:lnTo>
                      <a:pt x="3595" y="298"/>
                    </a:lnTo>
                    <a:lnTo>
                      <a:pt x="3585" y="304"/>
                    </a:lnTo>
                    <a:lnTo>
                      <a:pt x="3575" y="310"/>
                    </a:lnTo>
                    <a:lnTo>
                      <a:pt x="3555" y="323"/>
                    </a:lnTo>
                    <a:lnTo>
                      <a:pt x="3536" y="338"/>
                    </a:lnTo>
                    <a:lnTo>
                      <a:pt x="3525" y="344"/>
                    </a:lnTo>
                    <a:lnTo>
                      <a:pt x="3514" y="349"/>
                    </a:lnTo>
                    <a:lnTo>
                      <a:pt x="3503" y="353"/>
                    </a:lnTo>
                    <a:lnTo>
                      <a:pt x="3492" y="356"/>
                    </a:lnTo>
                    <a:lnTo>
                      <a:pt x="3470" y="360"/>
                    </a:lnTo>
                    <a:lnTo>
                      <a:pt x="3453" y="366"/>
                    </a:lnTo>
                    <a:lnTo>
                      <a:pt x="3439" y="372"/>
                    </a:lnTo>
                    <a:lnTo>
                      <a:pt x="3428" y="380"/>
                    </a:lnTo>
                    <a:lnTo>
                      <a:pt x="3417" y="388"/>
                    </a:lnTo>
                    <a:lnTo>
                      <a:pt x="3405" y="396"/>
                    </a:lnTo>
                    <a:lnTo>
                      <a:pt x="3391" y="404"/>
                    </a:lnTo>
                    <a:lnTo>
                      <a:pt x="3373" y="411"/>
                    </a:lnTo>
                    <a:lnTo>
                      <a:pt x="3366" y="414"/>
                    </a:lnTo>
                    <a:lnTo>
                      <a:pt x="3358" y="416"/>
                    </a:lnTo>
                    <a:lnTo>
                      <a:pt x="3352" y="416"/>
                    </a:lnTo>
                    <a:lnTo>
                      <a:pt x="3345" y="416"/>
                    </a:lnTo>
                    <a:lnTo>
                      <a:pt x="3333" y="415"/>
                    </a:lnTo>
                    <a:lnTo>
                      <a:pt x="3320" y="410"/>
                    </a:lnTo>
                    <a:lnTo>
                      <a:pt x="3309" y="404"/>
                    </a:lnTo>
                    <a:lnTo>
                      <a:pt x="3298" y="397"/>
                    </a:lnTo>
                    <a:lnTo>
                      <a:pt x="3287" y="388"/>
                    </a:lnTo>
                    <a:lnTo>
                      <a:pt x="3278" y="380"/>
                    </a:lnTo>
                    <a:lnTo>
                      <a:pt x="3267" y="372"/>
                    </a:lnTo>
                    <a:lnTo>
                      <a:pt x="3256" y="364"/>
                    </a:lnTo>
                    <a:lnTo>
                      <a:pt x="3245" y="358"/>
                    </a:lnTo>
                    <a:lnTo>
                      <a:pt x="3233" y="354"/>
                    </a:lnTo>
                    <a:lnTo>
                      <a:pt x="3227" y="353"/>
                    </a:lnTo>
                    <a:lnTo>
                      <a:pt x="3221" y="351"/>
                    </a:lnTo>
                    <a:lnTo>
                      <a:pt x="3214" y="351"/>
                    </a:lnTo>
                    <a:lnTo>
                      <a:pt x="3208" y="353"/>
                    </a:lnTo>
                    <a:lnTo>
                      <a:pt x="3200" y="354"/>
                    </a:lnTo>
                    <a:lnTo>
                      <a:pt x="3193" y="356"/>
                    </a:lnTo>
                    <a:lnTo>
                      <a:pt x="3186" y="360"/>
                    </a:lnTo>
                    <a:lnTo>
                      <a:pt x="3178" y="364"/>
                    </a:lnTo>
                    <a:lnTo>
                      <a:pt x="3165" y="371"/>
                    </a:lnTo>
                    <a:lnTo>
                      <a:pt x="3153" y="376"/>
                    </a:lnTo>
                    <a:lnTo>
                      <a:pt x="3140" y="381"/>
                    </a:lnTo>
                    <a:lnTo>
                      <a:pt x="3127" y="383"/>
                    </a:lnTo>
                    <a:lnTo>
                      <a:pt x="3101" y="387"/>
                    </a:lnTo>
                    <a:lnTo>
                      <a:pt x="3076" y="389"/>
                    </a:lnTo>
                    <a:lnTo>
                      <a:pt x="3049" y="392"/>
                    </a:lnTo>
                    <a:lnTo>
                      <a:pt x="3022" y="396"/>
                    </a:lnTo>
                    <a:lnTo>
                      <a:pt x="3008" y="399"/>
                    </a:lnTo>
                    <a:lnTo>
                      <a:pt x="2995" y="403"/>
                    </a:lnTo>
                    <a:lnTo>
                      <a:pt x="2980" y="409"/>
                    </a:lnTo>
                    <a:lnTo>
                      <a:pt x="2967" y="416"/>
                    </a:lnTo>
                    <a:lnTo>
                      <a:pt x="2959" y="426"/>
                    </a:lnTo>
                    <a:lnTo>
                      <a:pt x="2951" y="435"/>
                    </a:lnTo>
                    <a:lnTo>
                      <a:pt x="2942" y="443"/>
                    </a:lnTo>
                    <a:lnTo>
                      <a:pt x="2932" y="452"/>
                    </a:lnTo>
                    <a:lnTo>
                      <a:pt x="2912" y="467"/>
                    </a:lnTo>
                    <a:lnTo>
                      <a:pt x="2892" y="482"/>
                    </a:lnTo>
                    <a:lnTo>
                      <a:pt x="2882" y="491"/>
                    </a:lnTo>
                    <a:lnTo>
                      <a:pt x="2874" y="501"/>
                    </a:lnTo>
                    <a:lnTo>
                      <a:pt x="2866" y="509"/>
                    </a:lnTo>
                    <a:lnTo>
                      <a:pt x="2860" y="520"/>
                    </a:lnTo>
                    <a:lnTo>
                      <a:pt x="2856" y="531"/>
                    </a:lnTo>
                    <a:lnTo>
                      <a:pt x="2854" y="544"/>
                    </a:lnTo>
                    <a:lnTo>
                      <a:pt x="2854" y="557"/>
                    </a:lnTo>
                    <a:lnTo>
                      <a:pt x="2855" y="572"/>
                    </a:lnTo>
                    <a:lnTo>
                      <a:pt x="2859" y="590"/>
                    </a:lnTo>
                    <a:lnTo>
                      <a:pt x="2859" y="605"/>
                    </a:lnTo>
                    <a:lnTo>
                      <a:pt x="2858" y="616"/>
                    </a:lnTo>
                    <a:lnTo>
                      <a:pt x="2855" y="626"/>
                    </a:lnTo>
                    <a:lnTo>
                      <a:pt x="2850" y="633"/>
                    </a:lnTo>
                    <a:lnTo>
                      <a:pt x="2845" y="639"/>
                    </a:lnTo>
                    <a:lnTo>
                      <a:pt x="2837" y="644"/>
                    </a:lnTo>
                    <a:lnTo>
                      <a:pt x="2828" y="647"/>
                    </a:lnTo>
                    <a:lnTo>
                      <a:pt x="2786" y="651"/>
                    </a:lnTo>
                    <a:lnTo>
                      <a:pt x="2733" y="656"/>
                    </a:lnTo>
                    <a:lnTo>
                      <a:pt x="2717" y="661"/>
                    </a:lnTo>
                    <a:lnTo>
                      <a:pt x="2700" y="669"/>
                    </a:lnTo>
                    <a:lnTo>
                      <a:pt x="2684" y="676"/>
                    </a:lnTo>
                    <a:lnTo>
                      <a:pt x="2668" y="684"/>
                    </a:lnTo>
                    <a:lnTo>
                      <a:pt x="2639" y="702"/>
                    </a:lnTo>
                    <a:lnTo>
                      <a:pt x="2609" y="718"/>
                    </a:lnTo>
                    <a:lnTo>
                      <a:pt x="2595" y="724"/>
                    </a:lnTo>
                    <a:lnTo>
                      <a:pt x="2580" y="727"/>
                    </a:lnTo>
                    <a:lnTo>
                      <a:pt x="2573" y="729"/>
                    </a:lnTo>
                    <a:lnTo>
                      <a:pt x="2565" y="730"/>
                    </a:lnTo>
                    <a:lnTo>
                      <a:pt x="2559" y="730"/>
                    </a:lnTo>
                    <a:lnTo>
                      <a:pt x="2552" y="729"/>
                    </a:lnTo>
                    <a:lnTo>
                      <a:pt x="2544" y="727"/>
                    </a:lnTo>
                    <a:lnTo>
                      <a:pt x="2537" y="725"/>
                    </a:lnTo>
                    <a:lnTo>
                      <a:pt x="2528" y="722"/>
                    </a:lnTo>
                    <a:lnTo>
                      <a:pt x="2521" y="719"/>
                    </a:lnTo>
                    <a:lnTo>
                      <a:pt x="2514" y="713"/>
                    </a:lnTo>
                    <a:lnTo>
                      <a:pt x="2506" y="707"/>
                    </a:lnTo>
                    <a:lnTo>
                      <a:pt x="2499" y="700"/>
                    </a:lnTo>
                    <a:lnTo>
                      <a:pt x="2491" y="692"/>
                    </a:lnTo>
                    <a:lnTo>
                      <a:pt x="2482" y="682"/>
                    </a:lnTo>
                    <a:lnTo>
                      <a:pt x="2473" y="675"/>
                    </a:lnTo>
                    <a:lnTo>
                      <a:pt x="2466" y="667"/>
                    </a:lnTo>
                    <a:lnTo>
                      <a:pt x="2459" y="661"/>
                    </a:lnTo>
                    <a:lnTo>
                      <a:pt x="2450" y="658"/>
                    </a:lnTo>
                    <a:lnTo>
                      <a:pt x="2444" y="654"/>
                    </a:lnTo>
                    <a:lnTo>
                      <a:pt x="2437" y="653"/>
                    </a:lnTo>
                    <a:lnTo>
                      <a:pt x="2429" y="651"/>
                    </a:lnTo>
                    <a:lnTo>
                      <a:pt x="2422" y="653"/>
                    </a:lnTo>
                    <a:lnTo>
                      <a:pt x="2416" y="655"/>
                    </a:lnTo>
                    <a:lnTo>
                      <a:pt x="2409" y="659"/>
                    </a:lnTo>
                    <a:lnTo>
                      <a:pt x="2402" y="664"/>
                    </a:lnTo>
                    <a:lnTo>
                      <a:pt x="2395" y="671"/>
                    </a:lnTo>
                    <a:lnTo>
                      <a:pt x="2389" y="678"/>
                    </a:lnTo>
                    <a:lnTo>
                      <a:pt x="2382" y="688"/>
                    </a:lnTo>
                    <a:lnTo>
                      <a:pt x="2374" y="699"/>
                    </a:lnTo>
                    <a:lnTo>
                      <a:pt x="2362" y="719"/>
                    </a:lnTo>
                    <a:lnTo>
                      <a:pt x="2351" y="733"/>
                    </a:lnTo>
                    <a:lnTo>
                      <a:pt x="2340" y="747"/>
                    </a:lnTo>
                    <a:lnTo>
                      <a:pt x="2328" y="759"/>
                    </a:lnTo>
                    <a:lnTo>
                      <a:pt x="2301" y="781"/>
                    </a:lnTo>
                    <a:lnTo>
                      <a:pt x="2267" y="807"/>
                    </a:lnTo>
                    <a:lnTo>
                      <a:pt x="2260" y="811"/>
                    </a:lnTo>
                    <a:lnTo>
                      <a:pt x="2253" y="813"/>
                    </a:lnTo>
                    <a:lnTo>
                      <a:pt x="2246" y="815"/>
                    </a:lnTo>
                    <a:lnTo>
                      <a:pt x="2238" y="815"/>
                    </a:lnTo>
                    <a:lnTo>
                      <a:pt x="2231" y="814"/>
                    </a:lnTo>
                    <a:lnTo>
                      <a:pt x="2224" y="813"/>
                    </a:lnTo>
                    <a:lnTo>
                      <a:pt x="2216" y="811"/>
                    </a:lnTo>
                    <a:lnTo>
                      <a:pt x="2209" y="807"/>
                    </a:lnTo>
                    <a:lnTo>
                      <a:pt x="2196" y="798"/>
                    </a:lnTo>
                    <a:lnTo>
                      <a:pt x="2183" y="789"/>
                    </a:lnTo>
                    <a:lnTo>
                      <a:pt x="2172" y="778"/>
                    </a:lnTo>
                    <a:lnTo>
                      <a:pt x="2164" y="765"/>
                    </a:lnTo>
                    <a:lnTo>
                      <a:pt x="2156" y="755"/>
                    </a:lnTo>
                    <a:lnTo>
                      <a:pt x="2148" y="746"/>
                    </a:lnTo>
                    <a:lnTo>
                      <a:pt x="2138" y="737"/>
                    </a:lnTo>
                    <a:lnTo>
                      <a:pt x="2128" y="730"/>
                    </a:lnTo>
                    <a:lnTo>
                      <a:pt x="2117" y="722"/>
                    </a:lnTo>
                    <a:lnTo>
                      <a:pt x="2105" y="716"/>
                    </a:lnTo>
                    <a:lnTo>
                      <a:pt x="2093" y="711"/>
                    </a:lnTo>
                    <a:lnTo>
                      <a:pt x="2080" y="707"/>
                    </a:lnTo>
                    <a:lnTo>
                      <a:pt x="2055" y="698"/>
                    </a:lnTo>
                    <a:lnTo>
                      <a:pt x="2028" y="692"/>
                    </a:lnTo>
                    <a:lnTo>
                      <a:pt x="2002" y="688"/>
                    </a:lnTo>
                    <a:lnTo>
                      <a:pt x="1978" y="684"/>
                    </a:lnTo>
                    <a:lnTo>
                      <a:pt x="1956" y="682"/>
                    </a:lnTo>
                    <a:lnTo>
                      <a:pt x="1935" y="682"/>
                    </a:lnTo>
                    <a:lnTo>
                      <a:pt x="1925" y="682"/>
                    </a:lnTo>
                    <a:lnTo>
                      <a:pt x="1915" y="682"/>
                    </a:lnTo>
                    <a:lnTo>
                      <a:pt x="1907" y="683"/>
                    </a:lnTo>
                    <a:lnTo>
                      <a:pt x="1898" y="686"/>
                    </a:lnTo>
                    <a:lnTo>
                      <a:pt x="1890" y="689"/>
                    </a:lnTo>
                    <a:lnTo>
                      <a:pt x="1881" y="693"/>
                    </a:lnTo>
                    <a:lnTo>
                      <a:pt x="1874" y="698"/>
                    </a:lnTo>
                    <a:lnTo>
                      <a:pt x="1866" y="704"/>
                    </a:lnTo>
                    <a:lnTo>
                      <a:pt x="1859" y="710"/>
                    </a:lnTo>
                    <a:lnTo>
                      <a:pt x="1852" y="719"/>
                    </a:lnTo>
                    <a:lnTo>
                      <a:pt x="1845" y="729"/>
                    </a:lnTo>
                    <a:lnTo>
                      <a:pt x="1838" y="740"/>
                    </a:lnTo>
                    <a:lnTo>
                      <a:pt x="1823" y="768"/>
                    </a:lnTo>
                    <a:lnTo>
                      <a:pt x="1808" y="800"/>
                    </a:lnTo>
                    <a:lnTo>
                      <a:pt x="1801" y="815"/>
                    </a:lnTo>
                    <a:lnTo>
                      <a:pt x="1798" y="831"/>
                    </a:lnTo>
                    <a:lnTo>
                      <a:pt x="1797" y="840"/>
                    </a:lnTo>
                    <a:lnTo>
                      <a:pt x="1797" y="849"/>
                    </a:lnTo>
                    <a:lnTo>
                      <a:pt x="1798" y="856"/>
                    </a:lnTo>
                    <a:lnTo>
                      <a:pt x="1799" y="863"/>
                    </a:lnTo>
                    <a:lnTo>
                      <a:pt x="1801" y="868"/>
                    </a:lnTo>
                    <a:lnTo>
                      <a:pt x="1804" y="872"/>
                    </a:lnTo>
                    <a:lnTo>
                      <a:pt x="1808" y="875"/>
                    </a:lnTo>
                    <a:lnTo>
                      <a:pt x="1810" y="879"/>
                    </a:lnTo>
                    <a:lnTo>
                      <a:pt x="1817" y="884"/>
                    </a:lnTo>
                    <a:lnTo>
                      <a:pt x="1823" y="889"/>
                    </a:lnTo>
                    <a:lnTo>
                      <a:pt x="1826" y="893"/>
                    </a:lnTo>
                    <a:lnTo>
                      <a:pt x="1827" y="895"/>
                    </a:lnTo>
                    <a:lnTo>
                      <a:pt x="1827" y="898"/>
                    </a:lnTo>
                    <a:lnTo>
                      <a:pt x="1827" y="901"/>
                    </a:lnTo>
                    <a:lnTo>
                      <a:pt x="1826" y="905"/>
                    </a:lnTo>
                    <a:lnTo>
                      <a:pt x="1822" y="910"/>
                    </a:lnTo>
                    <a:lnTo>
                      <a:pt x="1817" y="915"/>
                    </a:lnTo>
                    <a:lnTo>
                      <a:pt x="1811" y="920"/>
                    </a:lnTo>
                    <a:lnTo>
                      <a:pt x="1801" y="927"/>
                    </a:lnTo>
                    <a:lnTo>
                      <a:pt x="1794" y="935"/>
                    </a:lnTo>
                    <a:lnTo>
                      <a:pt x="1788" y="943"/>
                    </a:lnTo>
                    <a:lnTo>
                      <a:pt x="1782" y="950"/>
                    </a:lnTo>
                    <a:lnTo>
                      <a:pt x="1777" y="958"/>
                    </a:lnTo>
                    <a:lnTo>
                      <a:pt x="1773" y="965"/>
                    </a:lnTo>
                    <a:lnTo>
                      <a:pt x="1771" y="972"/>
                    </a:lnTo>
                    <a:lnTo>
                      <a:pt x="1768" y="981"/>
                    </a:lnTo>
                    <a:lnTo>
                      <a:pt x="1767" y="988"/>
                    </a:lnTo>
                    <a:lnTo>
                      <a:pt x="1766" y="997"/>
                    </a:lnTo>
                    <a:lnTo>
                      <a:pt x="1765" y="1005"/>
                    </a:lnTo>
                    <a:lnTo>
                      <a:pt x="1766" y="1014"/>
                    </a:lnTo>
                    <a:lnTo>
                      <a:pt x="1767" y="1032"/>
                    </a:lnTo>
                    <a:lnTo>
                      <a:pt x="1771" y="1053"/>
                    </a:lnTo>
                    <a:lnTo>
                      <a:pt x="1773" y="1062"/>
                    </a:lnTo>
                    <a:lnTo>
                      <a:pt x="1776" y="1071"/>
                    </a:lnTo>
                    <a:lnTo>
                      <a:pt x="1781" y="1081"/>
                    </a:lnTo>
                    <a:lnTo>
                      <a:pt x="1787" y="1092"/>
                    </a:lnTo>
                    <a:lnTo>
                      <a:pt x="1793" y="1101"/>
                    </a:lnTo>
                    <a:lnTo>
                      <a:pt x="1800" y="1108"/>
                    </a:lnTo>
                    <a:lnTo>
                      <a:pt x="1805" y="1111"/>
                    </a:lnTo>
                    <a:lnTo>
                      <a:pt x="1809" y="1112"/>
                    </a:lnTo>
                    <a:lnTo>
                      <a:pt x="1814" y="1113"/>
                    </a:lnTo>
                    <a:lnTo>
                      <a:pt x="1819" y="1113"/>
                    </a:lnTo>
                    <a:lnTo>
                      <a:pt x="1821" y="1112"/>
                    </a:lnTo>
                    <a:lnTo>
                      <a:pt x="1823" y="1111"/>
                    </a:lnTo>
                    <a:lnTo>
                      <a:pt x="1826" y="1108"/>
                    </a:lnTo>
                    <a:lnTo>
                      <a:pt x="1828" y="1104"/>
                    </a:lnTo>
                    <a:lnTo>
                      <a:pt x="1833" y="1097"/>
                    </a:lnTo>
                    <a:lnTo>
                      <a:pt x="1837" y="1089"/>
                    </a:lnTo>
                    <a:lnTo>
                      <a:pt x="1841" y="1080"/>
                    </a:lnTo>
                    <a:lnTo>
                      <a:pt x="1844" y="1073"/>
                    </a:lnTo>
                    <a:lnTo>
                      <a:pt x="1847" y="1070"/>
                    </a:lnTo>
                    <a:lnTo>
                      <a:pt x="1849" y="1069"/>
                    </a:lnTo>
                    <a:lnTo>
                      <a:pt x="1852" y="1068"/>
                    </a:lnTo>
                    <a:lnTo>
                      <a:pt x="1855" y="1069"/>
                    </a:lnTo>
                    <a:lnTo>
                      <a:pt x="1859" y="1080"/>
                    </a:lnTo>
                    <a:lnTo>
                      <a:pt x="1865" y="1092"/>
                    </a:lnTo>
                    <a:lnTo>
                      <a:pt x="1871" y="1106"/>
                    </a:lnTo>
                    <a:lnTo>
                      <a:pt x="1877" y="1118"/>
                    </a:lnTo>
                    <a:lnTo>
                      <a:pt x="1875" y="1124"/>
                    </a:lnTo>
                    <a:lnTo>
                      <a:pt x="1874" y="1131"/>
                    </a:lnTo>
                    <a:lnTo>
                      <a:pt x="1874" y="1139"/>
                    </a:lnTo>
                    <a:lnTo>
                      <a:pt x="1874" y="1146"/>
                    </a:lnTo>
                    <a:lnTo>
                      <a:pt x="1874" y="1161"/>
                    </a:lnTo>
                    <a:lnTo>
                      <a:pt x="1876" y="1177"/>
                    </a:lnTo>
                    <a:lnTo>
                      <a:pt x="1876" y="1193"/>
                    </a:lnTo>
                    <a:lnTo>
                      <a:pt x="1877" y="1208"/>
                    </a:lnTo>
                    <a:lnTo>
                      <a:pt x="1876" y="1217"/>
                    </a:lnTo>
                    <a:lnTo>
                      <a:pt x="1875" y="1224"/>
                    </a:lnTo>
                    <a:lnTo>
                      <a:pt x="1872" y="1233"/>
                    </a:lnTo>
                    <a:lnTo>
                      <a:pt x="1870" y="1240"/>
                    </a:lnTo>
                    <a:lnTo>
                      <a:pt x="1863" y="1255"/>
                    </a:lnTo>
                    <a:lnTo>
                      <a:pt x="1856" y="1266"/>
                    </a:lnTo>
                    <a:lnTo>
                      <a:pt x="1853" y="1270"/>
                    </a:lnTo>
                    <a:lnTo>
                      <a:pt x="1849" y="1273"/>
                    </a:lnTo>
                    <a:lnTo>
                      <a:pt x="1845" y="1276"/>
                    </a:lnTo>
                    <a:lnTo>
                      <a:pt x="1843" y="1277"/>
                    </a:lnTo>
                    <a:lnTo>
                      <a:pt x="1839" y="1277"/>
                    </a:lnTo>
                    <a:lnTo>
                      <a:pt x="1836" y="1277"/>
                    </a:lnTo>
                    <a:lnTo>
                      <a:pt x="1833" y="1276"/>
                    </a:lnTo>
                    <a:lnTo>
                      <a:pt x="1830" y="1275"/>
                    </a:lnTo>
                    <a:lnTo>
                      <a:pt x="1823" y="1271"/>
                    </a:lnTo>
                    <a:lnTo>
                      <a:pt x="1816" y="1265"/>
                    </a:lnTo>
                    <a:lnTo>
                      <a:pt x="1804" y="1250"/>
                    </a:lnTo>
                    <a:lnTo>
                      <a:pt x="1790" y="1234"/>
                    </a:lnTo>
                    <a:lnTo>
                      <a:pt x="1783" y="1228"/>
                    </a:lnTo>
                    <a:lnTo>
                      <a:pt x="1777" y="1222"/>
                    </a:lnTo>
                    <a:lnTo>
                      <a:pt x="1770" y="1218"/>
                    </a:lnTo>
                    <a:lnTo>
                      <a:pt x="1761" y="1217"/>
                    </a:lnTo>
                    <a:lnTo>
                      <a:pt x="1755" y="1217"/>
                    </a:lnTo>
                    <a:lnTo>
                      <a:pt x="1748" y="1220"/>
                    </a:lnTo>
                    <a:lnTo>
                      <a:pt x="1738" y="1223"/>
                    </a:lnTo>
                    <a:lnTo>
                      <a:pt x="1728" y="1228"/>
                    </a:lnTo>
                    <a:lnTo>
                      <a:pt x="1707" y="1238"/>
                    </a:lnTo>
                    <a:lnTo>
                      <a:pt x="1689" y="1243"/>
                    </a:lnTo>
                    <a:lnTo>
                      <a:pt x="1678" y="1244"/>
                    </a:lnTo>
                    <a:lnTo>
                      <a:pt x="1664" y="1244"/>
                    </a:lnTo>
                    <a:lnTo>
                      <a:pt x="1652" y="1243"/>
                    </a:lnTo>
                    <a:lnTo>
                      <a:pt x="1640" y="1243"/>
                    </a:lnTo>
                    <a:lnTo>
                      <a:pt x="1628" y="1244"/>
                    </a:lnTo>
                    <a:lnTo>
                      <a:pt x="1614" y="1246"/>
                    </a:lnTo>
                    <a:lnTo>
                      <a:pt x="1602" y="1249"/>
                    </a:lnTo>
                    <a:lnTo>
                      <a:pt x="1590" y="1250"/>
                    </a:lnTo>
                    <a:lnTo>
                      <a:pt x="1579" y="1257"/>
                    </a:lnTo>
                    <a:lnTo>
                      <a:pt x="1566" y="1262"/>
                    </a:lnTo>
                    <a:lnTo>
                      <a:pt x="1554" y="1266"/>
                    </a:lnTo>
                    <a:lnTo>
                      <a:pt x="1541" y="1270"/>
                    </a:lnTo>
                    <a:lnTo>
                      <a:pt x="1527" y="1271"/>
                    </a:lnTo>
                    <a:lnTo>
                      <a:pt x="1514" y="1271"/>
                    </a:lnTo>
                    <a:lnTo>
                      <a:pt x="1499" y="1270"/>
                    </a:lnTo>
                    <a:lnTo>
                      <a:pt x="1486" y="1268"/>
                    </a:lnTo>
                    <a:lnTo>
                      <a:pt x="1455" y="1262"/>
                    </a:lnTo>
                    <a:lnTo>
                      <a:pt x="1424" y="1255"/>
                    </a:lnTo>
                    <a:lnTo>
                      <a:pt x="1393" y="1245"/>
                    </a:lnTo>
                    <a:lnTo>
                      <a:pt x="1360" y="1237"/>
                    </a:lnTo>
                    <a:lnTo>
                      <a:pt x="1328" y="1228"/>
                    </a:lnTo>
                    <a:lnTo>
                      <a:pt x="1296" y="1222"/>
                    </a:lnTo>
                    <a:lnTo>
                      <a:pt x="1280" y="1220"/>
                    </a:lnTo>
                    <a:lnTo>
                      <a:pt x="1264" y="1218"/>
                    </a:lnTo>
                    <a:lnTo>
                      <a:pt x="1249" y="1218"/>
                    </a:lnTo>
                    <a:lnTo>
                      <a:pt x="1233" y="1220"/>
                    </a:lnTo>
                    <a:lnTo>
                      <a:pt x="1219" y="1221"/>
                    </a:lnTo>
                    <a:lnTo>
                      <a:pt x="1204" y="1224"/>
                    </a:lnTo>
                    <a:lnTo>
                      <a:pt x="1189" y="1229"/>
                    </a:lnTo>
                    <a:lnTo>
                      <a:pt x="1176" y="1235"/>
                    </a:lnTo>
                    <a:lnTo>
                      <a:pt x="1162" y="1243"/>
                    </a:lnTo>
                    <a:lnTo>
                      <a:pt x="1149" y="1253"/>
                    </a:lnTo>
                    <a:lnTo>
                      <a:pt x="1137" y="1265"/>
                    </a:lnTo>
                    <a:lnTo>
                      <a:pt x="1125" y="1278"/>
                    </a:lnTo>
                    <a:lnTo>
                      <a:pt x="1101" y="1304"/>
                    </a:lnTo>
                    <a:lnTo>
                      <a:pt x="1078" y="1327"/>
                    </a:lnTo>
                    <a:lnTo>
                      <a:pt x="1066" y="1339"/>
                    </a:lnTo>
                    <a:lnTo>
                      <a:pt x="1055" y="1352"/>
                    </a:lnTo>
                    <a:lnTo>
                      <a:pt x="1044" y="1364"/>
                    </a:lnTo>
                    <a:lnTo>
                      <a:pt x="1034" y="1379"/>
                    </a:lnTo>
                    <a:lnTo>
                      <a:pt x="1029" y="1386"/>
                    </a:lnTo>
                    <a:lnTo>
                      <a:pt x="1024" y="1392"/>
                    </a:lnTo>
                    <a:lnTo>
                      <a:pt x="1020" y="1396"/>
                    </a:lnTo>
                    <a:lnTo>
                      <a:pt x="1016" y="1398"/>
                    </a:lnTo>
                    <a:lnTo>
                      <a:pt x="1012" y="1401"/>
                    </a:lnTo>
                    <a:lnTo>
                      <a:pt x="1008" y="1401"/>
                    </a:lnTo>
                    <a:lnTo>
                      <a:pt x="1005" y="1401"/>
                    </a:lnTo>
                    <a:lnTo>
                      <a:pt x="1001" y="1399"/>
                    </a:lnTo>
                    <a:lnTo>
                      <a:pt x="994" y="1398"/>
                    </a:lnTo>
                    <a:lnTo>
                      <a:pt x="986" y="1396"/>
                    </a:lnTo>
                    <a:lnTo>
                      <a:pt x="983" y="1396"/>
                    </a:lnTo>
                    <a:lnTo>
                      <a:pt x="978" y="1397"/>
                    </a:lnTo>
                    <a:lnTo>
                      <a:pt x="974" y="1398"/>
                    </a:lnTo>
                    <a:lnTo>
                      <a:pt x="969" y="1401"/>
                    </a:lnTo>
                    <a:lnTo>
                      <a:pt x="954" y="1413"/>
                    </a:lnTo>
                    <a:lnTo>
                      <a:pt x="946" y="1422"/>
                    </a:lnTo>
                    <a:lnTo>
                      <a:pt x="940" y="1429"/>
                    </a:lnTo>
                    <a:lnTo>
                      <a:pt x="935" y="1435"/>
                    </a:lnTo>
                    <a:lnTo>
                      <a:pt x="930" y="1440"/>
                    </a:lnTo>
                    <a:lnTo>
                      <a:pt x="921" y="1445"/>
                    </a:lnTo>
                    <a:lnTo>
                      <a:pt x="907" y="1448"/>
                    </a:lnTo>
                    <a:lnTo>
                      <a:pt x="885" y="1453"/>
                    </a:lnTo>
                    <a:lnTo>
                      <a:pt x="865" y="1458"/>
                    </a:lnTo>
                    <a:lnTo>
                      <a:pt x="844" y="1464"/>
                    </a:lnTo>
                    <a:lnTo>
                      <a:pt x="822" y="1473"/>
                    </a:lnTo>
                    <a:lnTo>
                      <a:pt x="799" y="1483"/>
                    </a:lnTo>
                    <a:lnTo>
                      <a:pt x="755" y="1502"/>
                    </a:lnTo>
                    <a:lnTo>
                      <a:pt x="717" y="1522"/>
                    </a:lnTo>
                    <a:lnTo>
                      <a:pt x="703" y="1532"/>
                    </a:lnTo>
                    <a:lnTo>
                      <a:pt x="691" y="1543"/>
                    </a:lnTo>
                    <a:lnTo>
                      <a:pt x="679" y="1553"/>
                    </a:lnTo>
                    <a:lnTo>
                      <a:pt x="669" y="1564"/>
                    </a:lnTo>
                    <a:lnTo>
                      <a:pt x="659" y="1576"/>
                    </a:lnTo>
                    <a:lnTo>
                      <a:pt x="651" y="1589"/>
                    </a:lnTo>
                    <a:lnTo>
                      <a:pt x="644" y="1604"/>
                    </a:lnTo>
                    <a:lnTo>
                      <a:pt x="639" y="1622"/>
                    </a:lnTo>
                    <a:lnTo>
                      <a:pt x="636" y="1631"/>
                    </a:lnTo>
                    <a:lnTo>
                      <a:pt x="635" y="1638"/>
                    </a:lnTo>
                    <a:lnTo>
                      <a:pt x="636" y="1644"/>
                    </a:lnTo>
                    <a:lnTo>
                      <a:pt x="637" y="1650"/>
                    </a:lnTo>
                    <a:lnTo>
                      <a:pt x="640" y="1655"/>
                    </a:lnTo>
                    <a:lnTo>
                      <a:pt x="644" y="1659"/>
                    </a:lnTo>
                    <a:lnTo>
                      <a:pt x="647" y="1663"/>
                    </a:lnTo>
                    <a:lnTo>
                      <a:pt x="652" y="1666"/>
                    </a:lnTo>
                    <a:lnTo>
                      <a:pt x="661" y="1673"/>
                    </a:lnTo>
                    <a:lnTo>
                      <a:pt x="672" y="1680"/>
                    </a:lnTo>
                    <a:lnTo>
                      <a:pt x="675" y="1684"/>
                    </a:lnTo>
                    <a:lnTo>
                      <a:pt x="680" y="1687"/>
                    </a:lnTo>
                    <a:lnTo>
                      <a:pt x="684" y="1693"/>
                    </a:lnTo>
                    <a:lnTo>
                      <a:pt x="688" y="1698"/>
                    </a:lnTo>
                    <a:lnTo>
                      <a:pt x="689" y="1702"/>
                    </a:lnTo>
                    <a:lnTo>
                      <a:pt x="688" y="1706"/>
                    </a:lnTo>
                    <a:lnTo>
                      <a:pt x="685" y="1710"/>
                    </a:lnTo>
                    <a:lnTo>
                      <a:pt x="681" y="1714"/>
                    </a:lnTo>
                    <a:lnTo>
                      <a:pt x="672" y="1725"/>
                    </a:lnTo>
                    <a:lnTo>
                      <a:pt x="659" y="1737"/>
                    </a:lnTo>
                    <a:lnTo>
                      <a:pt x="647" y="1750"/>
                    </a:lnTo>
                    <a:lnTo>
                      <a:pt x="636" y="1764"/>
                    </a:lnTo>
                    <a:lnTo>
                      <a:pt x="631" y="1772"/>
                    </a:lnTo>
                    <a:lnTo>
                      <a:pt x="629" y="1779"/>
                    </a:lnTo>
                    <a:lnTo>
                      <a:pt x="626" y="1786"/>
                    </a:lnTo>
                    <a:lnTo>
                      <a:pt x="626" y="1794"/>
                    </a:lnTo>
                    <a:lnTo>
                      <a:pt x="626" y="1815"/>
                    </a:lnTo>
                    <a:lnTo>
                      <a:pt x="626" y="1834"/>
                    </a:lnTo>
                    <a:lnTo>
                      <a:pt x="625" y="1852"/>
                    </a:lnTo>
                    <a:lnTo>
                      <a:pt x="624" y="1870"/>
                    </a:lnTo>
                    <a:lnTo>
                      <a:pt x="620" y="1887"/>
                    </a:lnTo>
                    <a:lnTo>
                      <a:pt x="615" y="1904"/>
                    </a:lnTo>
                    <a:lnTo>
                      <a:pt x="609" y="1923"/>
                    </a:lnTo>
                    <a:lnTo>
                      <a:pt x="601" y="1944"/>
                    </a:lnTo>
                    <a:lnTo>
                      <a:pt x="603" y="1954"/>
                    </a:lnTo>
                    <a:lnTo>
                      <a:pt x="604" y="1964"/>
                    </a:lnTo>
                    <a:lnTo>
                      <a:pt x="604" y="1974"/>
                    </a:lnTo>
                    <a:lnTo>
                      <a:pt x="604" y="1983"/>
                    </a:lnTo>
                    <a:lnTo>
                      <a:pt x="603" y="2002"/>
                    </a:lnTo>
                    <a:lnTo>
                      <a:pt x="598" y="2019"/>
                    </a:lnTo>
                    <a:lnTo>
                      <a:pt x="585" y="2054"/>
                    </a:lnTo>
                    <a:lnTo>
                      <a:pt x="569" y="2089"/>
                    </a:lnTo>
                    <a:lnTo>
                      <a:pt x="560" y="2106"/>
                    </a:lnTo>
                    <a:lnTo>
                      <a:pt x="554" y="2124"/>
                    </a:lnTo>
                    <a:lnTo>
                      <a:pt x="549" y="2143"/>
                    </a:lnTo>
                    <a:lnTo>
                      <a:pt x="546" y="2162"/>
                    </a:lnTo>
                    <a:lnTo>
                      <a:pt x="546" y="2172"/>
                    </a:lnTo>
                    <a:lnTo>
                      <a:pt x="546" y="2182"/>
                    </a:lnTo>
                    <a:lnTo>
                      <a:pt x="547" y="2193"/>
                    </a:lnTo>
                    <a:lnTo>
                      <a:pt x="549" y="2203"/>
                    </a:lnTo>
                    <a:lnTo>
                      <a:pt x="552" y="2214"/>
                    </a:lnTo>
                    <a:lnTo>
                      <a:pt x="555" y="2225"/>
                    </a:lnTo>
                    <a:lnTo>
                      <a:pt x="560" y="2237"/>
                    </a:lnTo>
                    <a:lnTo>
                      <a:pt x="566" y="2248"/>
                    </a:lnTo>
                    <a:lnTo>
                      <a:pt x="585" y="2290"/>
                    </a:lnTo>
                    <a:lnTo>
                      <a:pt x="598" y="2323"/>
                    </a:lnTo>
                    <a:lnTo>
                      <a:pt x="602" y="2329"/>
                    </a:lnTo>
                    <a:lnTo>
                      <a:pt x="608" y="2335"/>
                    </a:lnTo>
                    <a:lnTo>
                      <a:pt x="614" y="2339"/>
                    </a:lnTo>
                    <a:lnTo>
                      <a:pt x="621" y="2342"/>
                    </a:lnTo>
                    <a:lnTo>
                      <a:pt x="630" y="2345"/>
                    </a:lnTo>
                    <a:lnTo>
                      <a:pt x="641" y="2346"/>
                    </a:lnTo>
                    <a:lnTo>
                      <a:pt x="655" y="2346"/>
                    </a:lnTo>
                    <a:lnTo>
                      <a:pt x="669" y="2345"/>
                    </a:lnTo>
                    <a:lnTo>
                      <a:pt x="675" y="2346"/>
                    </a:lnTo>
                    <a:lnTo>
                      <a:pt x="681" y="2347"/>
                    </a:lnTo>
                    <a:lnTo>
                      <a:pt x="688" y="2350"/>
                    </a:lnTo>
                    <a:lnTo>
                      <a:pt x="694" y="2354"/>
                    </a:lnTo>
                    <a:lnTo>
                      <a:pt x="699" y="2359"/>
                    </a:lnTo>
                    <a:lnTo>
                      <a:pt x="705" y="2365"/>
                    </a:lnTo>
                    <a:lnTo>
                      <a:pt x="710" y="2372"/>
                    </a:lnTo>
                    <a:lnTo>
                      <a:pt x="713" y="2379"/>
                    </a:lnTo>
                    <a:lnTo>
                      <a:pt x="722" y="2394"/>
                    </a:lnTo>
                    <a:lnTo>
                      <a:pt x="729" y="2410"/>
                    </a:lnTo>
                    <a:lnTo>
                      <a:pt x="735" y="2424"/>
                    </a:lnTo>
                    <a:lnTo>
                      <a:pt x="740" y="2435"/>
                    </a:lnTo>
                    <a:lnTo>
                      <a:pt x="732" y="2446"/>
                    </a:lnTo>
                    <a:lnTo>
                      <a:pt x="723" y="2457"/>
                    </a:lnTo>
                    <a:lnTo>
                      <a:pt x="713" y="2467"/>
                    </a:lnTo>
                    <a:lnTo>
                      <a:pt x="702" y="2477"/>
                    </a:lnTo>
                    <a:lnTo>
                      <a:pt x="690" y="2484"/>
                    </a:lnTo>
                    <a:lnTo>
                      <a:pt x="678" y="2492"/>
                    </a:lnTo>
                    <a:lnTo>
                      <a:pt x="664" y="2499"/>
                    </a:lnTo>
                    <a:lnTo>
                      <a:pt x="651" y="2504"/>
                    </a:lnTo>
                    <a:lnTo>
                      <a:pt x="637" y="2509"/>
                    </a:lnTo>
                    <a:lnTo>
                      <a:pt x="623" y="2512"/>
                    </a:lnTo>
                    <a:lnTo>
                      <a:pt x="608" y="2515"/>
                    </a:lnTo>
                    <a:lnTo>
                      <a:pt x="593" y="2517"/>
                    </a:lnTo>
                    <a:lnTo>
                      <a:pt x="580" y="2519"/>
                    </a:lnTo>
                    <a:lnTo>
                      <a:pt x="565" y="2517"/>
                    </a:lnTo>
                    <a:lnTo>
                      <a:pt x="550" y="2517"/>
                    </a:lnTo>
                    <a:lnTo>
                      <a:pt x="537" y="2515"/>
                    </a:lnTo>
                    <a:lnTo>
                      <a:pt x="500" y="2506"/>
                    </a:lnTo>
                    <a:lnTo>
                      <a:pt x="462" y="2499"/>
                    </a:lnTo>
                    <a:lnTo>
                      <a:pt x="444" y="2495"/>
                    </a:lnTo>
                    <a:lnTo>
                      <a:pt x="426" y="2492"/>
                    </a:lnTo>
                    <a:lnTo>
                      <a:pt x="408" y="2489"/>
                    </a:lnTo>
                    <a:lnTo>
                      <a:pt x="390" y="2488"/>
                    </a:lnTo>
                    <a:lnTo>
                      <a:pt x="373" y="2488"/>
                    </a:lnTo>
                    <a:lnTo>
                      <a:pt x="356" y="2489"/>
                    </a:lnTo>
                    <a:lnTo>
                      <a:pt x="339" y="2493"/>
                    </a:lnTo>
                    <a:lnTo>
                      <a:pt x="323" y="2499"/>
                    </a:lnTo>
                    <a:lnTo>
                      <a:pt x="307" y="2506"/>
                    </a:lnTo>
                    <a:lnTo>
                      <a:pt x="292" y="2516"/>
                    </a:lnTo>
                    <a:lnTo>
                      <a:pt x="285" y="2522"/>
                    </a:lnTo>
                    <a:lnTo>
                      <a:pt x="278" y="2530"/>
                    </a:lnTo>
                    <a:lnTo>
                      <a:pt x="270" y="2537"/>
                    </a:lnTo>
                    <a:lnTo>
                      <a:pt x="264" y="2545"/>
                    </a:lnTo>
                    <a:lnTo>
                      <a:pt x="249" y="2547"/>
                    </a:lnTo>
                    <a:lnTo>
                      <a:pt x="238" y="2549"/>
                    </a:lnTo>
                    <a:lnTo>
                      <a:pt x="233" y="2552"/>
                    </a:lnTo>
                    <a:lnTo>
                      <a:pt x="230" y="2554"/>
                    </a:lnTo>
                    <a:lnTo>
                      <a:pt x="226" y="2556"/>
                    </a:lnTo>
                    <a:lnTo>
                      <a:pt x="222" y="2559"/>
                    </a:lnTo>
                    <a:lnTo>
                      <a:pt x="218" y="2567"/>
                    </a:lnTo>
                    <a:lnTo>
                      <a:pt x="215" y="2576"/>
                    </a:lnTo>
                    <a:lnTo>
                      <a:pt x="214" y="2588"/>
                    </a:lnTo>
                    <a:lnTo>
                      <a:pt x="213" y="2603"/>
                    </a:lnTo>
                    <a:lnTo>
                      <a:pt x="211" y="2613"/>
                    </a:lnTo>
                    <a:lnTo>
                      <a:pt x="209" y="2623"/>
                    </a:lnTo>
                    <a:lnTo>
                      <a:pt x="204" y="2629"/>
                    </a:lnTo>
                    <a:lnTo>
                      <a:pt x="198" y="2635"/>
                    </a:lnTo>
                    <a:lnTo>
                      <a:pt x="191" y="2638"/>
                    </a:lnTo>
                    <a:lnTo>
                      <a:pt x="182" y="2641"/>
                    </a:lnTo>
                    <a:lnTo>
                      <a:pt x="173" y="2641"/>
                    </a:lnTo>
                    <a:lnTo>
                      <a:pt x="162" y="2640"/>
                    </a:lnTo>
                    <a:lnTo>
                      <a:pt x="155" y="2640"/>
                    </a:lnTo>
                    <a:lnTo>
                      <a:pt x="148" y="2640"/>
                    </a:lnTo>
                    <a:lnTo>
                      <a:pt x="140" y="2640"/>
                    </a:lnTo>
                    <a:lnTo>
                      <a:pt x="134" y="2642"/>
                    </a:lnTo>
                    <a:lnTo>
                      <a:pt x="120" y="2647"/>
                    </a:lnTo>
                    <a:lnTo>
                      <a:pt x="106" y="2652"/>
                    </a:lnTo>
                    <a:lnTo>
                      <a:pt x="91" y="2658"/>
                    </a:lnTo>
                    <a:lnTo>
                      <a:pt x="77" y="2662"/>
                    </a:lnTo>
                    <a:lnTo>
                      <a:pt x="69" y="2663"/>
                    </a:lnTo>
                    <a:lnTo>
                      <a:pt x="62" y="2664"/>
                    </a:lnTo>
                    <a:lnTo>
                      <a:pt x="54" y="2663"/>
                    </a:lnTo>
                    <a:lnTo>
                      <a:pt x="45" y="2662"/>
                    </a:lnTo>
                    <a:lnTo>
                      <a:pt x="35" y="2659"/>
                    </a:lnTo>
                    <a:lnTo>
                      <a:pt x="27" y="2657"/>
                    </a:lnTo>
                    <a:lnTo>
                      <a:pt x="20" y="2654"/>
                    </a:lnTo>
                    <a:lnTo>
                      <a:pt x="14" y="2651"/>
                    </a:lnTo>
                    <a:lnTo>
                      <a:pt x="9" y="2647"/>
                    </a:lnTo>
                    <a:lnTo>
                      <a:pt x="6" y="2643"/>
                    </a:lnTo>
                    <a:lnTo>
                      <a:pt x="2" y="2638"/>
                    </a:lnTo>
                    <a:lnTo>
                      <a:pt x="1" y="2634"/>
                    </a:lnTo>
                    <a:lnTo>
                      <a:pt x="0" y="2629"/>
                    </a:lnTo>
                    <a:lnTo>
                      <a:pt x="1" y="2624"/>
                    </a:lnTo>
                    <a:lnTo>
                      <a:pt x="2" y="2619"/>
                    </a:lnTo>
                    <a:lnTo>
                      <a:pt x="3" y="2613"/>
                    </a:lnTo>
                    <a:lnTo>
                      <a:pt x="11" y="2601"/>
                    </a:lnTo>
                    <a:lnTo>
                      <a:pt x="22" y="2587"/>
                    </a:lnTo>
                    <a:lnTo>
                      <a:pt x="29" y="2580"/>
                    </a:lnTo>
                    <a:lnTo>
                      <a:pt x="35" y="2571"/>
                    </a:lnTo>
                    <a:lnTo>
                      <a:pt x="41" y="2564"/>
                    </a:lnTo>
                    <a:lnTo>
                      <a:pt x="46" y="2555"/>
                    </a:lnTo>
                    <a:lnTo>
                      <a:pt x="49" y="2545"/>
                    </a:lnTo>
                    <a:lnTo>
                      <a:pt x="51" y="2537"/>
                    </a:lnTo>
                    <a:lnTo>
                      <a:pt x="51" y="2527"/>
                    </a:lnTo>
                    <a:lnTo>
                      <a:pt x="49" y="2516"/>
                    </a:lnTo>
                    <a:lnTo>
                      <a:pt x="47" y="2510"/>
                    </a:lnTo>
                    <a:lnTo>
                      <a:pt x="46" y="2504"/>
                    </a:lnTo>
                    <a:lnTo>
                      <a:pt x="47" y="2498"/>
                    </a:lnTo>
                    <a:lnTo>
                      <a:pt x="49" y="2492"/>
                    </a:lnTo>
                    <a:lnTo>
                      <a:pt x="54" y="2481"/>
                    </a:lnTo>
                    <a:lnTo>
                      <a:pt x="61" y="2470"/>
                    </a:lnTo>
                    <a:lnTo>
                      <a:pt x="68" y="2457"/>
                    </a:lnTo>
                    <a:lnTo>
                      <a:pt x="74" y="2446"/>
                    </a:lnTo>
                    <a:lnTo>
                      <a:pt x="77" y="2440"/>
                    </a:lnTo>
                    <a:lnTo>
                      <a:pt x="79" y="2433"/>
                    </a:lnTo>
                    <a:lnTo>
                      <a:pt x="80" y="2427"/>
                    </a:lnTo>
                    <a:lnTo>
                      <a:pt x="80" y="2419"/>
                    </a:lnTo>
                    <a:lnTo>
                      <a:pt x="80" y="2385"/>
                    </a:lnTo>
                    <a:lnTo>
                      <a:pt x="79" y="2352"/>
                    </a:lnTo>
                    <a:lnTo>
                      <a:pt x="79" y="2318"/>
                    </a:lnTo>
                    <a:lnTo>
                      <a:pt x="82" y="2283"/>
                    </a:lnTo>
                    <a:lnTo>
                      <a:pt x="82" y="2276"/>
                    </a:lnTo>
                    <a:lnTo>
                      <a:pt x="80" y="2272"/>
                    </a:lnTo>
                    <a:lnTo>
                      <a:pt x="84" y="2271"/>
                    </a:lnTo>
                    <a:lnTo>
                      <a:pt x="88" y="2268"/>
                    </a:lnTo>
                    <a:lnTo>
                      <a:pt x="90" y="2265"/>
                    </a:lnTo>
                    <a:lnTo>
                      <a:pt x="91" y="2260"/>
                    </a:lnTo>
                    <a:lnTo>
                      <a:pt x="94" y="2249"/>
                    </a:lnTo>
                    <a:lnTo>
                      <a:pt x="95" y="2236"/>
                    </a:lnTo>
                    <a:lnTo>
                      <a:pt x="94" y="2204"/>
                    </a:lnTo>
                    <a:lnTo>
                      <a:pt x="90" y="2168"/>
                    </a:lnTo>
                    <a:lnTo>
                      <a:pt x="88" y="2150"/>
                    </a:lnTo>
                    <a:lnTo>
                      <a:pt x="87" y="2133"/>
                    </a:lnTo>
                    <a:lnTo>
                      <a:pt x="87" y="2116"/>
                    </a:lnTo>
                    <a:lnTo>
                      <a:pt x="87" y="2101"/>
                    </a:lnTo>
                    <a:lnTo>
                      <a:pt x="89" y="2088"/>
                    </a:lnTo>
                    <a:lnTo>
                      <a:pt x="93" y="2078"/>
                    </a:lnTo>
                    <a:lnTo>
                      <a:pt x="95" y="2073"/>
                    </a:lnTo>
                    <a:lnTo>
                      <a:pt x="99" y="2069"/>
                    </a:lnTo>
                    <a:lnTo>
                      <a:pt x="102" y="2067"/>
                    </a:lnTo>
                    <a:lnTo>
                      <a:pt x="107" y="2066"/>
                    </a:lnTo>
                    <a:lnTo>
                      <a:pt x="126" y="2061"/>
                    </a:lnTo>
                    <a:lnTo>
                      <a:pt x="143" y="2053"/>
                    </a:lnTo>
                    <a:lnTo>
                      <a:pt x="159" y="2046"/>
                    </a:lnTo>
                    <a:lnTo>
                      <a:pt x="173" y="2036"/>
                    </a:lnTo>
                    <a:lnTo>
                      <a:pt x="187" y="2026"/>
                    </a:lnTo>
                    <a:lnTo>
                      <a:pt x="199" y="2014"/>
                    </a:lnTo>
                    <a:lnTo>
                      <a:pt x="211" y="2002"/>
                    </a:lnTo>
                    <a:lnTo>
                      <a:pt x="221" y="1988"/>
                    </a:lnTo>
                    <a:lnTo>
                      <a:pt x="231" y="1975"/>
                    </a:lnTo>
                    <a:lnTo>
                      <a:pt x="240" y="1959"/>
                    </a:lnTo>
                    <a:lnTo>
                      <a:pt x="247" y="1944"/>
                    </a:lnTo>
                    <a:lnTo>
                      <a:pt x="253" y="1927"/>
                    </a:lnTo>
                    <a:lnTo>
                      <a:pt x="259" y="1910"/>
                    </a:lnTo>
                    <a:lnTo>
                      <a:pt x="264" y="1893"/>
                    </a:lnTo>
                    <a:lnTo>
                      <a:pt x="269" y="1876"/>
                    </a:lnTo>
                    <a:lnTo>
                      <a:pt x="271" y="1857"/>
                    </a:lnTo>
                    <a:lnTo>
                      <a:pt x="274" y="1851"/>
                    </a:lnTo>
                    <a:lnTo>
                      <a:pt x="276" y="1845"/>
                    </a:lnTo>
                    <a:lnTo>
                      <a:pt x="279" y="1839"/>
                    </a:lnTo>
                    <a:lnTo>
                      <a:pt x="282" y="1834"/>
                    </a:lnTo>
                    <a:lnTo>
                      <a:pt x="291" y="1823"/>
                    </a:lnTo>
                    <a:lnTo>
                      <a:pt x="300" y="1812"/>
                    </a:lnTo>
                    <a:lnTo>
                      <a:pt x="302" y="1807"/>
                    </a:lnTo>
                    <a:lnTo>
                      <a:pt x="306" y="1801"/>
                    </a:lnTo>
                    <a:lnTo>
                      <a:pt x="307" y="1796"/>
                    </a:lnTo>
                    <a:lnTo>
                      <a:pt x="308" y="1790"/>
                    </a:lnTo>
                    <a:lnTo>
                      <a:pt x="307" y="1784"/>
                    </a:lnTo>
                    <a:lnTo>
                      <a:pt x="306" y="1778"/>
                    </a:lnTo>
                    <a:lnTo>
                      <a:pt x="302" y="1772"/>
                    </a:lnTo>
                    <a:lnTo>
                      <a:pt x="297" y="1766"/>
                    </a:lnTo>
                    <a:lnTo>
                      <a:pt x="292" y="1759"/>
                    </a:lnTo>
                    <a:lnTo>
                      <a:pt x="289" y="1753"/>
                    </a:lnTo>
                    <a:lnTo>
                      <a:pt x="286" y="1747"/>
                    </a:lnTo>
                    <a:lnTo>
                      <a:pt x="284" y="1741"/>
                    </a:lnTo>
                    <a:lnTo>
                      <a:pt x="279" y="1728"/>
                    </a:lnTo>
                    <a:lnTo>
                      <a:pt x="274" y="1714"/>
                    </a:lnTo>
                    <a:lnTo>
                      <a:pt x="270" y="1707"/>
                    </a:lnTo>
                    <a:lnTo>
                      <a:pt x="265" y="1701"/>
                    </a:lnTo>
                    <a:lnTo>
                      <a:pt x="260" y="1695"/>
                    </a:lnTo>
                    <a:lnTo>
                      <a:pt x="254" y="1688"/>
                    </a:lnTo>
                    <a:lnTo>
                      <a:pt x="242" y="1679"/>
                    </a:lnTo>
                    <a:lnTo>
                      <a:pt x="230" y="1668"/>
                    </a:lnTo>
                    <a:lnTo>
                      <a:pt x="221" y="1654"/>
                    </a:lnTo>
                    <a:lnTo>
                      <a:pt x="210" y="1639"/>
                    </a:lnTo>
                    <a:lnTo>
                      <a:pt x="200" y="1627"/>
                    </a:lnTo>
                    <a:lnTo>
                      <a:pt x="194" y="1616"/>
                    </a:lnTo>
                    <a:lnTo>
                      <a:pt x="169" y="1609"/>
                    </a:lnTo>
                    <a:lnTo>
                      <a:pt x="131" y="1594"/>
                    </a:lnTo>
                    <a:lnTo>
                      <a:pt x="112" y="1586"/>
                    </a:lnTo>
                    <a:lnTo>
                      <a:pt x="96" y="1576"/>
                    </a:lnTo>
                    <a:lnTo>
                      <a:pt x="90" y="1571"/>
                    </a:lnTo>
                    <a:lnTo>
                      <a:pt x="87" y="1566"/>
                    </a:lnTo>
                    <a:lnTo>
                      <a:pt x="84" y="1561"/>
                    </a:lnTo>
                    <a:lnTo>
                      <a:pt x="83" y="1556"/>
                    </a:lnTo>
                    <a:lnTo>
                      <a:pt x="88" y="1553"/>
                    </a:lnTo>
                    <a:lnTo>
                      <a:pt x="99" y="1545"/>
                    </a:lnTo>
                    <a:lnTo>
                      <a:pt x="115" y="1537"/>
                    </a:lnTo>
                    <a:lnTo>
                      <a:pt x="134" y="1528"/>
                    </a:lnTo>
                    <a:lnTo>
                      <a:pt x="154" y="1517"/>
                    </a:lnTo>
                    <a:lnTo>
                      <a:pt x="172" y="1507"/>
                    </a:lnTo>
                    <a:lnTo>
                      <a:pt x="187" y="1499"/>
                    </a:lnTo>
                    <a:lnTo>
                      <a:pt x="197" y="1490"/>
                    </a:lnTo>
                    <a:lnTo>
                      <a:pt x="210" y="1474"/>
                    </a:lnTo>
                    <a:lnTo>
                      <a:pt x="220" y="1463"/>
                    </a:lnTo>
                    <a:lnTo>
                      <a:pt x="226" y="1457"/>
                    </a:lnTo>
                    <a:lnTo>
                      <a:pt x="230" y="1455"/>
                    </a:lnTo>
                    <a:lnTo>
                      <a:pt x="241" y="1455"/>
                    </a:lnTo>
                    <a:lnTo>
                      <a:pt x="264" y="1451"/>
                    </a:lnTo>
                    <a:lnTo>
                      <a:pt x="290" y="1441"/>
                    </a:lnTo>
                    <a:lnTo>
                      <a:pt x="312" y="1433"/>
                    </a:lnTo>
                    <a:lnTo>
                      <a:pt x="317" y="1431"/>
                    </a:lnTo>
                    <a:lnTo>
                      <a:pt x="322" y="1433"/>
                    </a:lnTo>
                    <a:lnTo>
                      <a:pt x="325" y="1434"/>
                    </a:lnTo>
                    <a:lnTo>
                      <a:pt x="330" y="1436"/>
                    </a:lnTo>
                    <a:lnTo>
                      <a:pt x="334" y="1440"/>
                    </a:lnTo>
                    <a:lnTo>
                      <a:pt x="336" y="1446"/>
                    </a:lnTo>
                    <a:lnTo>
                      <a:pt x="340" y="1453"/>
                    </a:lnTo>
                    <a:lnTo>
                      <a:pt x="342" y="1462"/>
                    </a:lnTo>
                    <a:lnTo>
                      <a:pt x="346" y="1475"/>
                    </a:lnTo>
                    <a:lnTo>
                      <a:pt x="351" y="1488"/>
                    </a:lnTo>
                    <a:lnTo>
                      <a:pt x="357" y="1499"/>
                    </a:lnTo>
                    <a:lnTo>
                      <a:pt x="363" y="1508"/>
                    </a:lnTo>
                    <a:lnTo>
                      <a:pt x="372" y="1517"/>
                    </a:lnTo>
                    <a:lnTo>
                      <a:pt x="380" y="1524"/>
                    </a:lnTo>
                    <a:lnTo>
                      <a:pt x="390" y="1530"/>
                    </a:lnTo>
                    <a:lnTo>
                      <a:pt x="400" y="1534"/>
                    </a:lnTo>
                    <a:lnTo>
                      <a:pt x="410" y="1538"/>
                    </a:lnTo>
                    <a:lnTo>
                      <a:pt x="421" y="1539"/>
                    </a:lnTo>
                    <a:lnTo>
                      <a:pt x="432" y="1539"/>
                    </a:lnTo>
                    <a:lnTo>
                      <a:pt x="443" y="1537"/>
                    </a:lnTo>
                    <a:lnTo>
                      <a:pt x="454" y="1532"/>
                    </a:lnTo>
                    <a:lnTo>
                      <a:pt x="465" y="1526"/>
                    </a:lnTo>
                    <a:lnTo>
                      <a:pt x="476" y="1518"/>
                    </a:lnTo>
                    <a:lnTo>
                      <a:pt x="487" y="1508"/>
                    </a:lnTo>
                    <a:lnTo>
                      <a:pt x="492" y="1502"/>
                    </a:lnTo>
                    <a:lnTo>
                      <a:pt x="494" y="1495"/>
                    </a:lnTo>
                    <a:lnTo>
                      <a:pt x="497" y="1488"/>
                    </a:lnTo>
                    <a:lnTo>
                      <a:pt x="498" y="1479"/>
                    </a:lnTo>
                    <a:lnTo>
                      <a:pt x="498" y="1461"/>
                    </a:lnTo>
                    <a:lnTo>
                      <a:pt x="497" y="1444"/>
                    </a:lnTo>
                    <a:lnTo>
                      <a:pt x="497" y="1435"/>
                    </a:lnTo>
                    <a:lnTo>
                      <a:pt x="498" y="1426"/>
                    </a:lnTo>
                    <a:lnTo>
                      <a:pt x="498" y="1419"/>
                    </a:lnTo>
                    <a:lnTo>
                      <a:pt x="500" y="1413"/>
                    </a:lnTo>
                    <a:lnTo>
                      <a:pt x="503" y="1407"/>
                    </a:lnTo>
                    <a:lnTo>
                      <a:pt x="508" y="1403"/>
                    </a:lnTo>
                    <a:lnTo>
                      <a:pt x="513" y="1401"/>
                    </a:lnTo>
                    <a:lnTo>
                      <a:pt x="520" y="1399"/>
                    </a:lnTo>
                    <a:lnTo>
                      <a:pt x="528" y="1399"/>
                    </a:lnTo>
                    <a:lnTo>
                      <a:pt x="535" y="1398"/>
                    </a:lnTo>
                    <a:lnTo>
                      <a:pt x="541" y="1397"/>
                    </a:lnTo>
                    <a:lnTo>
                      <a:pt x="547" y="1395"/>
                    </a:lnTo>
                    <a:lnTo>
                      <a:pt x="555" y="1390"/>
                    </a:lnTo>
                    <a:lnTo>
                      <a:pt x="563" y="1382"/>
                    </a:lnTo>
                    <a:lnTo>
                      <a:pt x="569" y="1374"/>
                    </a:lnTo>
                    <a:lnTo>
                      <a:pt x="573" y="1366"/>
                    </a:lnTo>
                    <a:lnTo>
                      <a:pt x="576" y="1358"/>
                    </a:lnTo>
                    <a:lnTo>
                      <a:pt x="580" y="1349"/>
                    </a:lnTo>
                    <a:lnTo>
                      <a:pt x="584" y="1342"/>
                    </a:lnTo>
                    <a:lnTo>
                      <a:pt x="588" y="1337"/>
                    </a:lnTo>
                    <a:lnTo>
                      <a:pt x="591" y="1335"/>
                    </a:lnTo>
                    <a:lnTo>
                      <a:pt x="593" y="1333"/>
                    </a:lnTo>
                    <a:lnTo>
                      <a:pt x="597" y="1332"/>
                    </a:lnTo>
                    <a:lnTo>
                      <a:pt x="601" y="1331"/>
                    </a:lnTo>
                    <a:lnTo>
                      <a:pt x="606" y="1331"/>
                    </a:lnTo>
                    <a:lnTo>
                      <a:pt x="610" y="1332"/>
                    </a:lnTo>
                    <a:lnTo>
                      <a:pt x="615" y="1335"/>
                    </a:lnTo>
                    <a:lnTo>
                      <a:pt x="621" y="1337"/>
                    </a:lnTo>
                    <a:lnTo>
                      <a:pt x="636" y="1344"/>
                    </a:lnTo>
                    <a:lnTo>
                      <a:pt x="655" y="1357"/>
                    </a:lnTo>
                    <a:lnTo>
                      <a:pt x="678" y="1376"/>
                    </a:lnTo>
                    <a:lnTo>
                      <a:pt x="694" y="1392"/>
                    </a:lnTo>
                    <a:lnTo>
                      <a:pt x="699" y="1396"/>
                    </a:lnTo>
                    <a:lnTo>
                      <a:pt x="703" y="1398"/>
                    </a:lnTo>
                    <a:lnTo>
                      <a:pt x="708" y="1401"/>
                    </a:lnTo>
                    <a:lnTo>
                      <a:pt x="714" y="1402"/>
                    </a:lnTo>
                    <a:lnTo>
                      <a:pt x="721" y="1403"/>
                    </a:lnTo>
                    <a:lnTo>
                      <a:pt x="729" y="1403"/>
                    </a:lnTo>
                    <a:lnTo>
                      <a:pt x="738" y="1403"/>
                    </a:lnTo>
                    <a:lnTo>
                      <a:pt x="749" y="1402"/>
                    </a:lnTo>
                    <a:lnTo>
                      <a:pt x="765" y="1399"/>
                    </a:lnTo>
                    <a:lnTo>
                      <a:pt x="781" y="1396"/>
                    </a:lnTo>
                    <a:lnTo>
                      <a:pt x="799" y="1391"/>
                    </a:lnTo>
                    <a:lnTo>
                      <a:pt x="816" y="1386"/>
                    </a:lnTo>
                    <a:lnTo>
                      <a:pt x="832" y="1379"/>
                    </a:lnTo>
                    <a:lnTo>
                      <a:pt x="848" y="1371"/>
                    </a:lnTo>
                    <a:lnTo>
                      <a:pt x="863" y="1363"/>
                    </a:lnTo>
                    <a:lnTo>
                      <a:pt x="876" y="1353"/>
                    </a:lnTo>
                    <a:lnTo>
                      <a:pt x="909" y="1327"/>
                    </a:lnTo>
                    <a:lnTo>
                      <a:pt x="942" y="1299"/>
                    </a:lnTo>
                    <a:lnTo>
                      <a:pt x="958" y="1284"/>
                    </a:lnTo>
                    <a:lnTo>
                      <a:pt x="972" y="1268"/>
                    </a:lnTo>
                    <a:lnTo>
                      <a:pt x="985" y="1251"/>
                    </a:lnTo>
                    <a:lnTo>
                      <a:pt x="997" y="1234"/>
                    </a:lnTo>
                    <a:lnTo>
                      <a:pt x="1003" y="1222"/>
                    </a:lnTo>
                    <a:lnTo>
                      <a:pt x="1007" y="1211"/>
                    </a:lnTo>
                    <a:lnTo>
                      <a:pt x="1009" y="1200"/>
                    </a:lnTo>
                    <a:lnTo>
                      <a:pt x="1011" y="1189"/>
                    </a:lnTo>
                    <a:lnTo>
                      <a:pt x="1009" y="1178"/>
                    </a:lnTo>
                    <a:lnTo>
                      <a:pt x="1008" y="1167"/>
                    </a:lnTo>
                    <a:lnTo>
                      <a:pt x="1005" y="1155"/>
                    </a:lnTo>
                    <a:lnTo>
                      <a:pt x="998" y="1144"/>
                    </a:lnTo>
                    <a:lnTo>
                      <a:pt x="995" y="1133"/>
                    </a:lnTo>
                    <a:lnTo>
                      <a:pt x="994" y="1122"/>
                    </a:lnTo>
                    <a:lnTo>
                      <a:pt x="994" y="1113"/>
                    </a:lnTo>
                    <a:lnTo>
                      <a:pt x="996" y="1103"/>
                    </a:lnTo>
                    <a:lnTo>
                      <a:pt x="1000" y="1095"/>
                    </a:lnTo>
                    <a:lnTo>
                      <a:pt x="1005" y="1086"/>
                    </a:lnTo>
                    <a:lnTo>
                      <a:pt x="1011" y="1079"/>
                    </a:lnTo>
                    <a:lnTo>
                      <a:pt x="1018" y="1070"/>
                    </a:lnTo>
                    <a:lnTo>
                      <a:pt x="1032" y="1054"/>
                    </a:lnTo>
                    <a:lnTo>
                      <a:pt x="1045" y="1038"/>
                    </a:lnTo>
                    <a:lnTo>
                      <a:pt x="1050" y="1030"/>
                    </a:lnTo>
                    <a:lnTo>
                      <a:pt x="1054" y="1021"/>
                    </a:lnTo>
                    <a:lnTo>
                      <a:pt x="1057" y="1011"/>
                    </a:lnTo>
                    <a:lnTo>
                      <a:pt x="1057" y="1002"/>
                    </a:lnTo>
                    <a:lnTo>
                      <a:pt x="1057" y="991"/>
                    </a:lnTo>
                    <a:lnTo>
                      <a:pt x="1056" y="981"/>
                    </a:lnTo>
                    <a:lnTo>
                      <a:pt x="1054" y="971"/>
                    </a:lnTo>
                    <a:lnTo>
                      <a:pt x="1050" y="962"/>
                    </a:lnTo>
                    <a:lnTo>
                      <a:pt x="1041" y="946"/>
                    </a:lnTo>
                    <a:lnTo>
                      <a:pt x="1032" y="931"/>
                    </a:lnTo>
                    <a:lnTo>
                      <a:pt x="1020" y="916"/>
                    </a:lnTo>
                    <a:lnTo>
                      <a:pt x="1009" y="901"/>
                    </a:lnTo>
                    <a:lnTo>
                      <a:pt x="998" y="884"/>
                    </a:lnTo>
                    <a:lnTo>
                      <a:pt x="989" y="866"/>
                    </a:lnTo>
                    <a:lnTo>
                      <a:pt x="989" y="856"/>
                    </a:lnTo>
                    <a:lnTo>
                      <a:pt x="987" y="846"/>
                    </a:lnTo>
                    <a:lnTo>
                      <a:pt x="986" y="838"/>
                    </a:lnTo>
                    <a:lnTo>
                      <a:pt x="984" y="830"/>
                    </a:lnTo>
                    <a:lnTo>
                      <a:pt x="983" y="822"/>
                    </a:lnTo>
                    <a:lnTo>
                      <a:pt x="981" y="812"/>
                    </a:lnTo>
                    <a:lnTo>
                      <a:pt x="983" y="802"/>
                    </a:lnTo>
                    <a:lnTo>
                      <a:pt x="986" y="791"/>
                    </a:lnTo>
                    <a:lnTo>
                      <a:pt x="990" y="782"/>
                    </a:lnTo>
                    <a:lnTo>
                      <a:pt x="995" y="775"/>
                    </a:lnTo>
                    <a:lnTo>
                      <a:pt x="1001" y="769"/>
                    </a:lnTo>
                    <a:lnTo>
                      <a:pt x="1006" y="764"/>
                    </a:lnTo>
                    <a:lnTo>
                      <a:pt x="1018" y="753"/>
                    </a:lnTo>
                    <a:lnTo>
                      <a:pt x="1029" y="740"/>
                    </a:lnTo>
                    <a:lnTo>
                      <a:pt x="1033" y="735"/>
                    </a:lnTo>
                    <a:lnTo>
                      <a:pt x="1035" y="729"/>
                    </a:lnTo>
                    <a:lnTo>
                      <a:pt x="1036" y="724"/>
                    </a:lnTo>
                    <a:lnTo>
                      <a:pt x="1035" y="719"/>
                    </a:lnTo>
                    <a:lnTo>
                      <a:pt x="1034" y="714"/>
                    </a:lnTo>
                    <a:lnTo>
                      <a:pt x="1032" y="709"/>
                    </a:lnTo>
                    <a:lnTo>
                      <a:pt x="1028" y="704"/>
                    </a:lnTo>
                    <a:lnTo>
                      <a:pt x="1024" y="698"/>
                    </a:lnTo>
                    <a:lnTo>
                      <a:pt x="1022" y="694"/>
                    </a:lnTo>
                    <a:lnTo>
                      <a:pt x="1020" y="691"/>
                    </a:lnTo>
                    <a:lnTo>
                      <a:pt x="1019" y="686"/>
                    </a:lnTo>
                    <a:lnTo>
                      <a:pt x="1020" y="680"/>
                    </a:lnTo>
                    <a:lnTo>
                      <a:pt x="1023" y="669"/>
                    </a:lnTo>
                    <a:lnTo>
                      <a:pt x="1028" y="656"/>
                    </a:lnTo>
                    <a:lnTo>
                      <a:pt x="1032" y="643"/>
                    </a:lnTo>
                    <a:lnTo>
                      <a:pt x="1035" y="629"/>
                    </a:lnTo>
                    <a:lnTo>
                      <a:pt x="1035" y="622"/>
                    </a:lnTo>
                    <a:lnTo>
                      <a:pt x="1035" y="616"/>
                    </a:lnTo>
                    <a:lnTo>
                      <a:pt x="1034" y="609"/>
                    </a:lnTo>
                    <a:lnTo>
                      <a:pt x="1032" y="602"/>
                    </a:lnTo>
                    <a:lnTo>
                      <a:pt x="1024" y="588"/>
                    </a:lnTo>
                    <a:lnTo>
                      <a:pt x="1019" y="576"/>
                    </a:lnTo>
                    <a:lnTo>
                      <a:pt x="1014" y="563"/>
                    </a:lnTo>
                    <a:lnTo>
                      <a:pt x="1011" y="552"/>
                    </a:lnTo>
                    <a:lnTo>
                      <a:pt x="1008" y="542"/>
                    </a:lnTo>
                    <a:lnTo>
                      <a:pt x="1008" y="534"/>
                    </a:lnTo>
                    <a:lnTo>
                      <a:pt x="1008" y="525"/>
                    </a:lnTo>
                    <a:lnTo>
                      <a:pt x="1011" y="518"/>
                    </a:lnTo>
                    <a:lnTo>
                      <a:pt x="1013" y="511"/>
                    </a:lnTo>
                    <a:lnTo>
                      <a:pt x="1018" y="502"/>
                    </a:lnTo>
                    <a:lnTo>
                      <a:pt x="1024" y="495"/>
                    </a:lnTo>
                    <a:lnTo>
                      <a:pt x="1032" y="487"/>
                    </a:lnTo>
                    <a:lnTo>
                      <a:pt x="1050" y="471"/>
                    </a:lnTo>
                    <a:lnTo>
                      <a:pt x="1076" y="453"/>
                    </a:lnTo>
                    <a:lnTo>
                      <a:pt x="1084" y="446"/>
                    </a:lnTo>
                    <a:lnTo>
                      <a:pt x="1091" y="437"/>
                    </a:lnTo>
                    <a:lnTo>
                      <a:pt x="1098" y="429"/>
                    </a:lnTo>
                    <a:lnTo>
                      <a:pt x="1103" y="420"/>
                    </a:lnTo>
                    <a:lnTo>
                      <a:pt x="1106" y="410"/>
                    </a:lnTo>
                    <a:lnTo>
                      <a:pt x="1110" y="400"/>
                    </a:lnTo>
                    <a:lnTo>
                      <a:pt x="1111" y="391"/>
                    </a:lnTo>
                    <a:lnTo>
                      <a:pt x="1112" y="381"/>
                    </a:lnTo>
                    <a:lnTo>
                      <a:pt x="1112" y="338"/>
                    </a:lnTo>
                    <a:lnTo>
                      <a:pt x="1111" y="294"/>
                    </a:lnTo>
                    <a:lnTo>
                      <a:pt x="1118" y="250"/>
                    </a:lnTo>
                    <a:lnTo>
                      <a:pt x="1123" y="213"/>
                    </a:lnTo>
                    <a:lnTo>
                      <a:pt x="1122" y="205"/>
                    </a:lnTo>
                    <a:lnTo>
                      <a:pt x="1120" y="197"/>
                    </a:lnTo>
                    <a:lnTo>
                      <a:pt x="1116" y="191"/>
                    </a:lnTo>
                    <a:lnTo>
                      <a:pt x="1111" y="185"/>
                    </a:lnTo>
                    <a:lnTo>
                      <a:pt x="1104" y="179"/>
                    </a:lnTo>
                    <a:lnTo>
                      <a:pt x="1094" y="174"/>
                    </a:lnTo>
                    <a:lnTo>
                      <a:pt x="1082" y="169"/>
                    </a:lnTo>
                    <a:lnTo>
                      <a:pt x="1068" y="165"/>
                    </a:lnTo>
                    <a:lnTo>
                      <a:pt x="1045" y="159"/>
                    </a:lnTo>
                    <a:lnTo>
                      <a:pt x="1025" y="153"/>
                    </a:lnTo>
                    <a:lnTo>
                      <a:pt x="1018" y="151"/>
                    </a:lnTo>
                    <a:lnTo>
                      <a:pt x="1011" y="147"/>
                    </a:lnTo>
                    <a:lnTo>
                      <a:pt x="1003" y="142"/>
                    </a:lnTo>
                    <a:lnTo>
                      <a:pt x="997" y="138"/>
                    </a:lnTo>
                    <a:lnTo>
                      <a:pt x="991" y="132"/>
                    </a:lnTo>
                    <a:lnTo>
                      <a:pt x="986" y="127"/>
                    </a:lnTo>
                    <a:lnTo>
                      <a:pt x="981" y="120"/>
                    </a:lnTo>
                    <a:lnTo>
                      <a:pt x="976" y="113"/>
                    </a:lnTo>
                    <a:lnTo>
                      <a:pt x="967" y="94"/>
                    </a:lnTo>
                    <a:lnTo>
                      <a:pt x="957" y="71"/>
                    </a:lnTo>
                    <a:lnTo>
                      <a:pt x="953" y="60"/>
                    </a:lnTo>
                    <a:lnTo>
                      <a:pt x="948" y="40"/>
                    </a:lnTo>
                    <a:lnTo>
                      <a:pt x="948" y="32"/>
                    </a:lnTo>
                    <a:lnTo>
                      <a:pt x="950" y="25"/>
                    </a:lnTo>
                    <a:lnTo>
                      <a:pt x="952" y="23"/>
                    </a:lnTo>
                    <a:lnTo>
                      <a:pt x="954" y="22"/>
                    </a:lnTo>
                    <a:lnTo>
                      <a:pt x="958" y="22"/>
                    </a:lnTo>
                    <a:lnTo>
                      <a:pt x="962" y="23"/>
                    </a:lnTo>
                    <a:lnTo>
                      <a:pt x="972" y="27"/>
                    </a:lnTo>
                    <a:lnTo>
                      <a:pt x="980" y="33"/>
                    </a:lnTo>
                    <a:lnTo>
                      <a:pt x="987" y="38"/>
                    </a:lnTo>
                    <a:lnTo>
                      <a:pt x="994" y="44"/>
                    </a:lnTo>
                    <a:lnTo>
                      <a:pt x="1006" y="55"/>
                    </a:lnTo>
                    <a:lnTo>
                      <a:pt x="1017" y="66"/>
                    </a:lnTo>
                    <a:lnTo>
                      <a:pt x="1023" y="71"/>
                    </a:lnTo>
                    <a:lnTo>
                      <a:pt x="1029" y="75"/>
                    </a:lnTo>
                    <a:lnTo>
                      <a:pt x="1038" y="78"/>
                    </a:lnTo>
                    <a:lnTo>
                      <a:pt x="1046" y="81"/>
                    </a:lnTo>
                    <a:lnTo>
                      <a:pt x="1056" y="81"/>
                    </a:lnTo>
                    <a:lnTo>
                      <a:pt x="1068" y="81"/>
                    </a:lnTo>
                    <a:lnTo>
                      <a:pt x="1082" y="80"/>
                    </a:lnTo>
                    <a:lnTo>
                      <a:pt x="1098" y="76"/>
                    </a:lnTo>
                    <a:lnTo>
                      <a:pt x="1106" y="75"/>
                    </a:lnTo>
                    <a:lnTo>
                      <a:pt x="1115" y="75"/>
                    </a:lnTo>
                    <a:lnTo>
                      <a:pt x="1122" y="75"/>
                    </a:lnTo>
                    <a:lnTo>
                      <a:pt x="1129" y="77"/>
                    </a:lnTo>
                    <a:lnTo>
                      <a:pt x="1143" y="83"/>
                    </a:lnTo>
                    <a:lnTo>
                      <a:pt x="1156" y="89"/>
                    </a:lnTo>
                    <a:lnTo>
                      <a:pt x="1162" y="93"/>
                    </a:lnTo>
                    <a:lnTo>
                      <a:pt x="1169" y="94"/>
                    </a:lnTo>
                    <a:lnTo>
                      <a:pt x="1176" y="97"/>
                    </a:lnTo>
                    <a:lnTo>
                      <a:pt x="1183" y="97"/>
                    </a:lnTo>
                    <a:lnTo>
                      <a:pt x="1191" y="97"/>
                    </a:lnTo>
                    <a:lnTo>
                      <a:pt x="1198" y="94"/>
                    </a:lnTo>
                    <a:lnTo>
                      <a:pt x="1207" y="89"/>
                    </a:lnTo>
                    <a:lnTo>
                      <a:pt x="1216" y="83"/>
                    </a:lnTo>
                    <a:lnTo>
                      <a:pt x="1230" y="75"/>
                    </a:lnTo>
                    <a:lnTo>
                      <a:pt x="1243" y="67"/>
                    </a:lnTo>
                    <a:lnTo>
                      <a:pt x="1257" y="64"/>
                    </a:lnTo>
                    <a:lnTo>
                      <a:pt x="1269" y="61"/>
                    </a:lnTo>
                    <a:lnTo>
                      <a:pt x="1281" y="61"/>
                    </a:lnTo>
                    <a:lnTo>
                      <a:pt x="1293" y="61"/>
                    </a:lnTo>
                    <a:lnTo>
                      <a:pt x="1306" y="64"/>
                    </a:lnTo>
                    <a:lnTo>
                      <a:pt x="1317" y="66"/>
                    </a:lnTo>
                    <a:lnTo>
                      <a:pt x="1341" y="70"/>
                    </a:lnTo>
                    <a:lnTo>
                      <a:pt x="1366" y="72"/>
                    </a:lnTo>
                    <a:lnTo>
                      <a:pt x="1378" y="72"/>
                    </a:lnTo>
                    <a:lnTo>
                      <a:pt x="1391" y="70"/>
                    </a:lnTo>
                    <a:lnTo>
                      <a:pt x="1405" y="66"/>
                    </a:lnTo>
                    <a:lnTo>
                      <a:pt x="1420" y="60"/>
                    </a:lnTo>
                    <a:lnTo>
                      <a:pt x="1491" y="23"/>
                    </a:lnTo>
                    <a:lnTo>
                      <a:pt x="1513" y="11"/>
                    </a:lnTo>
                    <a:lnTo>
                      <a:pt x="1528" y="4"/>
                    </a:lnTo>
                    <a:lnTo>
                      <a:pt x="1535" y="1"/>
                    </a:lnTo>
                    <a:lnTo>
                      <a:pt x="1539" y="0"/>
                    </a:lnTo>
                    <a:lnTo>
                      <a:pt x="1543" y="0"/>
                    </a:lnTo>
                    <a:lnTo>
                      <a:pt x="1547" y="1"/>
                    </a:lnTo>
                    <a:lnTo>
                      <a:pt x="1549" y="5"/>
                    </a:lnTo>
                    <a:lnTo>
                      <a:pt x="1552" y="9"/>
                    </a:lnTo>
                    <a:lnTo>
                      <a:pt x="1553" y="14"/>
                    </a:lnTo>
                    <a:lnTo>
                      <a:pt x="1554" y="20"/>
                    </a:lnTo>
                    <a:lnTo>
                      <a:pt x="1557" y="37"/>
                    </a:lnTo>
                    <a:lnTo>
                      <a:pt x="1560" y="60"/>
                    </a:lnTo>
                    <a:lnTo>
                      <a:pt x="1563" y="70"/>
                    </a:lnTo>
                    <a:lnTo>
                      <a:pt x="1566" y="77"/>
                    </a:lnTo>
                    <a:lnTo>
                      <a:pt x="1570" y="82"/>
                    </a:lnTo>
                    <a:lnTo>
                      <a:pt x="1574" y="87"/>
                    </a:lnTo>
                    <a:lnTo>
                      <a:pt x="1579" y="91"/>
                    </a:lnTo>
                    <a:lnTo>
                      <a:pt x="1584" y="93"/>
                    </a:lnTo>
                    <a:lnTo>
                      <a:pt x="1590" y="94"/>
                    </a:lnTo>
                    <a:lnTo>
                      <a:pt x="1595" y="96"/>
                    </a:lnTo>
                    <a:lnTo>
                      <a:pt x="1607" y="97"/>
                    </a:lnTo>
                    <a:lnTo>
                      <a:pt x="1619" y="100"/>
                    </a:lnTo>
                    <a:lnTo>
                      <a:pt x="1625" y="102"/>
                    </a:lnTo>
                    <a:lnTo>
                      <a:pt x="1630" y="105"/>
                    </a:lnTo>
                    <a:lnTo>
                      <a:pt x="1636" y="109"/>
                    </a:lnTo>
                    <a:lnTo>
                      <a:pt x="1641" y="115"/>
                    </a:lnTo>
                    <a:lnTo>
                      <a:pt x="1669" y="156"/>
                    </a:lnTo>
                    <a:lnTo>
                      <a:pt x="1692" y="192"/>
                    </a:lnTo>
                    <a:lnTo>
                      <a:pt x="1703" y="209"/>
                    </a:lnTo>
                    <a:lnTo>
                      <a:pt x="1716" y="224"/>
                    </a:lnTo>
                    <a:lnTo>
                      <a:pt x="1727" y="238"/>
                    </a:lnTo>
                    <a:lnTo>
                      <a:pt x="1740" y="249"/>
                    </a:lnTo>
                    <a:lnTo>
                      <a:pt x="1746" y="254"/>
                    </a:lnTo>
                    <a:lnTo>
                      <a:pt x="1754" y="258"/>
                    </a:lnTo>
                    <a:lnTo>
                      <a:pt x="1761" y="262"/>
                    </a:lnTo>
                    <a:lnTo>
                      <a:pt x="1768" y="266"/>
                    </a:lnTo>
                    <a:lnTo>
                      <a:pt x="1777" y="268"/>
                    </a:lnTo>
                    <a:lnTo>
                      <a:pt x="1785" y="271"/>
                    </a:lnTo>
                    <a:lnTo>
                      <a:pt x="1795" y="272"/>
                    </a:lnTo>
                    <a:lnTo>
                      <a:pt x="1805" y="273"/>
                    </a:lnTo>
                    <a:lnTo>
                      <a:pt x="1815" y="273"/>
                    </a:lnTo>
                    <a:lnTo>
                      <a:pt x="1826" y="273"/>
                    </a:lnTo>
                    <a:lnTo>
                      <a:pt x="1838" y="272"/>
                    </a:lnTo>
                    <a:lnTo>
                      <a:pt x="1850" y="269"/>
                    </a:lnTo>
                    <a:lnTo>
                      <a:pt x="1879" y="263"/>
                    </a:lnTo>
                    <a:lnTo>
                      <a:pt x="1910" y="254"/>
                    </a:lnTo>
                    <a:lnTo>
                      <a:pt x="1924" y="243"/>
                    </a:lnTo>
                    <a:lnTo>
                      <a:pt x="1935" y="234"/>
                    </a:lnTo>
                    <a:lnTo>
                      <a:pt x="1943" y="228"/>
                    </a:lnTo>
                    <a:lnTo>
                      <a:pt x="1951" y="224"/>
                    </a:lnTo>
                    <a:lnTo>
                      <a:pt x="1956" y="223"/>
                    </a:lnTo>
                    <a:lnTo>
                      <a:pt x="1961" y="223"/>
                    </a:lnTo>
                    <a:lnTo>
                      <a:pt x="1963" y="224"/>
                    </a:lnTo>
                    <a:lnTo>
                      <a:pt x="1967" y="228"/>
                    </a:lnTo>
                    <a:lnTo>
                      <a:pt x="1972" y="236"/>
                    </a:lnTo>
                    <a:lnTo>
                      <a:pt x="1979" y="246"/>
                    </a:lnTo>
                    <a:lnTo>
                      <a:pt x="1985" y="252"/>
                    </a:lnTo>
                    <a:lnTo>
                      <a:pt x="1992" y="257"/>
                    </a:lnTo>
                    <a:lnTo>
                      <a:pt x="2001" y="261"/>
                    </a:lnTo>
                    <a:lnTo>
                      <a:pt x="2012" y="265"/>
                    </a:lnTo>
                    <a:lnTo>
                      <a:pt x="2023" y="268"/>
                    </a:lnTo>
                    <a:lnTo>
                      <a:pt x="2033" y="272"/>
                    </a:lnTo>
                    <a:lnTo>
                      <a:pt x="2040" y="276"/>
                    </a:lnTo>
                    <a:lnTo>
                      <a:pt x="2047" y="279"/>
                    </a:lnTo>
                    <a:lnTo>
                      <a:pt x="2054" y="283"/>
                    </a:lnTo>
                    <a:lnTo>
                      <a:pt x="2058" y="288"/>
                    </a:lnTo>
                    <a:lnTo>
                      <a:pt x="2062" y="293"/>
                    </a:lnTo>
                    <a:lnTo>
                      <a:pt x="2065" y="298"/>
                    </a:lnTo>
                    <a:lnTo>
                      <a:pt x="2066" y="302"/>
                    </a:lnTo>
                    <a:lnTo>
                      <a:pt x="2067" y="309"/>
                    </a:lnTo>
                    <a:lnTo>
                      <a:pt x="2067" y="315"/>
                    </a:lnTo>
                    <a:lnTo>
                      <a:pt x="2067" y="320"/>
                    </a:lnTo>
                    <a:lnTo>
                      <a:pt x="2063" y="333"/>
                    </a:lnTo>
                    <a:lnTo>
                      <a:pt x="2058" y="345"/>
                    </a:lnTo>
                    <a:lnTo>
                      <a:pt x="2045" y="374"/>
                    </a:lnTo>
                    <a:lnTo>
                      <a:pt x="2030" y="404"/>
                    </a:lnTo>
                    <a:lnTo>
                      <a:pt x="2024" y="419"/>
                    </a:lnTo>
                    <a:lnTo>
                      <a:pt x="2019" y="435"/>
                    </a:lnTo>
                    <a:lnTo>
                      <a:pt x="2016" y="449"/>
                    </a:lnTo>
                    <a:lnTo>
                      <a:pt x="2013" y="465"/>
                    </a:lnTo>
                    <a:lnTo>
                      <a:pt x="2014" y="475"/>
                    </a:lnTo>
                    <a:lnTo>
                      <a:pt x="2016" y="484"/>
                    </a:lnTo>
                    <a:lnTo>
                      <a:pt x="2017" y="492"/>
                    </a:lnTo>
                    <a:lnTo>
                      <a:pt x="2021" y="500"/>
                    </a:lnTo>
                    <a:lnTo>
                      <a:pt x="2023" y="505"/>
                    </a:lnTo>
                    <a:lnTo>
                      <a:pt x="2028" y="509"/>
                    </a:lnTo>
                    <a:lnTo>
                      <a:pt x="2032" y="514"/>
                    </a:lnTo>
                    <a:lnTo>
                      <a:pt x="2036" y="517"/>
                    </a:lnTo>
                    <a:lnTo>
                      <a:pt x="2043" y="519"/>
                    </a:lnTo>
                    <a:lnTo>
                      <a:pt x="2049" y="520"/>
                    </a:lnTo>
                    <a:lnTo>
                      <a:pt x="2055" y="522"/>
                    </a:lnTo>
                    <a:lnTo>
                      <a:pt x="2062" y="522"/>
                    </a:lnTo>
                    <a:lnTo>
                      <a:pt x="2077" y="520"/>
                    </a:lnTo>
                    <a:lnTo>
                      <a:pt x="2093" y="517"/>
                    </a:lnTo>
                    <a:lnTo>
                      <a:pt x="2126" y="507"/>
                    </a:lnTo>
                    <a:lnTo>
                      <a:pt x="2159" y="493"/>
                    </a:lnTo>
                    <a:lnTo>
                      <a:pt x="2175" y="487"/>
                    </a:lnTo>
                    <a:lnTo>
                      <a:pt x="2189" y="482"/>
                    </a:lnTo>
                    <a:lnTo>
                      <a:pt x="2203" y="478"/>
                    </a:lnTo>
                    <a:lnTo>
                      <a:pt x="2215" y="475"/>
                    </a:lnTo>
                    <a:lnTo>
                      <a:pt x="2229" y="474"/>
                    </a:lnTo>
                    <a:lnTo>
                      <a:pt x="2242" y="473"/>
                    </a:lnTo>
                    <a:lnTo>
                      <a:pt x="2254" y="474"/>
                    </a:lnTo>
                    <a:lnTo>
                      <a:pt x="2265" y="475"/>
                    </a:lnTo>
                    <a:lnTo>
                      <a:pt x="2276" y="476"/>
                    </a:lnTo>
                    <a:lnTo>
                      <a:pt x="2286" y="479"/>
                    </a:lnTo>
                    <a:lnTo>
                      <a:pt x="2296" y="482"/>
                    </a:lnTo>
                    <a:lnTo>
                      <a:pt x="2304" y="486"/>
                    </a:lnTo>
                    <a:lnTo>
                      <a:pt x="2341" y="503"/>
                    </a:lnTo>
                    <a:lnTo>
                      <a:pt x="2385" y="522"/>
                    </a:lnTo>
                    <a:lnTo>
                      <a:pt x="2397" y="525"/>
                    </a:lnTo>
                    <a:lnTo>
                      <a:pt x="2409" y="528"/>
                    </a:lnTo>
                    <a:lnTo>
                      <a:pt x="2420" y="529"/>
                    </a:lnTo>
                    <a:lnTo>
                      <a:pt x="2428" y="529"/>
                    </a:lnTo>
                    <a:lnTo>
                      <a:pt x="2437" y="528"/>
                    </a:lnTo>
                    <a:lnTo>
                      <a:pt x="2444" y="527"/>
                    </a:lnTo>
                    <a:lnTo>
                      <a:pt x="2451" y="524"/>
                    </a:lnTo>
                    <a:lnTo>
                      <a:pt x="2457" y="520"/>
                    </a:lnTo>
                    <a:lnTo>
                      <a:pt x="2471" y="511"/>
                    </a:lnTo>
                    <a:lnTo>
                      <a:pt x="2483" y="498"/>
                    </a:lnTo>
                    <a:lnTo>
                      <a:pt x="2497" y="485"/>
                    </a:lnTo>
                    <a:lnTo>
                      <a:pt x="2511" y="469"/>
                    </a:lnTo>
                    <a:lnTo>
                      <a:pt x="2515" y="465"/>
                    </a:lnTo>
                    <a:lnTo>
                      <a:pt x="2521" y="463"/>
                    </a:lnTo>
                    <a:lnTo>
                      <a:pt x="2530" y="460"/>
                    </a:lnTo>
                    <a:lnTo>
                      <a:pt x="2539" y="458"/>
                    </a:lnTo>
                    <a:lnTo>
                      <a:pt x="2564" y="453"/>
                    </a:lnTo>
                    <a:lnTo>
                      <a:pt x="2590" y="448"/>
                    </a:lnTo>
                    <a:lnTo>
                      <a:pt x="2644" y="442"/>
                    </a:lnTo>
                    <a:lnTo>
                      <a:pt x="2679" y="440"/>
                    </a:lnTo>
                    <a:lnTo>
                      <a:pt x="2696" y="440"/>
                    </a:lnTo>
                    <a:lnTo>
                      <a:pt x="2715" y="442"/>
                    </a:lnTo>
                    <a:lnTo>
                      <a:pt x="2732" y="446"/>
                    </a:lnTo>
                    <a:lnTo>
                      <a:pt x="2749" y="449"/>
                    </a:lnTo>
                    <a:lnTo>
                      <a:pt x="2767" y="453"/>
                    </a:lnTo>
                    <a:lnTo>
                      <a:pt x="2786" y="457"/>
                    </a:lnTo>
                    <a:lnTo>
                      <a:pt x="2804" y="459"/>
                    </a:lnTo>
                    <a:lnTo>
                      <a:pt x="2823" y="460"/>
                    </a:lnTo>
                    <a:lnTo>
                      <a:pt x="2832" y="454"/>
                    </a:lnTo>
                    <a:lnTo>
                      <a:pt x="2841" y="451"/>
                    </a:lnTo>
                    <a:lnTo>
                      <a:pt x="2849" y="449"/>
                    </a:lnTo>
                    <a:lnTo>
                      <a:pt x="2859" y="447"/>
                    </a:lnTo>
                    <a:lnTo>
                      <a:pt x="2869" y="445"/>
                    </a:lnTo>
                    <a:lnTo>
                      <a:pt x="2879" y="442"/>
                    </a:lnTo>
                    <a:lnTo>
                      <a:pt x="2882" y="440"/>
                    </a:lnTo>
                    <a:lnTo>
                      <a:pt x="2887" y="436"/>
                    </a:lnTo>
                    <a:lnTo>
                      <a:pt x="2891" y="432"/>
                    </a:lnTo>
                    <a:lnTo>
                      <a:pt x="2894" y="427"/>
                    </a:lnTo>
                    <a:lnTo>
                      <a:pt x="2890" y="422"/>
                    </a:lnTo>
                    <a:lnTo>
                      <a:pt x="2885" y="418"/>
                    </a:lnTo>
                    <a:lnTo>
                      <a:pt x="2880" y="414"/>
                    </a:lnTo>
                    <a:lnTo>
                      <a:pt x="2874" y="411"/>
                    </a:lnTo>
                    <a:lnTo>
                      <a:pt x="2860" y="407"/>
                    </a:lnTo>
                    <a:lnTo>
                      <a:pt x="2847" y="403"/>
                    </a:lnTo>
                    <a:lnTo>
                      <a:pt x="2832" y="399"/>
                    </a:lnTo>
                    <a:lnTo>
                      <a:pt x="2819" y="396"/>
                    </a:lnTo>
                    <a:lnTo>
                      <a:pt x="2812" y="392"/>
                    </a:lnTo>
                    <a:lnTo>
                      <a:pt x="2806" y="388"/>
                    </a:lnTo>
                    <a:lnTo>
                      <a:pt x="2800" y="383"/>
                    </a:lnTo>
                    <a:lnTo>
                      <a:pt x="2795" y="378"/>
                    </a:lnTo>
                    <a:lnTo>
                      <a:pt x="2789" y="371"/>
                    </a:lnTo>
                    <a:lnTo>
                      <a:pt x="2784" y="365"/>
                    </a:lnTo>
                    <a:lnTo>
                      <a:pt x="2782" y="359"/>
                    </a:lnTo>
                    <a:lnTo>
                      <a:pt x="2779" y="354"/>
                    </a:lnTo>
                    <a:lnTo>
                      <a:pt x="2778" y="349"/>
                    </a:lnTo>
                    <a:lnTo>
                      <a:pt x="2778" y="345"/>
                    </a:lnTo>
                    <a:lnTo>
                      <a:pt x="2778" y="340"/>
                    </a:lnTo>
                    <a:lnTo>
                      <a:pt x="2779" y="337"/>
                    </a:lnTo>
                    <a:lnTo>
                      <a:pt x="2783" y="329"/>
                    </a:lnTo>
                    <a:lnTo>
                      <a:pt x="2789" y="321"/>
                    </a:lnTo>
                    <a:lnTo>
                      <a:pt x="2794" y="310"/>
                    </a:lnTo>
                    <a:lnTo>
                      <a:pt x="2798" y="295"/>
                    </a:lnTo>
                    <a:lnTo>
                      <a:pt x="2798" y="287"/>
                    </a:lnTo>
                    <a:lnTo>
                      <a:pt x="2797" y="277"/>
                    </a:lnTo>
                    <a:lnTo>
                      <a:pt x="2793" y="265"/>
                    </a:lnTo>
                    <a:lnTo>
                      <a:pt x="2789" y="252"/>
                    </a:lnTo>
                    <a:lnTo>
                      <a:pt x="2787" y="241"/>
                    </a:lnTo>
                    <a:lnTo>
                      <a:pt x="2784" y="230"/>
                    </a:lnTo>
                    <a:lnTo>
                      <a:pt x="2784" y="225"/>
                    </a:lnTo>
                    <a:lnTo>
                      <a:pt x="2784" y="222"/>
                    </a:lnTo>
                    <a:lnTo>
                      <a:pt x="2786" y="218"/>
                    </a:lnTo>
                    <a:lnTo>
                      <a:pt x="2787" y="214"/>
                    </a:lnTo>
                    <a:lnTo>
                      <a:pt x="2793" y="206"/>
                    </a:lnTo>
                    <a:lnTo>
                      <a:pt x="2798" y="196"/>
                    </a:lnTo>
                    <a:lnTo>
                      <a:pt x="2801" y="187"/>
                    </a:lnTo>
                    <a:lnTo>
                      <a:pt x="2805" y="179"/>
                    </a:lnTo>
                    <a:lnTo>
                      <a:pt x="2810" y="159"/>
                    </a:lnTo>
                    <a:lnTo>
                      <a:pt x="2815" y="140"/>
                    </a:lnTo>
                    <a:lnTo>
                      <a:pt x="2819" y="132"/>
                    </a:lnTo>
                    <a:lnTo>
                      <a:pt x="2823" y="125"/>
                    </a:lnTo>
                    <a:lnTo>
                      <a:pt x="2831" y="120"/>
                    </a:lnTo>
                    <a:lnTo>
                      <a:pt x="2839" y="115"/>
                    </a:lnTo>
                    <a:lnTo>
                      <a:pt x="2850" y="110"/>
                    </a:lnTo>
                    <a:lnTo>
                      <a:pt x="2861" y="108"/>
                    </a:lnTo>
                    <a:lnTo>
                      <a:pt x="2874" y="104"/>
                    </a:lnTo>
                    <a:lnTo>
                      <a:pt x="2887" y="102"/>
                    </a:lnTo>
                    <a:lnTo>
                      <a:pt x="2939" y="96"/>
                    </a:lnTo>
                    <a:lnTo>
                      <a:pt x="2979" y="92"/>
                    </a:lnTo>
                    <a:lnTo>
                      <a:pt x="3012" y="83"/>
                    </a:lnTo>
                    <a:lnTo>
                      <a:pt x="3051" y="75"/>
                    </a:lnTo>
                    <a:lnTo>
                      <a:pt x="3061" y="74"/>
                    </a:lnTo>
                    <a:lnTo>
                      <a:pt x="3071" y="74"/>
                    </a:lnTo>
                    <a:lnTo>
                      <a:pt x="3079" y="74"/>
                    </a:lnTo>
                    <a:lnTo>
                      <a:pt x="3089" y="75"/>
                    </a:lnTo>
                    <a:lnTo>
                      <a:pt x="3096" y="77"/>
                    </a:lnTo>
                    <a:lnTo>
                      <a:pt x="3104" y="81"/>
                    </a:lnTo>
                    <a:lnTo>
                      <a:pt x="3111" y="86"/>
                    </a:lnTo>
                    <a:lnTo>
                      <a:pt x="3116" y="93"/>
                    </a:lnTo>
                    <a:lnTo>
                      <a:pt x="3118" y="98"/>
                    </a:lnTo>
                    <a:lnTo>
                      <a:pt x="3121" y="103"/>
                    </a:lnTo>
                    <a:lnTo>
                      <a:pt x="3122" y="108"/>
                    </a:lnTo>
                    <a:lnTo>
                      <a:pt x="3122" y="114"/>
                    </a:lnTo>
                    <a:lnTo>
                      <a:pt x="3121" y="125"/>
                    </a:lnTo>
                    <a:lnTo>
                      <a:pt x="3117" y="136"/>
                    </a:lnTo>
                    <a:lnTo>
                      <a:pt x="3112" y="148"/>
                    </a:lnTo>
                    <a:lnTo>
                      <a:pt x="3105" y="160"/>
                    </a:lnTo>
                    <a:lnTo>
                      <a:pt x="3095" y="173"/>
                    </a:lnTo>
                    <a:lnTo>
                      <a:pt x="3085" y="184"/>
                    </a:lnTo>
                    <a:lnTo>
                      <a:pt x="3065" y="208"/>
                    </a:lnTo>
                    <a:lnTo>
                      <a:pt x="3044" y="230"/>
                    </a:lnTo>
                    <a:lnTo>
                      <a:pt x="3034" y="241"/>
                    </a:lnTo>
                    <a:lnTo>
                      <a:pt x="3025" y="251"/>
                    </a:lnTo>
                    <a:lnTo>
                      <a:pt x="3018" y="260"/>
                    </a:lnTo>
                    <a:lnTo>
                      <a:pt x="3013" y="269"/>
                    </a:lnTo>
                    <a:lnTo>
                      <a:pt x="3008" y="280"/>
                    </a:lnTo>
                    <a:lnTo>
                      <a:pt x="3003" y="293"/>
                    </a:lnTo>
                    <a:lnTo>
                      <a:pt x="3001" y="302"/>
                    </a:lnTo>
                    <a:lnTo>
                      <a:pt x="2998" y="312"/>
                    </a:lnTo>
                    <a:lnTo>
                      <a:pt x="2998" y="321"/>
                    </a:lnTo>
                    <a:lnTo>
                      <a:pt x="3000" y="328"/>
                    </a:lnTo>
                    <a:lnTo>
                      <a:pt x="3001" y="334"/>
                    </a:lnTo>
                    <a:lnTo>
                      <a:pt x="3005" y="339"/>
                    </a:lnTo>
                    <a:lnTo>
                      <a:pt x="3009" y="343"/>
                    </a:lnTo>
                    <a:lnTo>
                      <a:pt x="3016" y="345"/>
                    </a:lnTo>
                    <a:lnTo>
                      <a:pt x="3022" y="347"/>
                    </a:lnTo>
                    <a:lnTo>
                      <a:pt x="3030" y="347"/>
                    </a:lnTo>
                    <a:lnTo>
                      <a:pt x="3040" y="345"/>
                    </a:lnTo>
                    <a:lnTo>
                      <a:pt x="3050" y="343"/>
                    </a:lnTo>
                    <a:lnTo>
                      <a:pt x="3062" y="338"/>
                    </a:lnTo>
                    <a:lnTo>
                      <a:pt x="3076" y="332"/>
                    </a:lnTo>
                    <a:lnTo>
                      <a:pt x="3095" y="307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Freeform 26"/>
              <p:cNvSpPr>
                <a:spLocks/>
              </p:cNvSpPr>
              <p:nvPr/>
            </p:nvSpPr>
            <p:spPr bwMode="auto">
              <a:xfrm>
                <a:off x="4873625" y="5666768"/>
                <a:ext cx="203200" cy="150813"/>
              </a:xfrm>
              <a:custGeom>
                <a:avLst/>
                <a:gdLst>
                  <a:gd name="T0" fmla="*/ 18 w 511"/>
                  <a:gd name="T1" fmla="*/ 88 h 381"/>
                  <a:gd name="T2" fmla="*/ 14 w 511"/>
                  <a:gd name="T3" fmla="*/ 74 h 381"/>
                  <a:gd name="T4" fmla="*/ 3 w 511"/>
                  <a:gd name="T5" fmla="*/ 36 h 381"/>
                  <a:gd name="T6" fmla="*/ 0 w 511"/>
                  <a:gd name="T7" fmla="*/ 13 h 381"/>
                  <a:gd name="T8" fmla="*/ 2 w 511"/>
                  <a:gd name="T9" fmla="*/ 4 h 381"/>
                  <a:gd name="T10" fmla="*/ 6 w 511"/>
                  <a:gd name="T11" fmla="*/ 2 h 381"/>
                  <a:gd name="T12" fmla="*/ 13 w 511"/>
                  <a:gd name="T13" fmla="*/ 0 h 381"/>
                  <a:gd name="T14" fmla="*/ 35 w 511"/>
                  <a:gd name="T15" fmla="*/ 9 h 381"/>
                  <a:gd name="T16" fmla="*/ 73 w 511"/>
                  <a:gd name="T17" fmla="*/ 30 h 381"/>
                  <a:gd name="T18" fmla="*/ 102 w 511"/>
                  <a:gd name="T19" fmla="*/ 42 h 381"/>
                  <a:gd name="T20" fmla="*/ 121 w 511"/>
                  <a:gd name="T21" fmla="*/ 44 h 381"/>
                  <a:gd name="T22" fmla="*/ 161 w 511"/>
                  <a:gd name="T23" fmla="*/ 27 h 381"/>
                  <a:gd name="T24" fmla="*/ 189 w 511"/>
                  <a:gd name="T25" fmla="*/ 13 h 381"/>
                  <a:gd name="T26" fmla="*/ 197 w 511"/>
                  <a:gd name="T27" fmla="*/ 16 h 381"/>
                  <a:gd name="T28" fmla="*/ 203 w 511"/>
                  <a:gd name="T29" fmla="*/ 26 h 381"/>
                  <a:gd name="T30" fmla="*/ 205 w 511"/>
                  <a:gd name="T31" fmla="*/ 47 h 381"/>
                  <a:gd name="T32" fmla="*/ 205 w 511"/>
                  <a:gd name="T33" fmla="*/ 75 h 381"/>
                  <a:gd name="T34" fmla="*/ 208 w 511"/>
                  <a:gd name="T35" fmla="*/ 101 h 381"/>
                  <a:gd name="T36" fmla="*/ 213 w 511"/>
                  <a:gd name="T37" fmla="*/ 123 h 381"/>
                  <a:gd name="T38" fmla="*/ 220 w 511"/>
                  <a:gd name="T39" fmla="*/ 141 h 381"/>
                  <a:gd name="T40" fmla="*/ 227 w 511"/>
                  <a:gd name="T41" fmla="*/ 158 h 381"/>
                  <a:gd name="T42" fmla="*/ 238 w 511"/>
                  <a:gd name="T43" fmla="*/ 173 h 381"/>
                  <a:gd name="T44" fmla="*/ 257 w 511"/>
                  <a:gd name="T45" fmla="*/ 191 h 381"/>
                  <a:gd name="T46" fmla="*/ 286 w 511"/>
                  <a:gd name="T47" fmla="*/ 211 h 381"/>
                  <a:gd name="T48" fmla="*/ 320 w 511"/>
                  <a:gd name="T49" fmla="*/ 224 h 381"/>
                  <a:gd name="T50" fmla="*/ 378 w 511"/>
                  <a:gd name="T51" fmla="*/ 241 h 381"/>
                  <a:gd name="T52" fmla="*/ 434 w 511"/>
                  <a:gd name="T53" fmla="*/ 255 h 381"/>
                  <a:gd name="T54" fmla="*/ 475 w 511"/>
                  <a:gd name="T55" fmla="*/ 268 h 381"/>
                  <a:gd name="T56" fmla="*/ 501 w 511"/>
                  <a:gd name="T57" fmla="*/ 282 h 381"/>
                  <a:gd name="T58" fmla="*/ 510 w 511"/>
                  <a:gd name="T59" fmla="*/ 289 h 381"/>
                  <a:gd name="T60" fmla="*/ 511 w 511"/>
                  <a:gd name="T61" fmla="*/ 294 h 381"/>
                  <a:gd name="T62" fmla="*/ 511 w 511"/>
                  <a:gd name="T63" fmla="*/ 300 h 381"/>
                  <a:gd name="T64" fmla="*/ 506 w 511"/>
                  <a:gd name="T65" fmla="*/ 305 h 381"/>
                  <a:gd name="T66" fmla="*/ 493 w 511"/>
                  <a:gd name="T67" fmla="*/ 312 h 381"/>
                  <a:gd name="T68" fmla="*/ 291 w 511"/>
                  <a:gd name="T69" fmla="*/ 370 h 381"/>
                  <a:gd name="T70" fmla="*/ 242 w 511"/>
                  <a:gd name="T71" fmla="*/ 381 h 381"/>
                  <a:gd name="T72" fmla="*/ 225 w 511"/>
                  <a:gd name="T73" fmla="*/ 381 h 381"/>
                  <a:gd name="T74" fmla="*/ 211 w 511"/>
                  <a:gd name="T75" fmla="*/ 379 h 381"/>
                  <a:gd name="T76" fmla="*/ 200 w 511"/>
                  <a:gd name="T77" fmla="*/ 374 h 381"/>
                  <a:gd name="T78" fmla="*/ 193 w 511"/>
                  <a:gd name="T79" fmla="*/ 366 h 381"/>
                  <a:gd name="T80" fmla="*/ 184 w 511"/>
                  <a:gd name="T81" fmla="*/ 348 h 381"/>
                  <a:gd name="T82" fmla="*/ 178 w 511"/>
                  <a:gd name="T83" fmla="*/ 295 h 381"/>
                  <a:gd name="T84" fmla="*/ 172 w 511"/>
                  <a:gd name="T85" fmla="*/ 266 h 381"/>
                  <a:gd name="T86" fmla="*/ 158 w 511"/>
                  <a:gd name="T87" fmla="*/ 238 h 381"/>
                  <a:gd name="T88" fmla="*/ 131 w 511"/>
                  <a:gd name="T89" fmla="*/ 205 h 381"/>
                  <a:gd name="T90" fmla="*/ 102 w 511"/>
                  <a:gd name="T91" fmla="*/ 175 h 381"/>
                  <a:gd name="T92" fmla="*/ 44 w 511"/>
                  <a:gd name="T93" fmla="*/ 1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1" h="381">
                    <a:moveTo>
                      <a:pt x="19" y="91"/>
                    </a:moveTo>
                    <a:lnTo>
                      <a:pt x="18" y="88"/>
                    </a:lnTo>
                    <a:lnTo>
                      <a:pt x="18" y="86"/>
                    </a:lnTo>
                    <a:lnTo>
                      <a:pt x="14" y="74"/>
                    </a:lnTo>
                    <a:lnTo>
                      <a:pt x="7" y="49"/>
                    </a:lnTo>
                    <a:lnTo>
                      <a:pt x="3" y="36"/>
                    </a:lnTo>
                    <a:lnTo>
                      <a:pt x="1" y="22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9" y="3"/>
                    </a:lnTo>
                    <a:lnTo>
                      <a:pt x="35" y="9"/>
                    </a:lnTo>
                    <a:lnTo>
                      <a:pt x="53" y="19"/>
                    </a:lnTo>
                    <a:lnTo>
                      <a:pt x="73" y="30"/>
                    </a:lnTo>
                    <a:lnTo>
                      <a:pt x="93" y="38"/>
                    </a:lnTo>
                    <a:lnTo>
                      <a:pt x="102" y="42"/>
                    </a:lnTo>
                    <a:lnTo>
                      <a:pt x="112" y="43"/>
                    </a:lnTo>
                    <a:lnTo>
                      <a:pt x="121" y="44"/>
                    </a:lnTo>
                    <a:lnTo>
                      <a:pt x="129" y="42"/>
                    </a:lnTo>
                    <a:lnTo>
                      <a:pt x="161" y="27"/>
                    </a:lnTo>
                    <a:lnTo>
                      <a:pt x="184" y="14"/>
                    </a:lnTo>
                    <a:lnTo>
                      <a:pt x="189" y="13"/>
                    </a:lnTo>
                    <a:lnTo>
                      <a:pt x="194" y="14"/>
                    </a:lnTo>
                    <a:lnTo>
                      <a:pt x="197" y="16"/>
                    </a:lnTo>
                    <a:lnTo>
                      <a:pt x="200" y="20"/>
                    </a:lnTo>
                    <a:lnTo>
                      <a:pt x="203" y="26"/>
                    </a:lnTo>
                    <a:lnTo>
                      <a:pt x="204" y="36"/>
                    </a:lnTo>
                    <a:lnTo>
                      <a:pt x="205" y="47"/>
                    </a:lnTo>
                    <a:lnTo>
                      <a:pt x="205" y="62"/>
                    </a:lnTo>
                    <a:lnTo>
                      <a:pt x="205" y="75"/>
                    </a:lnTo>
                    <a:lnTo>
                      <a:pt x="206" y="88"/>
                    </a:lnTo>
                    <a:lnTo>
                      <a:pt x="208" y="101"/>
                    </a:lnTo>
                    <a:lnTo>
                      <a:pt x="210" y="112"/>
                    </a:lnTo>
                    <a:lnTo>
                      <a:pt x="213" y="123"/>
                    </a:lnTo>
                    <a:lnTo>
                      <a:pt x="216" y="133"/>
                    </a:lnTo>
                    <a:lnTo>
                      <a:pt x="220" y="141"/>
                    </a:lnTo>
                    <a:lnTo>
                      <a:pt x="224" y="151"/>
                    </a:lnTo>
                    <a:lnTo>
                      <a:pt x="227" y="158"/>
                    </a:lnTo>
                    <a:lnTo>
                      <a:pt x="233" y="166"/>
                    </a:lnTo>
                    <a:lnTo>
                      <a:pt x="238" y="173"/>
                    </a:lnTo>
                    <a:lnTo>
                      <a:pt x="244" y="180"/>
                    </a:lnTo>
                    <a:lnTo>
                      <a:pt x="257" y="191"/>
                    </a:lnTo>
                    <a:lnTo>
                      <a:pt x="271" y="202"/>
                    </a:lnTo>
                    <a:lnTo>
                      <a:pt x="286" y="211"/>
                    </a:lnTo>
                    <a:lnTo>
                      <a:pt x="303" y="218"/>
                    </a:lnTo>
                    <a:lnTo>
                      <a:pt x="320" y="224"/>
                    </a:lnTo>
                    <a:lnTo>
                      <a:pt x="340" y="230"/>
                    </a:lnTo>
                    <a:lnTo>
                      <a:pt x="378" y="241"/>
                    </a:lnTo>
                    <a:lnTo>
                      <a:pt x="419" y="251"/>
                    </a:lnTo>
                    <a:lnTo>
                      <a:pt x="434" y="255"/>
                    </a:lnTo>
                    <a:lnTo>
                      <a:pt x="454" y="261"/>
                    </a:lnTo>
                    <a:lnTo>
                      <a:pt x="475" y="268"/>
                    </a:lnTo>
                    <a:lnTo>
                      <a:pt x="494" y="277"/>
                    </a:lnTo>
                    <a:lnTo>
                      <a:pt x="501" y="282"/>
                    </a:lnTo>
                    <a:lnTo>
                      <a:pt x="508" y="287"/>
                    </a:lnTo>
                    <a:lnTo>
                      <a:pt x="510" y="289"/>
                    </a:lnTo>
                    <a:lnTo>
                      <a:pt x="511" y="292"/>
                    </a:lnTo>
                    <a:lnTo>
                      <a:pt x="511" y="294"/>
                    </a:lnTo>
                    <a:lnTo>
                      <a:pt x="511" y="297"/>
                    </a:lnTo>
                    <a:lnTo>
                      <a:pt x="511" y="300"/>
                    </a:lnTo>
                    <a:lnTo>
                      <a:pt x="509" y="303"/>
                    </a:lnTo>
                    <a:lnTo>
                      <a:pt x="506" y="305"/>
                    </a:lnTo>
                    <a:lnTo>
                      <a:pt x="503" y="308"/>
                    </a:lnTo>
                    <a:lnTo>
                      <a:pt x="493" y="312"/>
                    </a:lnTo>
                    <a:lnTo>
                      <a:pt x="477" y="317"/>
                    </a:lnTo>
                    <a:lnTo>
                      <a:pt x="291" y="370"/>
                    </a:lnTo>
                    <a:lnTo>
                      <a:pt x="264" y="377"/>
                    </a:lnTo>
                    <a:lnTo>
                      <a:pt x="242" y="381"/>
                    </a:lnTo>
                    <a:lnTo>
                      <a:pt x="233" y="381"/>
                    </a:lnTo>
                    <a:lnTo>
                      <a:pt x="225" y="381"/>
                    </a:lnTo>
                    <a:lnTo>
                      <a:pt x="218" y="380"/>
                    </a:lnTo>
                    <a:lnTo>
                      <a:pt x="211" y="379"/>
                    </a:lnTo>
                    <a:lnTo>
                      <a:pt x="205" y="376"/>
                    </a:lnTo>
                    <a:lnTo>
                      <a:pt x="200" y="374"/>
                    </a:lnTo>
                    <a:lnTo>
                      <a:pt x="197" y="370"/>
                    </a:lnTo>
                    <a:lnTo>
                      <a:pt x="193" y="366"/>
                    </a:lnTo>
                    <a:lnTo>
                      <a:pt x="188" y="358"/>
                    </a:lnTo>
                    <a:lnTo>
                      <a:pt x="184" y="348"/>
                    </a:lnTo>
                    <a:lnTo>
                      <a:pt x="181" y="322"/>
                    </a:lnTo>
                    <a:lnTo>
                      <a:pt x="178" y="295"/>
                    </a:lnTo>
                    <a:lnTo>
                      <a:pt x="176" y="281"/>
                    </a:lnTo>
                    <a:lnTo>
                      <a:pt x="172" y="266"/>
                    </a:lnTo>
                    <a:lnTo>
                      <a:pt x="166" y="251"/>
                    </a:lnTo>
                    <a:lnTo>
                      <a:pt x="158" y="238"/>
                    </a:lnTo>
                    <a:lnTo>
                      <a:pt x="145" y="221"/>
                    </a:lnTo>
                    <a:lnTo>
                      <a:pt x="131" y="205"/>
                    </a:lnTo>
                    <a:lnTo>
                      <a:pt x="117" y="190"/>
                    </a:lnTo>
                    <a:lnTo>
                      <a:pt x="102" y="175"/>
                    </a:lnTo>
                    <a:lnTo>
                      <a:pt x="73" y="145"/>
                    </a:lnTo>
                    <a:lnTo>
                      <a:pt x="44" y="113"/>
                    </a:lnTo>
                    <a:lnTo>
                      <a:pt x="19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27"/>
              <p:cNvSpPr>
                <a:spLocks/>
              </p:cNvSpPr>
              <p:nvPr/>
            </p:nvSpPr>
            <p:spPr bwMode="auto">
              <a:xfrm>
                <a:off x="4552950" y="5646130"/>
                <a:ext cx="128588" cy="101600"/>
              </a:xfrm>
              <a:custGeom>
                <a:avLst/>
                <a:gdLst>
                  <a:gd name="T0" fmla="*/ 20 w 326"/>
                  <a:gd name="T1" fmla="*/ 189 h 258"/>
                  <a:gd name="T2" fmla="*/ 4 w 326"/>
                  <a:gd name="T3" fmla="*/ 167 h 258"/>
                  <a:gd name="T4" fmla="*/ 0 w 326"/>
                  <a:gd name="T5" fmla="*/ 151 h 258"/>
                  <a:gd name="T6" fmla="*/ 2 w 326"/>
                  <a:gd name="T7" fmla="*/ 142 h 258"/>
                  <a:gd name="T8" fmla="*/ 9 w 326"/>
                  <a:gd name="T9" fmla="*/ 134 h 258"/>
                  <a:gd name="T10" fmla="*/ 21 w 326"/>
                  <a:gd name="T11" fmla="*/ 129 h 258"/>
                  <a:gd name="T12" fmla="*/ 62 w 326"/>
                  <a:gd name="T13" fmla="*/ 125 h 258"/>
                  <a:gd name="T14" fmla="*/ 106 w 326"/>
                  <a:gd name="T15" fmla="*/ 123 h 258"/>
                  <a:gd name="T16" fmla="*/ 133 w 326"/>
                  <a:gd name="T17" fmla="*/ 120 h 258"/>
                  <a:gd name="T18" fmla="*/ 157 w 326"/>
                  <a:gd name="T19" fmla="*/ 114 h 258"/>
                  <a:gd name="T20" fmla="*/ 178 w 326"/>
                  <a:gd name="T21" fmla="*/ 101 h 258"/>
                  <a:gd name="T22" fmla="*/ 195 w 326"/>
                  <a:gd name="T23" fmla="*/ 83 h 258"/>
                  <a:gd name="T24" fmla="*/ 208 w 326"/>
                  <a:gd name="T25" fmla="*/ 54 h 258"/>
                  <a:gd name="T26" fmla="*/ 216 w 326"/>
                  <a:gd name="T27" fmla="*/ 25 h 258"/>
                  <a:gd name="T28" fmla="*/ 221 w 326"/>
                  <a:gd name="T29" fmla="*/ 9 h 258"/>
                  <a:gd name="T30" fmla="*/ 226 w 326"/>
                  <a:gd name="T31" fmla="*/ 1 h 258"/>
                  <a:gd name="T32" fmla="*/ 229 w 326"/>
                  <a:gd name="T33" fmla="*/ 0 h 258"/>
                  <a:gd name="T34" fmla="*/ 239 w 326"/>
                  <a:gd name="T35" fmla="*/ 1 h 258"/>
                  <a:gd name="T36" fmla="*/ 251 w 326"/>
                  <a:gd name="T37" fmla="*/ 9 h 258"/>
                  <a:gd name="T38" fmla="*/ 265 w 326"/>
                  <a:gd name="T39" fmla="*/ 13 h 258"/>
                  <a:gd name="T40" fmla="*/ 287 w 326"/>
                  <a:gd name="T41" fmla="*/ 13 h 258"/>
                  <a:gd name="T42" fmla="*/ 309 w 326"/>
                  <a:gd name="T43" fmla="*/ 12 h 258"/>
                  <a:gd name="T44" fmla="*/ 319 w 326"/>
                  <a:gd name="T45" fmla="*/ 14 h 258"/>
                  <a:gd name="T46" fmla="*/ 325 w 326"/>
                  <a:gd name="T47" fmla="*/ 19 h 258"/>
                  <a:gd name="T48" fmla="*/ 325 w 326"/>
                  <a:gd name="T49" fmla="*/ 30 h 258"/>
                  <a:gd name="T50" fmla="*/ 308 w 326"/>
                  <a:gd name="T51" fmla="*/ 66 h 258"/>
                  <a:gd name="T52" fmla="*/ 290 w 326"/>
                  <a:gd name="T53" fmla="*/ 115 h 258"/>
                  <a:gd name="T54" fmla="*/ 279 w 326"/>
                  <a:gd name="T55" fmla="*/ 154 h 258"/>
                  <a:gd name="T56" fmla="*/ 273 w 326"/>
                  <a:gd name="T57" fmla="*/ 174 h 258"/>
                  <a:gd name="T58" fmla="*/ 264 w 326"/>
                  <a:gd name="T59" fmla="*/ 192 h 258"/>
                  <a:gd name="T60" fmla="*/ 252 w 326"/>
                  <a:gd name="T61" fmla="*/ 208 h 258"/>
                  <a:gd name="T62" fmla="*/ 240 w 326"/>
                  <a:gd name="T63" fmla="*/ 221 h 258"/>
                  <a:gd name="T64" fmla="*/ 227 w 326"/>
                  <a:gd name="T65" fmla="*/ 233 h 258"/>
                  <a:gd name="T66" fmla="*/ 204 w 326"/>
                  <a:gd name="T67" fmla="*/ 247 h 258"/>
                  <a:gd name="T68" fmla="*/ 170 w 326"/>
                  <a:gd name="T69" fmla="*/ 256 h 258"/>
                  <a:gd name="T70" fmla="*/ 144 w 326"/>
                  <a:gd name="T71" fmla="*/ 257 h 258"/>
                  <a:gd name="T72" fmla="*/ 125 w 326"/>
                  <a:gd name="T73" fmla="*/ 254 h 258"/>
                  <a:gd name="T74" fmla="*/ 108 w 326"/>
                  <a:gd name="T75" fmla="*/ 249 h 258"/>
                  <a:gd name="T76" fmla="*/ 90 w 326"/>
                  <a:gd name="T77" fmla="*/ 242 h 258"/>
                  <a:gd name="T78" fmla="*/ 73 w 326"/>
                  <a:gd name="T79" fmla="*/ 232 h 258"/>
                  <a:gd name="T80" fmla="*/ 57 w 326"/>
                  <a:gd name="T81" fmla="*/ 219 h 258"/>
                  <a:gd name="T82" fmla="*/ 28 w 326"/>
                  <a:gd name="T83" fmla="*/ 199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26" h="258">
                    <a:moveTo>
                      <a:pt x="28" y="199"/>
                    </a:moveTo>
                    <a:lnTo>
                      <a:pt x="20" y="189"/>
                    </a:lnTo>
                    <a:lnTo>
                      <a:pt x="11" y="178"/>
                    </a:lnTo>
                    <a:lnTo>
                      <a:pt x="4" y="167"/>
                    </a:lnTo>
                    <a:lnTo>
                      <a:pt x="0" y="156"/>
                    </a:lnTo>
                    <a:lnTo>
                      <a:pt x="0" y="151"/>
                    </a:lnTo>
                    <a:lnTo>
                      <a:pt x="0" y="147"/>
                    </a:lnTo>
                    <a:lnTo>
                      <a:pt x="2" y="142"/>
                    </a:lnTo>
                    <a:lnTo>
                      <a:pt x="4" y="138"/>
                    </a:lnTo>
                    <a:lnTo>
                      <a:pt x="9" y="134"/>
                    </a:lnTo>
                    <a:lnTo>
                      <a:pt x="14" y="132"/>
                    </a:lnTo>
                    <a:lnTo>
                      <a:pt x="21" y="129"/>
                    </a:lnTo>
                    <a:lnTo>
                      <a:pt x="30" y="128"/>
                    </a:lnTo>
                    <a:lnTo>
                      <a:pt x="62" y="125"/>
                    </a:lnTo>
                    <a:lnTo>
                      <a:pt x="91" y="123"/>
                    </a:lnTo>
                    <a:lnTo>
                      <a:pt x="106" y="123"/>
                    </a:lnTo>
                    <a:lnTo>
                      <a:pt x="119" y="122"/>
                    </a:lnTo>
                    <a:lnTo>
                      <a:pt x="133" y="120"/>
                    </a:lnTo>
                    <a:lnTo>
                      <a:pt x="145" y="117"/>
                    </a:lnTo>
                    <a:lnTo>
                      <a:pt x="157" y="114"/>
                    </a:lnTo>
                    <a:lnTo>
                      <a:pt x="168" y="109"/>
                    </a:lnTo>
                    <a:lnTo>
                      <a:pt x="178" y="101"/>
                    </a:lnTo>
                    <a:lnTo>
                      <a:pt x="188" y="93"/>
                    </a:lnTo>
                    <a:lnTo>
                      <a:pt x="195" y="83"/>
                    </a:lnTo>
                    <a:lnTo>
                      <a:pt x="202" y="69"/>
                    </a:lnTo>
                    <a:lnTo>
                      <a:pt x="208" y="54"/>
                    </a:lnTo>
                    <a:lnTo>
                      <a:pt x="213" y="35"/>
                    </a:lnTo>
                    <a:lnTo>
                      <a:pt x="216" y="25"/>
                    </a:lnTo>
                    <a:lnTo>
                      <a:pt x="218" y="17"/>
                    </a:lnTo>
                    <a:lnTo>
                      <a:pt x="221" y="9"/>
                    </a:lnTo>
                    <a:lnTo>
                      <a:pt x="223" y="3"/>
                    </a:lnTo>
                    <a:lnTo>
                      <a:pt x="226" y="1"/>
                    </a:lnTo>
                    <a:lnTo>
                      <a:pt x="228" y="0"/>
                    </a:lnTo>
                    <a:lnTo>
                      <a:pt x="229" y="0"/>
                    </a:lnTo>
                    <a:lnTo>
                      <a:pt x="233" y="0"/>
                    </a:lnTo>
                    <a:lnTo>
                      <a:pt x="239" y="1"/>
                    </a:lnTo>
                    <a:lnTo>
                      <a:pt x="246" y="7"/>
                    </a:lnTo>
                    <a:lnTo>
                      <a:pt x="251" y="9"/>
                    </a:lnTo>
                    <a:lnTo>
                      <a:pt x="257" y="12"/>
                    </a:lnTo>
                    <a:lnTo>
                      <a:pt x="265" y="13"/>
                    </a:lnTo>
                    <a:lnTo>
                      <a:pt x="271" y="13"/>
                    </a:lnTo>
                    <a:lnTo>
                      <a:pt x="287" y="13"/>
                    </a:lnTo>
                    <a:lnTo>
                      <a:pt x="301" y="12"/>
                    </a:lnTo>
                    <a:lnTo>
                      <a:pt x="309" y="12"/>
                    </a:lnTo>
                    <a:lnTo>
                      <a:pt x="314" y="13"/>
                    </a:lnTo>
                    <a:lnTo>
                      <a:pt x="319" y="14"/>
                    </a:lnTo>
                    <a:lnTo>
                      <a:pt x="322" y="16"/>
                    </a:lnTo>
                    <a:lnTo>
                      <a:pt x="325" y="19"/>
                    </a:lnTo>
                    <a:lnTo>
                      <a:pt x="326" y="24"/>
                    </a:lnTo>
                    <a:lnTo>
                      <a:pt x="325" y="30"/>
                    </a:lnTo>
                    <a:lnTo>
                      <a:pt x="321" y="39"/>
                    </a:lnTo>
                    <a:lnTo>
                      <a:pt x="308" y="66"/>
                    </a:lnTo>
                    <a:lnTo>
                      <a:pt x="298" y="90"/>
                    </a:lnTo>
                    <a:lnTo>
                      <a:pt x="290" y="115"/>
                    </a:lnTo>
                    <a:lnTo>
                      <a:pt x="283" y="144"/>
                    </a:lnTo>
                    <a:lnTo>
                      <a:pt x="279" y="154"/>
                    </a:lnTo>
                    <a:lnTo>
                      <a:pt x="277" y="164"/>
                    </a:lnTo>
                    <a:lnTo>
                      <a:pt x="273" y="174"/>
                    </a:lnTo>
                    <a:lnTo>
                      <a:pt x="268" y="183"/>
                    </a:lnTo>
                    <a:lnTo>
                      <a:pt x="264" y="192"/>
                    </a:lnTo>
                    <a:lnTo>
                      <a:pt x="259" y="200"/>
                    </a:lnTo>
                    <a:lnTo>
                      <a:pt x="252" y="208"/>
                    </a:lnTo>
                    <a:lnTo>
                      <a:pt x="246" y="215"/>
                    </a:lnTo>
                    <a:lnTo>
                      <a:pt x="240" y="221"/>
                    </a:lnTo>
                    <a:lnTo>
                      <a:pt x="234" y="227"/>
                    </a:lnTo>
                    <a:lnTo>
                      <a:pt x="227" y="233"/>
                    </a:lnTo>
                    <a:lnTo>
                      <a:pt x="219" y="238"/>
                    </a:lnTo>
                    <a:lnTo>
                      <a:pt x="204" y="247"/>
                    </a:lnTo>
                    <a:lnTo>
                      <a:pt x="188" y="252"/>
                    </a:lnTo>
                    <a:lnTo>
                      <a:pt x="170" y="256"/>
                    </a:lnTo>
                    <a:lnTo>
                      <a:pt x="152" y="258"/>
                    </a:lnTo>
                    <a:lnTo>
                      <a:pt x="144" y="257"/>
                    </a:lnTo>
                    <a:lnTo>
                      <a:pt x="135" y="257"/>
                    </a:lnTo>
                    <a:lnTo>
                      <a:pt x="125" y="254"/>
                    </a:lnTo>
                    <a:lnTo>
                      <a:pt x="117" y="253"/>
                    </a:lnTo>
                    <a:lnTo>
                      <a:pt x="108" y="249"/>
                    </a:lnTo>
                    <a:lnTo>
                      <a:pt x="99" y="247"/>
                    </a:lnTo>
                    <a:lnTo>
                      <a:pt x="90" y="242"/>
                    </a:lnTo>
                    <a:lnTo>
                      <a:pt x="81" y="237"/>
                    </a:lnTo>
                    <a:lnTo>
                      <a:pt x="73" y="232"/>
                    </a:lnTo>
                    <a:lnTo>
                      <a:pt x="65" y="226"/>
                    </a:lnTo>
                    <a:lnTo>
                      <a:pt x="57" y="219"/>
                    </a:lnTo>
                    <a:lnTo>
                      <a:pt x="48" y="211"/>
                    </a:lnTo>
                    <a:lnTo>
                      <a:pt x="28" y="19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28"/>
              <p:cNvSpPr>
                <a:spLocks/>
              </p:cNvSpPr>
              <p:nvPr/>
            </p:nvSpPr>
            <p:spPr bwMode="auto">
              <a:xfrm>
                <a:off x="4110037" y="5742968"/>
                <a:ext cx="22225" cy="23813"/>
              </a:xfrm>
              <a:custGeom>
                <a:avLst/>
                <a:gdLst>
                  <a:gd name="T0" fmla="*/ 7 w 55"/>
                  <a:gd name="T1" fmla="*/ 50 h 56"/>
                  <a:gd name="T2" fmla="*/ 3 w 55"/>
                  <a:gd name="T3" fmla="*/ 41 h 56"/>
                  <a:gd name="T4" fmla="*/ 1 w 55"/>
                  <a:gd name="T5" fmla="*/ 33 h 56"/>
                  <a:gd name="T6" fmla="*/ 0 w 55"/>
                  <a:gd name="T7" fmla="*/ 24 h 56"/>
                  <a:gd name="T8" fmla="*/ 2 w 55"/>
                  <a:gd name="T9" fmla="*/ 14 h 56"/>
                  <a:gd name="T10" fmla="*/ 4 w 55"/>
                  <a:gd name="T11" fmla="*/ 10 h 56"/>
                  <a:gd name="T12" fmla="*/ 6 w 55"/>
                  <a:gd name="T13" fmla="*/ 6 h 56"/>
                  <a:gd name="T14" fmla="*/ 9 w 55"/>
                  <a:gd name="T15" fmla="*/ 3 h 56"/>
                  <a:gd name="T16" fmla="*/ 12 w 55"/>
                  <a:gd name="T17" fmla="*/ 1 h 56"/>
                  <a:gd name="T18" fmla="*/ 15 w 55"/>
                  <a:gd name="T19" fmla="*/ 0 h 56"/>
                  <a:gd name="T20" fmla="*/ 19 w 55"/>
                  <a:gd name="T21" fmla="*/ 0 h 56"/>
                  <a:gd name="T22" fmla="*/ 23 w 55"/>
                  <a:gd name="T23" fmla="*/ 0 h 56"/>
                  <a:gd name="T24" fmla="*/ 26 w 55"/>
                  <a:gd name="T25" fmla="*/ 1 h 56"/>
                  <a:gd name="T26" fmla="*/ 34 w 55"/>
                  <a:gd name="T27" fmla="*/ 3 h 56"/>
                  <a:gd name="T28" fmla="*/ 40 w 55"/>
                  <a:gd name="T29" fmla="*/ 10 h 56"/>
                  <a:gd name="T30" fmla="*/ 46 w 55"/>
                  <a:gd name="T31" fmla="*/ 16 h 56"/>
                  <a:gd name="T32" fmla="*/ 51 w 55"/>
                  <a:gd name="T33" fmla="*/ 22 h 56"/>
                  <a:gd name="T34" fmla="*/ 53 w 55"/>
                  <a:gd name="T35" fmla="*/ 30 h 56"/>
                  <a:gd name="T36" fmla="*/ 55 w 55"/>
                  <a:gd name="T37" fmla="*/ 36 h 56"/>
                  <a:gd name="T38" fmla="*/ 53 w 55"/>
                  <a:gd name="T39" fmla="*/ 40 h 56"/>
                  <a:gd name="T40" fmla="*/ 52 w 55"/>
                  <a:gd name="T41" fmla="*/ 44 h 56"/>
                  <a:gd name="T42" fmla="*/ 50 w 55"/>
                  <a:gd name="T43" fmla="*/ 46 h 56"/>
                  <a:gd name="T44" fmla="*/ 47 w 55"/>
                  <a:gd name="T45" fmla="*/ 50 h 56"/>
                  <a:gd name="T46" fmla="*/ 44 w 55"/>
                  <a:gd name="T47" fmla="*/ 52 h 56"/>
                  <a:gd name="T48" fmla="*/ 40 w 55"/>
                  <a:gd name="T49" fmla="*/ 54 h 56"/>
                  <a:gd name="T50" fmla="*/ 35 w 55"/>
                  <a:gd name="T51" fmla="*/ 55 h 56"/>
                  <a:gd name="T52" fmla="*/ 31 w 55"/>
                  <a:gd name="T53" fmla="*/ 56 h 56"/>
                  <a:gd name="T54" fmla="*/ 22 w 55"/>
                  <a:gd name="T55" fmla="*/ 56 h 56"/>
                  <a:gd name="T56" fmla="*/ 13 w 55"/>
                  <a:gd name="T57" fmla="*/ 56 h 56"/>
                  <a:gd name="T58" fmla="*/ 7 w 55"/>
                  <a:gd name="T59" fmla="*/ 5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" h="56">
                    <a:moveTo>
                      <a:pt x="7" y="50"/>
                    </a:moveTo>
                    <a:lnTo>
                      <a:pt x="3" y="41"/>
                    </a:lnTo>
                    <a:lnTo>
                      <a:pt x="1" y="33"/>
                    </a:lnTo>
                    <a:lnTo>
                      <a:pt x="0" y="24"/>
                    </a:lnTo>
                    <a:lnTo>
                      <a:pt x="2" y="14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26" y="1"/>
                    </a:lnTo>
                    <a:lnTo>
                      <a:pt x="34" y="3"/>
                    </a:lnTo>
                    <a:lnTo>
                      <a:pt x="40" y="10"/>
                    </a:lnTo>
                    <a:lnTo>
                      <a:pt x="46" y="16"/>
                    </a:lnTo>
                    <a:lnTo>
                      <a:pt x="51" y="22"/>
                    </a:lnTo>
                    <a:lnTo>
                      <a:pt x="53" y="30"/>
                    </a:lnTo>
                    <a:lnTo>
                      <a:pt x="55" y="36"/>
                    </a:lnTo>
                    <a:lnTo>
                      <a:pt x="53" y="40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7" y="50"/>
                    </a:lnTo>
                    <a:lnTo>
                      <a:pt x="44" y="52"/>
                    </a:lnTo>
                    <a:lnTo>
                      <a:pt x="40" y="54"/>
                    </a:lnTo>
                    <a:lnTo>
                      <a:pt x="35" y="55"/>
                    </a:lnTo>
                    <a:lnTo>
                      <a:pt x="31" y="56"/>
                    </a:lnTo>
                    <a:lnTo>
                      <a:pt x="22" y="56"/>
                    </a:lnTo>
                    <a:lnTo>
                      <a:pt x="13" y="56"/>
                    </a:lnTo>
                    <a:lnTo>
                      <a:pt x="7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29"/>
              <p:cNvSpPr>
                <a:spLocks/>
              </p:cNvSpPr>
              <p:nvPr/>
            </p:nvSpPr>
            <p:spPr bwMode="auto">
              <a:xfrm>
                <a:off x="4143375" y="5747730"/>
                <a:ext cx="19050" cy="19050"/>
              </a:xfrm>
              <a:custGeom>
                <a:avLst/>
                <a:gdLst>
                  <a:gd name="T0" fmla="*/ 11 w 49"/>
                  <a:gd name="T1" fmla="*/ 44 h 47"/>
                  <a:gd name="T2" fmla="*/ 9 w 49"/>
                  <a:gd name="T3" fmla="*/ 41 h 47"/>
                  <a:gd name="T4" fmla="*/ 6 w 49"/>
                  <a:gd name="T5" fmla="*/ 37 h 47"/>
                  <a:gd name="T6" fmla="*/ 4 w 49"/>
                  <a:gd name="T7" fmla="*/ 34 h 47"/>
                  <a:gd name="T8" fmla="*/ 2 w 49"/>
                  <a:gd name="T9" fmla="*/ 30 h 47"/>
                  <a:gd name="T10" fmla="*/ 0 w 49"/>
                  <a:gd name="T11" fmla="*/ 22 h 47"/>
                  <a:gd name="T12" fmla="*/ 0 w 49"/>
                  <a:gd name="T13" fmla="*/ 13 h 47"/>
                  <a:gd name="T14" fmla="*/ 1 w 49"/>
                  <a:gd name="T15" fmla="*/ 9 h 47"/>
                  <a:gd name="T16" fmla="*/ 2 w 49"/>
                  <a:gd name="T17" fmla="*/ 7 h 47"/>
                  <a:gd name="T18" fmla="*/ 4 w 49"/>
                  <a:gd name="T19" fmla="*/ 4 h 47"/>
                  <a:gd name="T20" fmla="*/ 6 w 49"/>
                  <a:gd name="T21" fmla="*/ 2 h 47"/>
                  <a:gd name="T22" fmla="*/ 12 w 49"/>
                  <a:gd name="T23" fmla="*/ 0 h 47"/>
                  <a:gd name="T24" fmla="*/ 18 w 49"/>
                  <a:gd name="T25" fmla="*/ 0 h 47"/>
                  <a:gd name="T26" fmla="*/ 23 w 49"/>
                  <a:gd name="T27" fmla="*/ 1 h 47"/>
                  <a:gd name="T28" fmla="*/ 28 w 49"/>
                  <a:gd name="T29" fmla="*/ 3 h 47"/>
                  <a:gd name="T30" fmla="*/ 33 w 49"/>
                  <a:gd name="T31" fmla="*/ 7 h 47"/>
                  <a:gd name="T32" fmla="*/ 37 w 49"/>
                  <a:gd name="T33" fmla="*/ 12 h 47"/>
                  <a:gd name="T34" fmla="*/ 40 w 49"/>
                  <a:gd name="T35" fmla="*/ 15 h 47"/>
                  <a:gd name="T36" fmla="*/ 44 w 49"/>
                  <a:gd name="T37" fmla="*/ 20 h 47"/>
                  <a:gd name="T38" fmla="*/ 46 w 49"/>
                  <a:gd name="T39" fmla="*/ 25 h 47"/>
                  <a:gd name="T40" fmla="*/ 49 w 49"/>
                  <a:gd name="T41" fmla="*/ 30 h 47"/>
                  <a:gd name="T42" fmla="*/ 49 w 49"/>
                  <a:gd name="T43" fmla="*/ 35 h 47"/>
                  <a:gd name="T44" fmla="*/ 48 w 49"/>
                  <a:gd name="T45" fmla="*/ 37 h 47"/>
                  <a:gd name="T46" fmla="*/ 46 w 49"/>
                  <a:gd name="T47" fmla="*/ 40 h 47"/>
                  <a:gd name="T48" fmla="*/ 43 w 49"/>
                  <a:gd name="T49" fmla="*/ 42 h 47"/>
                  <a:gd name="T50" fmla="*/ 33 w 49"/>
                  <a:gd name="T51" fmla="*/ 46 h 47"/>
                  <a:gd name="T52" fmla="*/ 22 w 49"/>
                  <a:gd name="T53" fmla="*/ 47 h 47"/>
                  <a:gd name="T54" fmla="*/ 11 w 49"/>
                  <a:gd name="T55" fmla="*/ 4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9" h="47">
                    <a:moveTo>
                      <a:pt x="11" y="44"/>
                    </a:moveTo>
                    <a:lnTo>
                      <a:pt x="9" y="41"/>
                    </a:lnTo>
                    <a:lnTo>
                      <a:pt x="6" y="37"/>
                    </a:lnTo>
                    <a:lnTo>
                      <a:pt x="4" y="34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0" y="13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3" y="1"/>
                    </a:lnTo>
                    <a:lnTo>
                      <a:pt x="28" y="3"/>
                    </a:lnTo>
                    <a:lnTo>
                      <a:pt x="33" y="7"/>
                    </a:lnTo>
                    <a:lnTo>
                      <a:pt x="37" y="12"/>
                    </a:lnTo>
                    <a:lnTo>
                      <a:pt x="40" y="15"/>
                    </a:lnTo>
                    <a:lnTo>
                      <a:pt x="44" y="20"/>
                    </a:lnTo>
                    <a:lnTo>
                      <a:pt x="46" y="25"/>
                    </a:lnTo>
                    <a:lnTo>
                      <a:pt x="49" y="30"/>
                    </a:lnTo>
                    <a:lnTo>
                      <a:pt x="49" y="35"/>
                    </a:lnTo>
                    <a:lnTo>
                      <a:pt x="48" y="37"/>
                    </a:lnTo>
                    <a:lnTo>
                      <a:pt x="46" y="40"/>
                    </a:lnTo>
                    <a:lnTo>
                      <a:pt x="43" y="42"/>
                    </a:lnTo>
                    <a:lnTo>
                      <a:pt x="33" y="46"/>
                    </a:lnTo>
                    <a:lnTo>
                      <a:pt x="22" y="47"/>
                    </a:lnTo>
                    <a:lnTo>
                      <a:pt x="11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30"/>
              <p:cNvSpPr>
                <a:spLocks/>
              </p:cNvSpPr>
              <p:nvPr/>
            </p:nvSpPr>
            <p:spPr bwMode="auto">
              <a:xfrm>
                <a:off x="3746500" y="5903305"/>
                <a:ext cx="22225" cy="23813"/>
              </a:xfrm>
              <a:custGeom>
                <a:avLst/>
                <a:gdLst>
                  <a:gd name="T0" fmla="*/ 11 w 55"/>
                  <a:gd name="T1" fmla="*/ 50 h 64"/>
                  <a:gd name="T2" fmla="*/ 6 w 55"/>
                  <a:gd name="T3" fmla="*/ 43 h 64"/>
                  <a:gd name="T4" fmla="*/ 1 w 55"/>
                  <a:gd name="T5" fmla="*/ 33 h 64"/>
                  <a:gd name="T6" fmla="*/ 0 w 55"/>
                  <a:gd name="T7" fmla="*/ 22 h 64"/>
                  <a:gd name="T8" fmla="*/ 0 w 55"/>
                  <a:gd name="T9" fmla="*/ 14 h 64"/>
                  <a:gd name="T10" fmla="*/ 0 w 55"/>
                  <a:gd name="T11" fmla="*/ 9 h 64"/>
                  <a:gd name="T12" fmla="*/ 2 w 55"/>
                  <a:gd name="T13" fmla="*/ 5 h 64"/>
                  <a:gd name="T14" fmla="*/ 4 w 55"/>
                  <a:gd name="T15" fmla="*/ 3 h 64"/>
                  <a:gd name="T16" fmla="*/ 7 w 55"/>
                  <a:gd name="T17" fmla="*/ 0 h 64"/>
                  <a:gd name="T18" fmla="*/ 11 w 55"/>
                  <a:gd name="T19" fmla="*/ 0 h 64"/>
                  <a:gd name="T20" fmla="*/ 16 w 55"/>
                  <a:gd name="T21" fmla="*/ 0 h 64"/>
                  <a:gd name="T22" fmla="*/ 21 w 55"/>
                  <a:gd name="T23" fmla="*/ 1 h 64"/>
                  <a:gd name="T24" fmla="*/ 28 w 55"/>
                  <a:gd name="T25" fmla="*/ 4 h 64"/>
                  <a:gd name="T26" fmla="*/ 37 w 55"/>
                  <a:gd name="T27" fmla="*/ 10 h 64"/>
                  <a:gd name="T28" fmla="*/ 45 w 55"/>
                  <a:gd name="T29" fmla="*/ 20 h 64"/>
                  <a:gd name="T30" fmla="*/ 49 w 55"/>
                  <a:gd name="T31" fmla="*/ 25 h 64"/>
                  <a:gd name="T32" fmla="*/ 51 w 55"/>
                  <a:gd name="T33" fmla="*/ 29 h 64"/>
                  <a:gd name="T34" fmla="*/ 54 w 55"/>
                  <a:gd name="T35" fmla="*/ 34 h 64"/>
                  <a:gd name="T36" fmla="*/ 55 w 55"/>
                  <a:gd name="T37" fmla="*/ 39 h 64"/>
                  <a:gd name="T38" fmla="*/ 54 w 55"/>
                  <a:gd name="T39" fmla="*/ 45 h 64"/>
                  <a:gd name="T40" fmla="*/ 51 w 55"/>
                  <a:gd name="T41" fmla="*/ 49 h 64"/>
                  <a:gd name="T42" fmla="*/ 48 w 55"/>
                  <a:gd name="T43" fmla="*/ 54 h 64"/>
                  <a:gd name="T44" fmla="*/ 43 w 55"/>
                  <a:gd name="T45" fmla="*/ 56 h 64"/>
                  <a:gd name="T46" fmla="*/ 32 w 55"/>
                  <a:gd name="T47" fmla="*/ 61 h 64"/>
                  <a:gd name="T48" fmla="*/ 22 w 55"/>
                  <a:gd name="T49" fmla="*/ 64 h 64"/>
                  <a:gd name="T50" fmla="*/ 11 w 55"/>
                  <a:gd name="T51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4">
                    <a:moveTo>
                      <a:pt x="11" y="50"/>
                    </a:moveTo>
                    <a:lnTo>
                      <a:pt x="6" y="43"/>
                    </a:lnTo>
                    <a:lnTo>
                      <a:pt x="1" y="33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1" y="1"/>
                    </a:lnTo>
                    <a:lnTo>
                      <a:pt x="28" y="4"/>
                    </a:lnTo>
                    <a:lnTo>
                      <a:pt x="37" y="10"/>
                    </a:lnTo>
                    <a:lnTo>
                      <a:pt x="45" y="20"/>
                    </a:lnTo>
                    <a:lnTo>
                      <a:pt x="49" y="25"/>
                    </a:lnTo>
                    <a:lnTo>
                      <a:pt x="51" y="29"/>
                    </a:lnTo>
                    <a:lnTo>
                      <a:pt x="54" y="34"/>
                    </a:lnTo>
                    <a:lnTo>
                      <a:pt x="55" y="39"/>
                    </a:lnTo>
                    <a:lnTo>
                      <a:pt x="54" y="45"/>
                    </a:lnTo>
                    <a:lnTo>
                      <a:pt x="51" y="49"/>
                    </a:lnTo>
                    <a:lnTo>
                      <a:pt x="48" y="54"/>
                    </a:lnTo>
                    <a:lnTo>
                      <a:pt x="43" y="56"/>
                    </a:lnTo>
                    <a:lnTo>
                      <a:pt x="32" y="61"/>
                    </a:lnTo>
                    <a:lnTo>
                      <a:pt x="22" y="64"/>
                    </a:lnTo>
                    <a:lnTo>
                      <a:pt x="11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31"/>
              <p:cNvSpPr>
                <a:spLocks/>
              </p:cNvSpPr>
              <p:nvPr/>
            </p:nvSpPr>
            <p:spPr bwMode="auto">
              <a:xfrm>
                <a:off x="3802062" y="5912830"/>
                <a:ext cx="69850" cy="58738"/>
              </a:xfrm>
              <a:custGeom>
                <a:avLst/>
                <a:gdLst>
                  <a:gd name="T0" fmla="*/ 17 w 180"/>
                  <a:gd name="T1" fmla="*/ 66 h 149"/>
                  <a:gd name="T2" fmla="*/ 10 w 180"/>
                  <a:gd name="T3" fmla="*/ 55 h 149"/>
                  <a:gd name="T4" fmla="*/ 5 w 180"/>
                  <a:gd name="T5" fmla="*/ 44 h 149"/>
                  <a:gd name="T6" fmla="*/ 1 w 180"/>
                  <a:gd name="T7" fmla="*/ 33 h 149"/>
                  <a:gd name="T8" fmla="*/ 0 w 180"/>
                  <a:gd name="T9" fmla="*/ 20 h 149"/>
                  <a:gd name="T10" fmla="*/ 1 w 180"/>
                  <a:gd name="T11" fmla="*/ 19 h 149"/>
                  <a:gd name="T12" fmla="*/ 1 w 180"/>
                  <a:gd name="T13" fmla="*/ 19 h 149"/>
                  <a:gd name="T14" fmla="*/ 7 w 180"/>
                  <a:gd name="T15" fmla="*/ 18 h 149"/>
                  <a:gd name="T16" fmla="*/ 14 w 180"/>
                  <a:gd name="T17" fmla="*/ 17 h 149"/>
                  <a:gd name="T18" fmla="*/ 21 w 180"/>
                  <a:gd name="T19" fmla="*/ 14 h 149"/>
                  <a:gd name="T20" fmla="*/ 27 w 180"/>
                  <a:gd name="T21" fmla="*/ 12 h 149"/>
                  <a:gd name="T22" fmla="*/ 40 w 180"/>
                  <a:gd name="T23" fmla="*/ 6 h 149"/>
                  <a:gd name="T24" fmla="*/ 53 w 180"/>
                  <a:gd name="T25" fmla="*/ 1 h 149"/>
                  <a:gd name="T26" fmla="*/ 58 w 180"/>
                  <a:gd name="T27" fmla="*/ 0 h 149"/>
                  <a:gd name="T28" fmla="*/ 62 w 180"/>
                  <a:gd name="T29" fmla="*/ 0 h 149"/>
                  <a:gd name="T30" fmla="*/ 66 w 180"/>
                  <a:gd name="T31" fmla="*/ 0 h 149"/>
                  <a:gd name="T32" fmla="*/ 70 w 180"/>
                  <a:gd name="T33" fmla="*/ 2 h 149"/>
                  <a:gd name="T34" fmla="*/ 77 w 180"/>
                  <a:gd name="T35" fmla="*/ 7 h 149"/>
                  <a:gd name="T36" fmla="*/ 84 w 180"/>
                  <a:gd name="T37" fmla="*/ 12 h 149"/>
                  <a:gd name="T38" fmla="*/ 94 w 180"/>
                  <a:gd name="T39" fmla="*/ 18 h 149"/>
                  <a:gd name="T40" fmla="*/ 105 w 180"/>
                  <a:gd name="T41" fmla="*/ 22 h 149"/>
                  <a:gd name="T42" fmla="*/ 116 w 180"/>
                  <a:gd name="T43" fmla="*/ 24 h 149"/>
                  <a:gd name="T44" fmla="*/ 127 w 180"/>
                  <a:gd name="T45" fmla="*/ 24 h 149"/>
                  <a:gd name="T46" fmla="*/ 138 w 180"/>
                  <a:gd name="T47" fmla="*/ 25 h 149"/>
                  <a:gd name="T48" fmla="*/ 148 w 180"/>
                  <a:gd name="T49" fmla="*/ 27 h 149"/>
                  <a:gd name="T50" fmla="*/ 159 w 180"/>
                  <a:gd name="T51" fmla="*/ 29 h 149"/>
                  <a:gd name="T52" fmla="*/ 170 w 180"/>
                  <a:gd name="T53" fmla="*/ 33 h 149"/>
                  <a:gd name="T54" fmla="*/ 174 w 180"/>
                  <a:gd name="T55" fmla="*/ 35 h 149"/>
                  <a:gd name="T56" fmla="*/ 178 w 180"/>
                  <a:gd name="T57" fmla="*/ 38 h 149"/>
                  <a:gd name="T58" fmla="*/ 179 w 180"/>
                  <a:gd name="T59" fmla="*/ 40 h 149"/>
                  <a:gd name="T60" fmla="*/ 180 w 180"/>
                  <a:gd name="T61" fmla="*/ 42 h 149"/>
                  <a:gd name="T62" fmla="*/ 179 w 180"/>
                  <a:gd name="T63" fmla="*/ 49 h 149"/>
                  <a:gd name="T64" fmla="*/ 175 w 180"/>
                  <a:gd name="T65" fmla="*/ 56 h 149"/>
                  <a:gd name="T66" fmla="*/ 163 w 180"/>
                  <a:gd name="T67" fmla="*/ 69 h 149"/>
                  <a:gd name="T68" fmla="*/ 153 w 180"/>
                  <a:gd name="T69" fmla="*/ 82 h 149"/>
                  <a:gd name="T70" fmla="*/ 147 w 180"/>
                  <a:gd name="T71" fmla="*/ 101 h 149"/>
                  <a:gd name="T72" fmla="*/ 140 w 180"/>
                  <a:gd name="T73" fmla="*/ 126 h 149"/>
                  <a:gd name="T74" fmla="*/ 136 w 180"/>
                  <a:gd name="T75" fmla="*/ 137 h 149"/>
                  <a:gd name="T76" fmla="*/ 130 w 180"/>
                  <a:gd name="T77" fmla="*/ 144 h 149"/>
                  <a:gd name="T78" fmla="*/ 126 w 180"/>
                  <a:gd name="T79" fmla="*/ 146 h 149"/>
                  <a:gd name="T80" fmla="*/ 122 w 180"/>
                  <a:gd name="T81" fmla="*/ 149 h 149"/>
                  <a:gd name="T82" fmla="*/ 119 w 180"/>
                  <a:gd name="T83" fmla="*/ 149 h 149"/>
                  <a:gd name="T84" fmla="*/ 114 w 180"/>
                  <a:gd name="T85" fmla="*/ 148 h 149"/>
                  <a:gd name="T86" fmla="*/ 102 w 180"/>
                  <a:gd name="T87" fmla="*/ 143 h 149"/>
                  <a:gd name="T88" fmla="*/ 92 w 180"/>
                  <a:gd name="T89" fmla="*/ 137 h 149"/>
                  <a:gd name="T90" fmla="*/ 83 w 180"/>
                  <a:gd name="T91" fmla="*/ 129 h 149"/>
                  <a:gd name="T92" fmla="*/ 73 w 180"/>
                  <a:gd name="T93" fmla="*/ 122 h 149"/>
                  <a:gd name="T94" fmla="*/ 65 w 180"/>
                  <a:gd name="T95" fmla="*/ 112 h 149"/>
                  <a:gd name="T96" fmla="*/ 56 w 180"/>
                  <a:gd name="T97" fmla="*/ 102 h 149"/>
                  <a:gd name="T98" fmla="*/ 49 w 180"/>
                  <a:gd name="T99" fmla="*/ 93 h 149"/>
                  <a:gd name="T100" fmla="*/ 42 w 180"/>
                  <a:gd name="T101" fmla="*/ 84 h 149"/>
                  <a:gd name="T102" fmla="*/ 17 w 180"/>
                  <a:gd name="T103" fmla="*/ 6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9">
                    <a:moveTo>
                      <a:pt x="17" y="66"/>
                    </a:moveTo>
                    <a:lnTo>
                      <a:pt x="10" y="55"/>
                    </a:lnTo>
                    <a:lnTo>
                      <a:pt x="5" y="44"/>
                    </a:lnTo>
                    <a:lnTo>
                      <a:pt x="1" y="33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7" y="18"/>
                    </a:lnTo>
                    <a:lnTo>
                      <a:pt x="14" y="17"/>
                    </a:lnTo>
                    <a:lnTo>
                      <a:pt x="21" y="14"/>
                    </a:lnTo>
                    <a:lnTo>
                      <a:pt x="27" y="12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2"/>
                    </a:lnTo>
                    <a:lnTo>
                      <a:pt x="77" y="7"/>
                    </a:lnTo>
                    <a:lnTo>
                      <a:pt x="84" y="12"/>
                    </a:lnTo>
                    <a:lnTo>
                      <a:pt x="94" y="18"/>
                    </a:lnTo>
                    <a:lnTo>
                      <a:pt x="105" y="22"/>
                    </a:lnTo>
                    <a:lnTo>
                      <a:pt x="116" y="24"/>
                    </a:lnTo>
                    <a:lnTo>
                      <a:pt x="127" y="24"/>
                    </a:lnTo>
                    <a:lnTo>
                      <a:pt x="138" y="25"/>
                    </a:lnTo>
                    <a:lnTo>
                      <a:pt x="148" y="27"/>
                    </a:lnTo>
                    <a:lnTo>
                      <a:pt x="159" y="29"/>
                    </a:lnTo>
                    <a:lnTo>
                      <a:pt x="170" y="33"/>
                    </a:lnTo>
                    <a:lnTo>
                      <a:pt x="174" y="35"/>
                    </a:lnTo>
                    <a:lnTo>
                      <a:pt x="178" y="38"/>
                    </a:lnTo>
                    <a:lnTo>
                      <a:pt x="179" y="40"/>
                    </a:lnTo>
                    <a:lnTo>
                      <a:pt x="180" y="42"/>
                    </a:lnTo>
                    <a:lnTo>
                      <a:pt x="179" y="49"/>
                    </a:lnTo>
                    <a:lnTo>
                      <a:pt x="175" y="56"/>
                    </a:lnTo>
                    <a:lnTo>
                      <a:pt x="163" y="69"/>
                    </a:lnTo>
                    <a:lnTo>
                      <a:pt x="153" y="82"/>
                    </a:lnTo>
                    <a:lnTo>
                      <a:pt x="147" y="101"/>
                    </a:lnTo>
                    <a:lnTo>
                      <a:pt x="140" y="126"/>
                    </a:lnTo>
                    <a:lnTo>
                      <a:pt x="136" y="137"/>
                    </a:lnTo>
                    <a:lnTo>
                      <a:pt x="130" y="144"/>
                    </a:lnTo>
                    <a:lnTo>
                      <a:pt x="126" y="146"/>
                    </a:lnTo>
                    <a:lnTo>
                      <a:pt x="122" y="149"/>
                    </a:lnTo>
                    <a:lnTo>
                      <a:pt x="119" y="149"/>
                    </a:lnTo>
                    <a:lnTo>
                      <a:pt x="114" y="148"/>
                    </a:lnTo>
                    <a:lnTo>
                      <a:pt x="102" y="143"/>
                    </a:lnTo>
                    <a:lnTo>
                      <a:pt x="92" y="137"/>
                    </a:lnTo>
                    <a:lnTo>
                      <a:pt x="83" y="129"/>
                    </a:lnTo>
                    <a:lnTo>
                      <a:pt x="73" y="122"/>
                    </a:lnTo>
                    <a:lnTo>
                      <a:pt x="65" y="112"/>
                    </a:lnTo>
                    <a:lnTo>
                      <a:pt x="56" y="102"/>
                    </a:lnTo>
                    <a:lnTo>
                      <a:pt x="49" y="93"/>
                    </a:lnTo>
                    <a:lnTo>
                      <a:pt x="42" y="84"/>
                    </a:lnTo>
                    <a:lnTo>
                      <a:pt x="17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32"/>
              <p:cNvSpPr>
                <a:spLocks/>
              </p:cNvSpPr>
              <p:nvPr/>
            </p:nvSpPr>
            <p:spPr bwMode="auto">
              <a:xfrm>
                <a:off x="3624262" y="6039830"/>
                <a:ext cx="57150" cy="53975"/>
              </a:xfrm>
              <a:custGeom>
                <a:avLst/>
                <a:gdLst>
                  <a:gd name="T0" fmla="*/ 3 w 143"/>
                  <a:gd name="T1" fmla="*/ 124 h 137"/>
                  <a:gd name="T2" fmla="*/ 2 w 143"/>
                  <a:gd name="T3" fmla="*/ 118 h 137"/>
                  <a:gd name="T4" fmla="*/ 0 w 143"/>
                  <a:gd name="T5" fmla="*/ 113 h 137"/>
                  <a:gd name="T6" fmla="*/ 0 w 143"/>
                  <a:gd name="T7" fmla="*/ 109 h 137"/>
                  <a:gd name="T8" fmla="*/ 2 w 143"/>
                  <a:gd name="T9" fmla="*/ 104 h 137"/>
                  <a:gd name="T10" fmla="*/ 3 w 143"/>
                  <a:gd name="T11" fmla="*/ 99 h 137"/>
                  <a:gd name="T12" fmla="*/ 5 w 143"/>
                  <a:gd name="T13" fmla="*/ 94 h 137"/>
                  <a:gd name="T14" fmla="*/ 9 w 143"/>
                  <a:gd name="T15" fmla="*/ 89 h 137"/>
                  <a:gd name="T16" fmla="*/ 13 w 143"/>
                  <a:gd name="T17" fmla="*/ 85 h 137"/>
                  <a:gd name="T18" fmla="*/ 17 w 143"/>
                  <a:gd name="T19" fmla="*/ 82 h 137"/>
                  <a:gd name="T20" fmla="*/ 21 w 143"/>
                  <a:gd name="T21" fmla="*/ 77 h 137"/>
                  <a:gd name="T22" fmla="*/ 25 w 143"/>
                  <a:gd name="T23" fmla="*/ 72 h 137"/>
                  <a:gd name="T24" fmla="*/ 28 w 143"/>
                  <a:gd name="T25" fmla="*/ 66 h 137"/>
                  <a:gd name="T26" fmla="*/ 35 w 143"/>
                  <a:gd name="T27" fmla="*/ 53 h 137"/>
                  <a:gd name="T28" fmla="*/ 39 w 143"/>
                  <a:gd name="T29" fmla="*/ 40 h 137"/>
                  <a:gd name="T30" fmla="*/ 46 w 143"/>
                  <a:gd name="T31" fmla="*/ 28 h 137"/>
                  <a:gd name="T32" fmla="*/ 53 w 143"/>
                  <a:gd name="T33" fmla="*/ 17 h 137"/>
                  <a:gd name="T34" fmla="*/ 57 w 143"/>
                  <a:gd name="T35" fmla="*/ 12 h 137"/>
                  <a:gd name="T36" fmla="*/ 61 w 143"/>
                  <a:gd name="T37" fmla="*/ 7 h 137"/>
                  <a:gd name="T38" fmla="*/ 66 w 143"/>
                  <a:gd name="T39" fmla="*/ 3 h 137"/>
                  <a:gd name="T40" fmla="*/ 71 w 143"/>
                  <a:gd name="T41" fmla="*/ 1 h 137"/>
                  <a:gd name="T42" fmla="*/ 75 w 143"/>
                  <a:gd name="T43" fmla="*/ 0 h 137"/>
                  <a:gd name="T44" fmla="*/ 79 w 143"/>
                  <a:gd name="T45" fmla="*/ 0 h 137"/>
                  <a:gd name="T46" fmla="*/ 81 w 143"/>
                  <a:gd name="T47" fmla="*/ 1 h 137"/>
                  <a:gd name="T48" fmla="*/ 84 w 143"/>
                  <a:gd name="T49" fmla="*/ 2 h 137"/>
                  <a:gd name="T50" fmla="*/ 87 w 143"/>
                  <a:gd name="T51" fmla="*/ 7 h 137"/>
                  <a:gd name="T52" fmla="*/ 88 w 143"/>
                  <a:gd name="T53" fmla="*/ 14 h 137"/>
                  <a:gd name="T54" fmla="*/ 92 w 143"/>
                  <a:gd name="T55" fmla="*/ 31 h 137"/>
                  <a:gd name="T56" fmla="*/ 96 w 143"/>
                  <a:gd name="T57" fmla="*/ 45 h 137"/>
                  <a:gd name="T58" fmla="*/ 99 w 143"/>
                  <a:gd name="T59" fmla="*/ 49 h 137"/>
                  <a:gd name="T60" fmla="*/ 103 w 143"/>
                  <a:gd name="T61" fmla="*/ 52 h 137"/>
                  <a:gd name="T62" fmla="*/ 108 w 143"/>
                  <a:gd name="T63" fmla="*/ 56 h 137"/>
                  <a:gd name="T64" fmla="*/ 113 w 143"/>
                  <a:gd name="T65" fmla="*/ 60 h 137"/>
                  <a:gd name="T66" fmla="*/ 123 w 143"/>
                  <a:gd name="T67" fmla="*/ 66 h 137"/>
                  <a:gd name="T68" fmla="*/ 134 w 143"/>
                  <a:gd name="T69" fmla="*/ 71 h 137"/>
                  <a:gd name="T70" fmla="*/ 137 w 143"/>
                  <a:gd name="T71" fmla="*/ 74 h 137"/>
                  <a:gd name="T72" fmla="*/ 141 w 143"/>
                  <a:gd name="T73" fmla="*/ 77 h 137"/>
                  <a:gd name="T74" fmla="*/ 142 w 143"/>
                  <a:gd name="T75" fmla="*/ 80 h 137"/>
                  <a:gd name="T76" fmla="*/ 143 w 143"/>
                  <a:gd name="T77" fmla="*/ 83 h 137"/>
                  <a:gd name="T78" fmla="*/ 143 w 143"/>
                  <a:gd name="T79" fmla="*/ 86 h 137"/>
                  <a:gd name="T80" fmla="*/ 141 w 143"/>
                  <a:gd name="T81" fmla="*/ 91 h 137"/>
                  <a:gd name="T82" fmla="*/ 136 w 143"/>
                  <a:gd name="T83" fmla="*/ 95 h 137"/>
                  <a:gd name="T84" fmla="*/ 130 w 143"/>
                  <a:gd name="T85" fmla="*/ 101 h 137"/>
                  <a:gd name="T86" fmla="*/ 120 w 143"/>
                  <a:gd name="T87" fmla="*/ 109 h 137"/>
                  <a:gd name="T88" fmla="*/ 110 w 143"/>
                  <a:gd name="T89" fmla="*/ 118 h 137"/>
                  <a:gd name="T90" fmla="*/ 106 w 143"/>
                  <a:gd name="T91" fmla="*/ 123 h 137"/>
                  <a:gd name="T92" fmla="*/ 101 w 143"/>
                  <a:gd name="T93" fmla="*/ 127 h 137"/>
                  <a:gd name="T94" fmla="*/ 96 w 143"/>
                  <a:gd name="T95" fmla="*/ 131 h 137"/>
                  <a:gd name="T96" fmla="*/ 91 w 143"/>
                  <a:gd name="T97" fmla="*/ 133 h 137"/>
                  <a:gd name="T98" fmla="*/ 82 w 143"/>
                  <a:gd name="T99" fmla="*/ 135 h 137"/>
                  <a:gd name="T100" fmla="*/ 72 w 143"/>
                  <a:gd name="T101" fmla="*/ 137 h 137"/>
                  <a:gd name="T102" fmla="*/ 64 w 143"/>
                  <a:gd name="T103" fmla="*/ 137 h 137"/>
                  <a:gd name="T104" fmla="*/ 54 w 143"/>
                  <a:gd name="T105" fmla="*/ 135 h 137"/>
                  <a:gd name="T106" fmla="*/ 36 w 143"/>
                  <a:gd name="T107" fmla="*/ 133 h 137"/>
                  <a:gd name="T108" fmla="*/ 17 w 143"/>
                  <a:gd name="T109" fmla="*/ 132 h 137"/>
                  <a:gd name="T110" fmla="*/ 3 w 143"/>
                  <a:gd name="T111" fmla="*/ 12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3" h="137">
                    <a:moveTo>
                      <a:pt x="3" y="124"/>
                    </a:moveTo>
                    <a:lnTo>
                      <a:pt x="2" y="118"/>
                    </a:lnTo>
                    <a:lnTo>
                      <a:pt x="0" y="113"/>
                    </a:lnTo>
                    <a:lnTo>
                      <a:pt x="0" y="109"/>
                    </a:lnTo>
                    <a:lnTo>
                      <a:pt x="2" y="104"/>
                    </a:lnTo>
                    <a:lnTo>
                      <a:pt x="3" y="99"/>
                    </a:lnTo>
                    <a:lnTo>
                      <a:pt x="5" y="94"/>
                    </a:lnTo>
                    <a:lnTo>
                      <a:pt x="9" y="89"/>
                    </a:lnTo>
                    <a:lnTo>
                      <a:pt x="13" y="85"/>
                    </a:lnTo>
                    <a:lnTo>
                      <a:pt x="17" y="82"/>
                    </a:lnTo>
                    <a:lnTo>
                      <a:pt x="21" y="77"/>
                    </a:lnTo>
                    <a:lnTo>
                      <a:pt x="25" y="72"/>
                    </a:lnTo>
                    <a:lnTo>
                      <a:pt x="28" y="66"/>
                    </a:lnTo>
                    <a:lnTo>
                      <a:pt x="35" y="53"/>
                    </a:lnTo>
                    <a:lnTo>
                      <a:pt x="39" y="40"/>
                    </a:lnTo>
                    <a:lnTo>
                      <a:pt x="46" y="28"/>
                    </a:lnTo>
                    <a:lnTo>
                      <a:pt x="53" y="17"/>
                    </a:lnTo>
                    <a:lnTo>
                      <a:pt x="57" y="12"/>
                    </a:lnTo>
                    <a:lnTo>
                      <a:pt x="61" y="7"/>
                    </a:lnTo>
                    <a:lnTo>
                      <a:pt x="66" y="3"/>
                    </a:lnTo>
                    <a:lnTo>
                      <a:pt x="71" y="1"/>
                    </a:lnTo>
                    <a:lnTo>
                      <a:pt x="75" y="0"/>
                    </a:lnTo>
                    <a:lnTo>
                      <a:pt x="79" y="0"/>
                    </a:lnTo>
                    <a:lnTo>
                      <a:pt x="81" y="1"/>
                    </a:lnTo>
                    <a:lnTo>
                      <a:pt x="84" y="2"/>
                    </a:lnTo>
                    <a:lnTo>
                      <a:pt x="87" y="7"/>
                    </a:lnTo>
                    <a:lnTo>
                      <a:pt x="88" y="14"/>
                    </a:lnTo>
                    <a:lnTo>
                      <a:pt x="92" y="31"/>
                    </a:lnTo>
                    <a:lnTo>
                      <a:pt x="96" y="45"/>
                    </a:lnTo>
                    <a:lnTo>
                      <a:pt x="99" y="49"/>
                    </a:lnTo>
                    <a:lnTo>
                      <a:pt x="103" y="52"/>
                    </a:lnTo>
                    <a:lnTo>
                      <a:pt x="108" y="56"/>
                    </a:lnTo>
                    <a:lnTo>
                      <a:pt x="113" y="60"/>
                    </a:lnTo>
                    <a:lnTo>
                      <a:pt x="123" y="66"/>
                    </a:lnTo>
                    <a:lnTo>
                      <a:pt x="134" y="71"/>
                    </a:lnTo>
                    <a:lnTo>
                      <a:pt x="137" y="74"/>
                    </a:lnTo>
                    <a:lnTo>
                      <a:pt x="141" y="77"/>
                    </a:lnTo>
                    <a:lnTo>
                      <a:pt x="142" y="80"/>
                    </a:lnTo>
                    <a:lnTo>
                      <a:pt x="143" y="83"/>
                    </a:lnTo>
                    <a:lnTo>
                      <a:pt x="143" y="86"/>
                    </a:lnTo>
                    <a:lnTo>
                      <a:pt x="141" y="91"/>
                    </a:lnTo>
                    <a:lnTo>
                      <a:pt x="136" y="95"/>
                    </a:lnTo>
                    <a:lnTo>
                      <a:pt x="130" y="101"/>
                    </a:lnTo>
                    <a:lnTo>
                      <a:pt x="120" y="109"/>
                    </a:lnTo>
                    <a:lnTo>
                      <a:pt x="110" y="118"/>
                    </a:lnTo>
                    <a:lnTo>
                      <a:pt x="106" y="123"/>
                    </a:lnTo>
                    <a:lnTo>
                      <a:pt x="101" y="127"/>
                    </a:lnTo>
                    <a:lnTo>
                      <a:pt x="96" y="131"/>
                    </a:lnTo>
                    <a:lnTo>
                      <a:pt x="91" y="133"/>
                    </a:lnTo>
                    <a:lnTo>
                      <a:pt x="82" y="135"/>
                    </a:lnTo>
                    <a:lnTo>
                      <a:pt x="72" y="137"/>
                    </a:lnTo>
                    <a:lnTo>
                      <a:pt x="64" y="137"/>
                    </a:lnTo>
                    <a:lnTo>
                      <a:pt x="54" y="135"/>
                    </a:lnTo>
                    <a:lnTo>
                      <a:pt x="36" y="133"/>
                    </a:lnTo>
                    <a:lnTo>
                      <a:pt x="17" y="132"/>
                    </a:lnTo>
                    <a:lnTo>
                      <a:pt x="3" y="1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33"/>
              <p:cNvSpPr>
                <a:spLocks/>
              </p:cNvSpPr>
              <p:nvPr/>
            </p:nvSpPr>
            <p:spPr bwMode="auto">
              <a:xfrm>
                <a:off x="3763962" y="6049355"/>
                <a:ext cx="155575" cy="76200"/>
              </a:xfrm>
              <a:custGeom>
                <a:avLst/>
                <a:gdLst>
                  <a:gd name="T0" fmla="*/ 78 w 395"/>
                  <a:gd name="T1" fmla="*/ 104 h 193"/>
                  <a:gd name="T2" fmla="*/ 79 w 395"/>
                  <a:gd name="T3" fmla="*/ 91 h 193"/>
                  <a:gd name="T4" fmla="*/ 75 w 395"/>
                  <a:gd name="T5" fmla="*/ 74 h 193"/>
                  <a:gd name="T6" fmla="*/ 71 w 395"/>
                  <a:gd name="T7" fmla="*/ 55 h 193"/>
                  <a:gd name="T8" fmla="*/ 72 w 395"/>
                  <a:gd name="T9" fmla="*/ 39 h 193"/>
                  <a:gd name="T10" fmla="*/ 77 w 395"/>
                  <a:gd name="T11" fmla="*/ 27 h 193"/>
                  <a:gd name="T12" fmla="*/ 89 w 395"/>
                  <a:gd name="T13" fmla="*/ 9 h 193"/>
                  <a:gd name="T14" fmla="*/ 99 w 395"/>
                  <a:gd name="T15" fmla="*/ 2 h 193"/>
                  <a:gd name="T16" fmla="*/ 106 w 395"/>
                  <a:gd name="T17" fmla="*/ 0 h 193"/>
                  <a:gd name="T18" fmla="*/ 116 w 395"/>
                  <a:gd name="T19" fmla="*/ 2 h 193"/>
                  <a:gd name="T20" fmla="*/ 132 w 395"/>
                  <a:gd name="T21" fmla="*/ 11 h 193"/>
                  <a:gd name="T22" fmla="*/ 155 w 395"/>
                  <a:gd name="T23" fmla="*/ 27 h 193"/>
                  <a:gd name="T24" fmla="*/ 181 w 395"/>
                  <a:gd name="T25" fmla="*/ 41 h 193"/>
                  <a:gd name="T26" fmla="*/ 206 w 395"/>
                  <a:gd name="T27" fmla="*/ 51 h 193"/>
                  <a:gd name="T28" fmla="*/ 233 w 395"/>
                  <a:gd name="T29" fmla="*/ 57 h 193"/>
                  <a:gd name="T30" fmla="*/ 259 w 395"/>
                  <a:gd name="T31" fmla="*/ 60 h 193"/>
                  <a:gd name="T32" fmla="*/ 286 w 395"/>
                  <a:gd name="T33" fmla="*/ 58 h 193"/>
                  <a:gd name="T34" fmla="*/ 329 w 395"/>
                  <a:gd name="T35" fmla="*/ 52 h 193"/>
                  <a:gd name="T36" fmla="*/ 368 w 395"/>
                  <a:gd name="T37" fmla="*/ 44 h 193"/>
                  <a:gd name="T38" fmla="*/ 383 w 395"/>
                  <a:gd name="T39" fmla="*/ 49 h 193"/>
                  <a:gd name="T40" fmla="*/ 391 w 395"/>
                  <a:gd name="T41" fmla="*/ 61 h 193"/>
                  <a:gd name="T42" fmla="*/ 395 w 395"/>
                  <a:gd name="T43" fmla="*/ 77 h 193"/>
                  <a:gd name="T44" fmla="*/ 394 w 395"/>
                  <a:gd name="T45" fmla="*/ 95 h 193"/>
                  <a:gd name="T46" fmla="*/ 388 w 395"/>
                  <a:gd name="T47" fmla="*/ 112 h 193"/>
                  <a:gd name="T48" fmla="*/ 377 w 395"/>
                  <a:gd name="T49" fmla="*/ 127 h 193"/>
                  <a:gd name="T50" fmla="*/ 363 w 395"/>
                  <a:gd name="T51" fmla="*/ 136 h 193"/>
                  <a:gd name="T52" fmla="*/ 317 w 395"/>
                  <a:gd name="T53" fmla="*/ 136 h 193"/>
                  <a:gd name="T54" fmla="*/ 259 w 395"/>
                  <a:gd name="T55" fmla="*/ 131 h 193"/>
                  <a:gd name="T56" fmla="*/ 221 w 395"/>
                  <a:gd name="T57" fmla="*/ 132 h 193"/>
                  <a:gd name="T58" fmla="*/ 184 w 395"/>
                  <a:gd name="T59" fmla="*/ 139 h 193"/>
                  <a:gd name="T60" fmla="*/ 153 w 395"/>
                  <a:gd name="T61" fmla="*/ 153 h 193"/>
                  <a:gd name="T62" fmla="*/ 123 w 395"/>
                  <a:gd name="T63" fmla="*/ 169 h 193"/>
                  <a:gd name="T64" fmla="*/ 93 w 395"/>
                  <a:gd name="T65" fmla="*/ 183 h 193"/>
                  <a:gd name="T66" fmla="*/ 68 w 395"/>
                  <a:gd name="T67" fmla="*/ 191 h 193"/>
                  <a:gd name="T68" fmla="*/ 47 w 395"/>
                  <a:gd name="T69" fmla="*/ 193 h 193"/>
                  <a:gd name="T70" fmla="*/ 28 w 395"/>
                  <a:gd name="T71" fmla="*/ 192 h 193"/>
                  <a:gd name="T72" fmla="*/ 14 w 395"/>
                  <a:gd name="T73" fmla="*/ 187 h 193"/>
                  <a:gd name="T74" fmla="*/ 7 w 395"/>
                  <a:gd name="T75" fmla="*/ 182 h 193"/>
                  <a:gd name="T76" fmla="*/ 1 w 395"/>
                  <a:gd name="T77" fmla="*/ 173 h 193"/>
                  <a:gd name="T78" fmla="*/ 0 w 395"/>
                  <a:gd name="T79" fmla="*/ 166 h 193"/>
                  <a:gd name="T80" fmla="*/ 3 w 395"/>
                  <a:gd name="T81" fmla="*/ 156 h 193"/>
                  <a:gd name="T82" fmla="*/ 23 w 395"/>
                  <a:gd name="T83" fmla="*/ 142 h 193"/>
                  <a:gd name="T84" fmla="*/ 77 w 395"/>
                  <a:gd name="T85" fmla="*/ 11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95" h="193">
                    <a:moveTo>
                      <a:pt x="77" y="111"/>
                    </a:moveTo>
                    <a:lnTo>
                      <a:pt x="78" y="104"/>
                    </a:lnTo>
                    <a:lnTo>
                      <a:pt x="79" y="98"/>
                    </a:lnTo>
                    <a:lnTo>
                      <a:pt x="79" y="91"/>
                    </a:lnTo>
                    <a:lnTo>
                      <a:pt x="78" y="85"/>
                    </a:lnTo>
                    <a:lnTo>
                      <a:pt x="75" y="74"/>
                    </a:lnTo>
                    <a:lnTo>
                      <a:pt x="73" y="64"/>
                    </a:lnTo>
                    <a:lnTo>
                      <a:pt x="71" y="55"/>
                    </a:lnTo>
                    <a:lnTo>
                      <a:pt x="71" y="45"/>
                    </a:lnTo>
                    <a:lnTo>
                      <a:pt x="72" y="39"/>
                    </a:lnTo>
                    <a:lnTo>
                      <a:pt x="74" y="33"/>
                    </a:lnTo>
                    <a:lnTo>
                      <a:pt x="77" y="27"/>
                    </a:lnTo>
                    <a:lnTo>
                      <a:pt x="82" y="19"/>
                    </a:lnTo>
                    <a:lnTo>
                      <a:pt x="89" y="9"/>
                    </a:lnTo>
                    <a:lnTo>
                      <a:pt x="96" y="3"/>
                    </a:lnTo>
                    <a:lnTo>
                      <a:pt x="99" y="2"/>
                    </a:lnTo>
                    <a:lnTo>
                      <a:pt x="102" y="1"/>
                    </a:lnTo>
                    <a:lnTo>
                      <a:pt x="106" y="0"/>
                    </a:lnTo>
                    <a:lnTo>
                      <a:pt x="110" y="0"/>
                    </a:lnTo>
                    <a:lnTo>
                      <a:pt x="116" y="2"/>
                    </a:lnTo>
                    <a:lnTo>
                      <a:pt x="123" y="6"/>
                    </a:lnTo>
                    <a:lnTo>
                      <a:pt x="132" y="11"/>
                    </a:lnTo>
                    <a:lnTo>
                      <a:pt x="142" y="17"/>
                    </a:lnTo>
                    <a:lnTo>
                      <a:pt x="155" y="27"/>
                    </a:lnTo>
                    <a:lnTo>
                      <a:pt x="167" y="35"/>
                    </a:lnTo>
                    <a:lnTo>
                      <a:pt x="181" y="41"/>
                    </a:lnTo>
                    <a:lnTo>
                      <a:pt x="194" y="47"/>
                    </a:lnTo>
                    <a:lnTo>
                      <a:pt x="206" y="51"/>
                    </a:lnTo>
                    <a:lnTo>
                      <a:pt x="220" y="55"/>
                    </a:lnTo>
                    <a:lnTo>
                      <a:pt x="233" y="57"/>
                    </a:lnTo>
                    <a:lnTo>
                      <a:pt x="246" y="58"/>
                    </a:lnTo>
                    <a:lnTo>
                      <a:pt x="259" y="60"/>
                    </a:lnTo>
                    <a:lnTo>
                      <a:pt x="273" y="60"/>
                    </a:lnTo>
                    <a:lnTo>
                      <a:pt x="286" y="58"/>
                    </a:lnTo>
                    <a:lnTo>
                      <a:pt x="301" y="57"/>
                    </a:lnTo>
                    <a:lnTo>
                      <a:pt x="329" y="52"/>
                    </a:lnTo>
                    <a:lnTo>
                      <a:pt x="358" y="45"/>
                    </a:lnTo>
                    <a:lnTo>
                      <a:pt x="368" y="44"/>
                    </a:lnTo>
                    <a:lnTo>
                      <a:pt x="375" y="45"/>
                    </a:lnTo>
                    <a:lnTo>
                      <a:pt x="383" y="49"/>
                    </a:lnTo>
                    <a:lnTo>
                      <a:pt x="388" y="53"/>
                    </a:lnTo>
                    <a:lnTo>
                      <a:pt x="391" y="61"/>
                    </a:lnTo>
                    <a:lnTo>
                      <a:pt x="394" y="68"/>
                    </a:lnTo>
                    <a:lnTo>
                      <a:pt x="395" y="77"/>
                    </a:lnTo>
                    <a:lnTo>
                      <a:pt x="395" y="85"/>
                    </a:lnTo>
                    <a:lnTo>
                      <a:pt x="394" y="95"/>
                    </a:lnTo>
                    <a:lnTo>
                      <a:pt x="391" y="104"/>
                    </a:lnTo>
                    <a:lnTo>
                      <a:pt x="388" y="112"/>
                    </a:lnTo>
                    <a:lnTo>
                      <a:pt x="383" y="120"/>
                    </a:lnTo>
                    <a:lnTo>
                      <a:pt x="377" y="127"/>
                    </a:lnTo>
                    <a:lnTo>
                      <a:pt x="370" y="132"/>
                    </a:lnTo>
                    <a:lnTo>
                      <a:pt x="363" y="136"/>
                    </a:lnTo>
                    <a:lnTo>
                      <a:pt x="355" y="137"/>
                    </a:lnTo>
                    <a:lnTo>
                      <a:pt x="317" y="136"/>
                    </a:lnTo>
                    <a:lnTo>
                      <a:pt x="279" y="132"/>
                    </a:lnTo>
                    <a:lnTo>
                      <a:pt x="259" y="131"/>
                    </a:lnTo>
                    <a:lnTo>
                      <a:pt x="241" y="131"/>
                    </a:lnTo>
                    <a:lnTo>
                      <a:pt x="221" y="132"/>
                    </a:lnTo>
                    <a:lnTo>
                      <a:pt x="203" y="134"/>
                    </a:lnTo>
                    <a:lnTo>
                      <a:pt x="184" y="139"/>
                    </a:lnTo>
                    <a:lnTo>
                      <a:pt x="168" y="145"/>
                    </a:lnTo>
                    <a:lnTo>
                      <a:pt x="153" y="153"/>
                    </a:lnTo>
                    <a:lnTo>
                      <a:pt x="138" y="161"/>
                    </a:lnTo>
                    <a:lnTo>
                      <a:pt x="123" y="169"/>
                    </a:lnTo>
                    <a:lnTo>
                      <a:pt x="107" y="177"/>
                    </a:lnTo>
                    <a:lnTo>
                      <a:pt x="93" y="183"/>
                    </a:lnTo>
                    <a:lnTo>
                      <a:pt x="77" y="188"/>
                    </a:lnTo>
                    <a:lnTo>
                      <a:pt x="68" y="191"/>
                    </a:lnTo>
                    <a:lnTo>
                      <a:pt x="58" y="192"/>
                    </a:lnTo>
                    <a:lnTo>
                      <a:pt x="47" y="193"/>
                    </a:lnTo>
                    <a:lnTo>
                      <a:pt x="38" y="193"/>
                    </a:lnTo>
                    <a:lnTo>
                      <a:pt x="28" y="192"/>
                    </a:lnTo>
                    <a:lnTo>
                      <a:pt x="18" y="189"/>
                    </a:lnTo>
                    <a:lnTo>
                      <a:pt x="14" y="187"/>
                    </a:lnTo>
                    <a:lnTo>
                      <a:pt x="11" y="184"/>
                    </a:lnTo>
                    <a:lnTo>
                      <a:pt x="7" y="182"/>
                    </a:lnTo>
                    <a:lnTo>
                      <a:pt x="3" y="177"/>
                    </a:lnTo>
                    <a:lnTo>
                      <a:pt x="1" y="173"/>
                    </a:lnTo>
                    <a:lnTo>
                      <a:pt x="0" y="170"/>
                    </a:lnTo>
                    <a:lnTo>
                      <a:pt x="0" y="166"/>
                    </a:lnTo>
                    <a:lnTo>
                      <a:pt x="1" y="162"/>
                    </a:lnTo>
                    <a:lnTo>
                      <a:pt x="3" y="156"/>
                    </a:lnTo>
                    <a:lnTo>
                      <a:pt x="9" y="151"/>
                    </a:lnTo>
                    <a:lnTo>
                      <a:pt x="23" y="142"/>
                    </a:lnTo>
                    <a:lnTo>
                      <a:pt x="36" y="134"/>
                    </a:lnTo>
                    <a:lnTo>
                      <a:pt x="77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34"/>
              <p:cNvSpPr>
                <a:spLocks/>
              </p:cNvSpPr>
              <p:nvPr/>
            </p:nvSpPr>
            <p:spPr bwMode="auto">
              <a:xfrm>
                <a:off x="3884612" y="6895493"/>
                <a:ext cx="55563" cy="84138"/>
              </a:xfrm>
              <a:custGeom>
                <a:avLst/>
                <a:gdLst>
                  <a:gd name="T0" fmla="*/ 0 w 139"/>
                  <a:gd name="T1" fmla="*/ 183 h 215"/>
                  <a:gd name="T2" fmla="*/ 0 w 139"/>
                  <a:gd name="T3" fmla="*/ 177 h 215"/>
                  <a:gd name="T4" fmla="*/ 0 w 139"/>
                  <a:gd name="T5" fmla="*/ 171 h 215"/>
                  <a:gd name="T6" fmla="*/ 2 w 139"/>
                  <a:gd name="T7" fmla="*/ 164 h 215"/>
                  <a:gd name="T8" fmla="*/ 6 w 139"/>
                  <a:gd name="T9" fmla="*/ 160 h 215"/>
                  <a:gd name="T10" fmla="*/ 14 w 139"/>
                  <a:gd name="T11" fmla="*/ 149 h 215"/>
                  <a:gd name="T12" fmla="*/ 22 w 139"/>
                  <a:gd name="T13" fmla="*/ 137 h 215"/>
                  <a:gd name="T14" fmla="*/ 24 w 139"/>
                  <a:gd name="T15" fmla="*/ 133 h 215"/>
                  <a:gd name="T16" fmla="*/ 26 w 139"/>
                  <a:gd name="T17" fmla="*/ 125 h 215"/>
                  <a:gd name="T18" fmla="*/ 26 w 139"/>
                  <a:gd name="T19" fmla="*/ 118 h 215"/>
                  <a:gd name="T20" fmla="*/ 26 w 139"/>
                  <a:gd name="T21" fmla="*/ 109 h 215"/>
                  <a:gd name="T22" fmla="*/ 25 w 139"/>
                  <a:gd name="T23" fmla="*/ 101 h 215"/>
                  <a:gd name="T24" fmla="*/ 24 w 139"/>
                  <a:gd name="T25" fmla="*/ 93 h 215"/>
                  <a:gd name="T26" fmla="*/ 22 w 139"/>
                  <a:gd name="T27" fmla="*/ 87 h 215"/>
                  <a:gd name="T28" fmla="*/ 19 w 139"/>
                  <a:gd name="T29" fmla="*/ 81 h 215"/>
                  <a:gd name="T30" fmla="*/ 34 w 139"/>
                  <a:gd name="T31" fmla="*/ 66 h 215"/>
                  <a:gd name="T32" fmla="*/ 47 w 139"/>
                  <a:gd name="T33" fmla="*/ 51 h 215"/>
                  <a:gd name="T34" fmla="*/ 49 w 139"/>
                  <a:gd name="T35" fmla="*/ 35 h 215"/>
                  <a:gd name="T36" fmla="*/ 50 w 139"/>
                  <a:gd name="T37" fmla="*/ 19 h 215"/>
                  <a:gd name="T38" fmla="*/ 56 w 139"/>
                  <a:gd name="T39" fmla="*/ 11 h 215"/>
                  <a:gd name="T40" fmla="*/ 62 w 139"/>
                  <a:gd name="T41" fmla="*/ 5 h 215"/>
                  <a:gd name="T42" fmla="*/ 68 w 139"/>
                  <a:gd name="T43" fmla="*/ 2 h 215"/>
                  <a:gd name="T44" fmla="*/ 74 w 139"/>
                  <a:gd name="T45" fmla="*/ 0 h 215"/>
                  <a:gd name="T46" fmla="*/ 80 w 139"/>
                  <a:gd name="T47" fmla="*/ 0 h 215"/>
                  <a:gd name="T48" fmla="*/ 88 w 139"/>
                  <a:gd name="T49" fmla="*/ 2 h 215"/>
                  <a:gd name="T50" fmla="*/ 95 w 139"/>
                  <a:gd name="T51" fmla="*/ 4 h 215"/>
                  <a:gd name="T52" fmla="*/ 102 w 139"/>
                  <a:gd name="T53" fmla="*/ 8 h 215"/>
                  <a:gd name="T54" fmla="*/ 113 w 139"/>
                  <a:gd name="T55" fmla="*/ 11 h 215"/>
                  <a:gd name="T56" fmla="*/ 124 w 139"/>
                  <a:gd name="T57" fmla="*/ 14 h 215"/>
                  <a:gd name="T58" fmla="*/ 128 w 139"/>
                  <a:gd name="T59" fmla="*/ 16 h 215"/>
                  <a:gd name="T60" fmla="*/ 132 w 139"/>
                  <a:gd name="T61" fmla="*/ 20 h 215"/>
                  <a:gd name="T62" fmla="*/ 135 w 139"/>
                  <a:gd name="T63" fmla="*/ 24 h 215"/>
                  <a:gd name="T64" fmla="*/ 138 w 139"/>
                  <a:gd name="T65" fmla="*/ 31 h 215"/>
                  <a:gd name="T66" fmla="*/ 139 w 139"/>
                  <a:gd name="T67" fmla="*/ 37 h 215"/>
                  <a:gd name="T68" fmla="*/ 139 w 139"/>
                  <a:gd name="T69" fmla="*/ 43 h 215"/>
                  <a:gd name="T70" fmla="*/ 139 w 139"/>
                  <a:gd name="T71" fmla="*/ 51 h 215"/>
                  <a:gd name="T72" fmla="*/ 138 w 139"/>
                  <a:gd name="T73" fmla="*/ 57 h 215"/>
                  <a:gd name="T74" fmla="*/ 135 w 139"/>
                  <a:gd name="T75" fmla="*/ 69 h 215"/>
                  <a:gd name="T76" fmla="*/ 131 w 139"/>
                  <a:gd name="T77" fmla="*/ 82 h 215"/>
                  <a:gd name="T78" fmla="*/ 121 w 139"/>
                  <a:gd name="T79" fmla="*/ 108 h 215"/>
                  <a:gd name="T80" fmla="*/ 112 w 139"/>
                  <a:gd name="T81" fmla="*/ 131 h 215"/>
                  <a:gd name="T82" fmla="*/ 106 w 139"/>
                  <a:gd name="T83" fmla="*/ 147 h 215"/>
                  <a:gd name="T84" fmla="*/ 99 w 139"/>
                  <a:gd name="T85" fmla="*/ 162 h 215"/>
                  <a:gd name="T86" fmla="*/ 91 w 139"/>
                  <a:gd name="T87" fmla="*/ 175 h 215"/>
                  <a:gd name="T88" fmla="*/ 85 w 139"/>
                  <a:gd name="T89" fmla="*/ 189 h 215"/>
                  <a:gd name="T90" fmla="*/ 74 w 139"/>
                  <a:gd name="T91" fmla="*/ 200 h 215"/>
                  <a:gd name="T92" fmla="*/ 60 w 139"/>
                  <a:gd name="T93" fmla="*/ 212 h 215"/>
                  <a:gd name="T94" fmla="*/ 53 w 139"/>
                  <a:gd name="T95" fmla="*/ 213 h 215"/>
                  <a:gd name="T96" fmla="*/ 47 w 139"/>
                  <a:gd name="T97" fmla="*/ 215 h 215"/>
                  <a:gd name="T98" fmla="*/ 41 w 139"/>
                  <a:gd name="T99" fmla="*/ 213 h 215"/>
                  <a:gd name="T100" fmla="*/ 34 w 139"/>
                  <a:gd name="T101" fmla="*/ 212 h 215"/>
                  <a:gd name="T102" fmla="*/ 22 w 139"/>
                  <a:gd name="T103" fmla="*/ 207 h 215"/>
                  <a:gd name="T104" fmla="*/ 9 w 139"/>
                  <a:gd name="T105" fmla="*/ 201 h 215"/>
                  <a:gd name="T106" fmla="*/ 0 w 139"/>
                  <a:gd name="T107" fmla="*/ 18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9" h="215">
                    <a:moveTo>
                      <a:pt x="0" y="183"/>
                    </a:moveTo>
                    <a:lnTo>
                      <a:pt x="0" y="177"/>
                    </a:lnTo>
                    <a:lnTo>
                      <a:pt x="0" y="171"/>
                    </a:lnTo>
                    <a:lnTo>
                      <a:pt x="2" y="164"/>
                    </a:lnTo>
                    <a:lnTo>
                      <a:pt x="6" y="160"/>
                    </a:lnTo>
                    <a:lnTo>
                      <a:pt x="14" y="149"/>
                    </a:lnTo>
                    <a:lnTo>
                      <a:pt x="22" y="137"/>
                    </a:lnTo>
                    <a:lnTo>
                      <a:pt x="24" y="133"/>
                    </a:lnTo>
                    <a:lnTo>
                      <a:pt x="26" y="125"/>
                    </a:lnTo>
                    <a:lnTo>
                      <a:pt x="26" y="118"/>
                    </a:lnTo>
                    <a:lnTo>
                      <a:pt x="26" y="109"/>
                    </a:lnTo>
                    <a:lnTo>
                      <a:pt x="25" y="101"/>
                    </a:lnTo>
                    <a:lnTo>
                      <a:pt x="24" y="93"/>
                    </a:lnTo>
                    <a:lnTo>
                      <a:pt x="22" y="87"/>
                    </a:lnTo>
                    <a:lnTo>
                      <a:pt x="19" y="81"/>
                    </a:lnTo>
                    <a:lnTo>
                      <a:pt x="34" y="66"/>
                    </a:lnTo>
                    <a:lnTo>
                      <a:pt x="47" y="51"/>
                    </a:lnTo>
                    <a:lnTo>
                      <a:pt x="49" y="35"/>
                    </a:lnTo>
                    <a:lnTo>
                      <a:pt x="50" y="19"/>
                    </a:lnTo>
                    <a:lnTo>
                      <a:pt x="56" y="11"/>
                    </a:lnTo>
                    <a:lnTo>
                      <a:pt x="62" y="5"/>
                    </a:lnTo>
                    <a:lnTo>
                      <a:pt x="68" y="2"/>
                    </a:lnTo>
                    <a:lnTo>
                      <a:pt x="74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8"/>
                    </a:lnTo>
                    <a:lnTo>
                      <a:pt x="113" y="11"/>
                    </a:lnTo>
                    <a:lnTo>
                      <a:pt x="124" y="14"/>
                    </a:lnTo>
                    <a:lnTo>
                      <a:pt x="128" y="16"/>
                    </a:lnTo>
                    <a:lnTo>
                      <a:pt x="132" y="20"/>
                    </a:lnTo>
                    <a:lnTo>
                      <a:pt x="135" y="24"/>
                    </a:lnTo>
                    <a:lnTo>
                      <a:pt x="138" y="31"/>
                    </a:lnTo>
                    <a:lnTo>
                      <a:pt x="139" y="37"/>
                    </a:lnTo>
                    <a:lnTo>
                      <a:pt x="139" y="43"/>
                    </a:lnTo>
                    <a:lnTo>
                      <a:pt x="139" y="51"/>
                    </a:lnTo>
                    <a:lnTo>
                      <a:pt x="138" y="57"/>
                    </a:lnTo>
                    <a:lnTo>
                      <a:pt x="135" y="69"/>
                    </a:lnTo>
                    <a:lnTo>
                      <a:pt x="131" y="82"/>
                    </a:lnTo>
                    <a:lnTo>
                      <a:pt x="121" y="108"/>
                    </a:lnTo>
                    <a:lnTo>
                      <a:pt x="112" y="131"/>
                    </a:lnTo>
                    <a:lnTo>
                      <a:pt x="106" y="147"/>
                    </a:lnTo>
                    <a:lnTo>
                      <a:pt x="99" y="162"/>
                    </a:lnTo>
                    <a:lnTo>
                      <a:pt x="91" y="175"/>
                    </a:lnTo>
                    <a:lnTo>
                      <a:pt x="85" y="189"/>
                    </a:lnTo>
                    <a:lnTo>
                      <a:pt x="74" y="200"/>
                    </a:lnTo>
                    <a:lnTo>
                      <a:pt x="60" y="212"/>
                    </a:lnTo>
                    <a:lnTo>
                      <a:pt x="53" y="213"/>
                    </a:lnTo>
                    <a:lnTo>
                      <a:pt x="47" y="215"/>
                    </a:lnTo>
                    <a:lnTo>
                      <a:pt x="41" y="213"/>
                    </a:lnTo>
                    <a:lnTo>
                      <a:pt x="34" y="212"/>
                    </a:lnTo>
                    <a:lnTo>
                      <a:pt x="22" y="207"/>
                    </a:lnTo>
                    <a:lnTo>
                      <a:pt x="9" y="201"/>
                    </a:lnTo>
                    <a:lnTo>
                      <a:pt x="0" y="1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35"/>
              <p:cNvSpPr>
                <a:spLocks/>
              </p:cNvSpPr>
              <p:nvPr/>
            </p:nvSpPr>
            <p:spPr bwMode="auto">
              <a:xfrm>
                <a:off x="3840162" y="7100280"/>
                <a:ext cx="22225" cy="19050"/>
              </a:xfrm>
              <a:custGeom>
                <a:avLst/>
                <a:gdLst>
                  <a:gd name="T0" fmla="*/ 10 w 54"/>
                  <a:gd name="T1" fmla="*/ 48 h 48"/>
                  <a:gd name="T2" fmla="*/ 6 w 54"/>
                  <a:gd name="T3" fmla="*/ 41 h 48"/>
                  <a:gd name="T4" fmla="*/ 3 w 54"/>
                  <a:gd name="T5" fmla="*/ 32 h 48"/>
                  <a:gd name="T6" fmla="*/ 0 w 54"/>
                  <a:gd name="T7" fmla="*/ 24 h 48"/>
                  <a:gd name="T8" fmla="*/ 0 w 54"/>
                  <a:gd name="T9" fmla="*/ 14 h 48"/>
                  <a:gd name="T10" fmla="*/ 0 w 54"/>
                  <a:gd name="T11" fmla="*/ 10 h 48"/>
                  <a:gd name="T12" fmla="*/ 1 w 54"/>
                  <a:gd name="T13" fmla="*/ 6 h 48"/>
                  <a:gd name="T14" fmla="*/ 4 w 54"/>
                  <a:gd name="T15" fmla="*/ 4 h 48"/>
                  <a:gd name="T16" fmla="*/ 6 w 54"/>
                  <a:gd name="T17" fmla="*/ 1 h 48"/>
                  <a:gd name="T18" fmla="*/ 9 w 54"/>
                  <a:gd name="T19" fmla="*/ 0 h 48"/>
                  <a:gd name="T20" fmla="*/ 12 w 54"/>
                  <a:gd name="T21" fmla="*/ 0 h 48"/>
                  <a:gd name="T22" fmla="*/ 17 w 54"/>
                  <a:gd name="T23" fmla="*/ 1 h 48"/>
                  <a:gd name="T24" fmla="*/ 23 w 54"/>
                  <a:gd name="T25" fmla="*/ 4 h 48"/>
                  <a:gd name="T26" fmla="*/ 33 w 54"/>
                  <a:gd name="T27" fmla="*/ 10 h 48"/>
                  <a:gd name="T28" fmla="*/ 41 w 54"/>
                  <a:gd name="T29" fmla="*/ 19 h 48"/>
                  <a:gd name="T30" fmla="*/ 45 w 54"/>
                  <a:gd name="T31" fmla="*/ 24 h 48"/>
                  <a:gd name="T32" fmla="*/ 50 w 54"/>
                  <a:gd name="T33" fmla="*/ 30 h 48"/>
                  <a:gd name="T34" fmla="*/ 53 w 54"/>
                  <a:gd name="T35" fmla="*/ 32 h 48"/>
                  <a:gd name="T36" fmla="*/ 54 w 54"/>
                  <a:gd name="T37" fmla="*/ 36 h 48"/>
                  <a:gd name="T38" fmla="*/ 54 w 54"/>
                  <a:gd name="T39" fmla="*/ 38 h 48"/>
                  <a:gd name="T40" fmla="*/ 53 w 54"/>
                  <a:gd name="T41" fmla="*/ 41 h 48"/>
                  <a:gd name="T42" fmla="*/ 50 w 54"/>
                  <a:gd name="T43" fmla="*/ 43 h 48"/>
                  <a:gd name="T44" fmla="*/ 47 w 54"/>
                  <a:gd name="T45" fmla="*/ 46 h 48"/>
                  <a:gd name="T46" fmla="*/ 42 w 54"/>
                  <a:gd name="T47" fmla="*/ 47 h 48"/>
                  <a:gd name="T48" fmla="*/ 38 w 54"/>
                  <a:gd name="T49" fmla="*/ 48 h 48"/>
                  <a:gd name="T50" fmla="*/ 30 w 54"/>
                  <a:gd name="T51" fmla="*/ 48 h 48"/>
                  <a:gd name="T52" fmla="*/ 21 w 54"/>
                  <a:gd name="T53" fmla="*/ 48 h 48"/>
                  <a:gd name="T54" fmla="*/ 10 w 54"/>
                  <a:gd name="T5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4" h="48">
                    <a:moveTo>
                      <a:pt x="10" y="48"/>
                    </a:moveTo>
                    <a:lnTo>
                      <a:pt x="6" y="41"/>
                    </a:lnTo>
                    <a:lnTo>
                      <a:pt x="3" y="32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4" y="4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7" y="1"/>
                    </a:lnTo>
                    <a:lnTo>
                      <a:pt x="23" y="4"/>
                    </a:lnTo>
                    <a:lnTo>
                      <a:pt x="33" y="10"/>
                    </a:lnTo>
                    <a:lnTo>
                      <a:pt x="41" y="19"/>
                    </a:lnTo>
                    <a:lnTo>
                      <a:pt x="45" y="24"/>
                    </a:lnTo>
                    <a:lnTo>
                      <a:pt x="50" y="30"/>
                    </a:lnTo>
                    <a:lnTo>
                      <a:pt x="53" y="32"/>
                    </a:lnTo>
                    <a:lnTo>
                      <a:pt x="54" y="36"/>
                    </a:lnTo>
                    <a:lnTo>
                      <a:pt x="54" y="38"/>
                    </a:lnTo>
                    <a:lnTo>
                      <a:pt x="53" y="41"/>
                    </a:lnTo>
                    <a:lnTo>
                      <a:pt x="50" y="43"/>
                    </a:lnTo>
                    <a:lnTo>
                      <a:pt x="47" y="46"/>
                    </a:lnTo>
                    <a:lnTo>
                      <a:pt x="42" y="47"/>
                    </a:lnTo>
                    <a:lnTo>
                      <a:pt x="38" y="48"/>
                    </a:lnTo>
                    <a:lnTo>
                      <a:pt x="30" y="48"/>
                    </a:lnTo>
                    <a:lnTo>
                      <a:pt x="21" y="48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36"/>
              <p:cNvSpPr>
                <a:spLocks/>
              </p:cNvSpPr>
              <p:nvPr/>
            </p:nvSpPr>
            <p:spPr bwMode="auto">
              <a:xfrm>
                <a:off x="3808412" y="7176480"/>
                <a:ext cx="46038" cy="36513"/>
              </a:xfrm>
              <a:custGeom>
                <a:avLst/>
                <a:gdLst>
                  <a:gd name="T0" fmla="*/ 3 w 116"/>
                  <a:gd name="T1" fmla="*/ 72 h 92"/>
                  <a:gd name="T2" fmla="*/ 1 w 116"/>
                  <a:gd name="T3" fmla="*/ 68 h 92"/>
                  <a:gd name="T4" fmla="*/ 0 w 116"/>
                  <a:gd name="T5" fmla="*/ 63 h 92"/>
                  <a:gd name="T6" fmla="*/ 0 w 116"/>
                  <a:gd name="T7" fmla="*/ 59 h 92"/>
                  <a:gd name="T8" fmla="*/ 1 w 116"/>
                  <a:gd name="T9" fmla="*/ 55 h 92"/>
                  <a:gd name="T10" fmla="*/ 3 w 116"/>
                  <a:gd name="T11" fmla="*/ 47 h 92"/>
                  <a:gd name="T12" fmla="*/ 8 w 116"/>
                  <a:gd name="T13" fmla="*/ 41 h 92"/>
                  <a:gd name="T14" fmla="*/ 23 w 116"/>
                  <a:gd name="T15" fmla="*/ 28 h 92"/>
                  <a:gd name="T16" fmla="*/ 39 w 116"/>
                  <a:gd name="T17" fmla="*/ 19 h 92"/>
                  <a:gd name="T18" fmla="*/ 51 w 116"/>
                  <a:gd name="T19" fmla="*/ 11 h 92"/>
                  <a:gd name="T20" fmla="*/ 67 w 116"/>
                  <a:gd name="T21" fmla="*/ 5 h 92"/>
                  <a:gd name="T22" fmla="*/ 74 w 116"/>
                  <a:gd name="T23" fmla="*/ 3 h 92"/>
                  <a:gd name="T24" fmla="*/ 82 w 116"/>
                  <a:gd name="T25" fmla="*/ 1 h 92"/>
                  <a:gd name="T26" fmla="*/ 89 w 116"/>
                  <a:gd name="T27" fmla="*/ 0 h 92"/>
                  <a:gd name="T28" fmla="*/ 96 w 116"/>
                  <a:gd name="T29" fmla="*/ 0 h 92"/>
                  <a:gd name="T30" fmla="*/ 102 w 116"/>
                  <a:gd name="T31" fmla="*/ 1 h 92"/>
                  <a:gd name="T32" fmla="*/ 107 w 116"/>
                  <a:gd name="T33" fmla="*/ 3 h 92"/>
                  <a:gd name="T34" fmla="*/ 111 w 116"/>
                  <a:gd name="T35" fmla="*/ 6 h 92"/>
                  <a:gd name="T36" fmla="*/ 115 w 116"/>
                  <a:gd name="T37" fmla="*/ 10 h 92"/>
                  <a:gd name="T38" fmla="*/ 116 w 116"/>
                  <a:gd name="T39" fmla="*/ 16 h 92"/>
                  <a:gd name="T40" fmla="*/ 115 w 116"/>
                  <a:gd name="T41" fmla="*/ 24 h 92"/>
                  <a:gd name="T42" fmla="*/ 112 w 116"/>
                  <a:gd name="T43" fmla="*/ 33 h 92"/>
                  <a:gd name="T44" fmla="*/ 109 w 116"/>
                  <a:gd name="T45" fmla="*/ 44 h 92"/>
                  <a:gd name="T46" fmla="*/ 105 w 116"/>
                  <a:gd name="T47" fmla="*/ 53 h 92"/>
                  <a:gd name="T48" fmla="*/ 102 w 116"/>
                  <a:gd name="T49" fmla="*/ 63 h 92"/>
                  <a:gd name="T50" fmla="*/ 101 w 116"/>
                  <a:gd name="T51" fmla="*/ 66 h 92"/>
                  <a:gd name="T52" fmla="*/ 99 w 116"/>
                  <a:gd name="T53" fmla="*/ 70 h 92"/>
                  <a:gd name="T54" fmla="*/ 96 w 116"/>
                  <a:gd name="T55" fmla="*/ 75 h 92"/>
                  <a:gd name="T56" fmla="*/ 91 w 116"/>
                  <a:gd name="T57" fmla="*/ 77 h 92"/>
                  <a:gd name="T58" fmla="*/ 84 w 116"/>
                  <a:gd name="T59" fmla="*/ 84 h 92"/>
                  <a:gd name="T60" fmla="*/ 77 w 116"/>
                  <a:gd name="T61" fmla="*/ 87 h 92"/>
                  <a:gd name="T62" fmla="*/ 68 w 116"/>
                  <a:gd name="T63" fmla="*/ 91 h 92"/>
                  <a:gd name="T64" fmla="*/ 58 w 116"/>
                  <a:gd name="T65" fmla="*/ 92 h 92"/>
                  <a:gd name="T66" fmla="*/ 47 w 116"/>
                  <a:gd name="T67" fmla="*/ 91 h 92"/>
                  <a:gd name="T68" fmla="*/ 38 w 116"/>
                  <a:gd name="T69" fmla="*/ 87 h 92"/>
                  <a:gd name="T70" fmla="*/ 28 w 116"/>
                  <a:gd name="T71" fmla="*/ 85 h 92"/>
                  <a:gd name="T72" fmla="*/ 18 w 116"/>
                  <a:gd name="T73" fmla="*/ 82 h 92"/>
                  <a:gd name="T74" fmla="*/ 3 w 116"/>
                  <a:gd name="T75" fmla="*/ 7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6" h="92">
                    <a:moveTo>
                      <a:pt x="3" y="72"/>
                    </a:moveTo>
                    <a:lnTo>
                      <a:pt x="1" y="68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1" y="55"/>
                    </a:lnTo>
                    <a:lnTo>
                      <a:pt x="3" y="47"/>
                    </a:lnTo>
                    <a:lnTo>
                      <a:pt x="8" y="41"/>
                    </a:lnTo>
                    <a:lnTo>
                      <a:pt x="23" y="28"/>
                    </a:lnTo>
                    <a:lnTo>
                      <a:pt x="39" y="19"/>
                    </a:lnTo>
                    <a:lnTo>
                      <a:pt x="51" y="11"/>
                    </a:lnTo>
                    <a:lnTo>
                      <a:pt x="67" y="5"/>
                    </a:lnTo>
                    <a:lnTo>
                      <a:pt x="74" y="3"/>
                    </a:lnTo>
                    <a:lnTo>
                      <a:pt x="82" y="1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1"/>
                    </a:lnTo>
                    <a:lnTo>
                      <a:pt x="107" y="3"/>
                    </a:lnTo>
                    <a:lnTo>
                      <a:pt x="111" y="6"/>
                    </a:lnTo>
                    <a:lnTo>
                      <a:pt x="115" y="10"/>
                    </a:lnTo>
                    <a:lnTo>
                      <a:pt x="116" y="16"/>
                    </a:lnTo>
                    <a:lnTo>
                      <a:pt x="115" y="24"/>
                    </a:lnTo>
                    <a:lnTo>
                      <a:pt x="112" y="33"/>
                    </a:lnTo>
                    <a:lnTo>
                      <a:pt x="109" y="44"/>
                    </a:lnTo>
                    <a:lnTo>
                      <a:pt x="105" y="53"/>
                    </a:lnTo>
                    <a:lnTo>
                      <a:pt x="102" y="63"/>
                    </a:lnTo>
                    <a:lnTo>
                      <a:pt x="101" y="66"/>
                    </a:lnTo>
                    <a:lnTo>
                      <a:pt x="99" y="70"/>
                    </a:lnTo>
                    <a:lnTo>
                      <a:pt x="96" y="75"/>
                    </a:lnTo>
                    <a:lnTo>
                      <a:pt x="91" y="77"/>
                    </a:lnTo>
                    <a:lnTo>
                      <a:pt x="84" y="84"/>
                    </a:lnTo>
                    <a:lnTo>
                      <a:pt x="77" y="87"/>
                    </a:lnTo>
                    <a:lnTo>
                      <a:pt x="68" y="91"/>
                    </a:lnTo>
                    <a:lnTo>
                      <a:pt x="58" y="92"/>
                    </a:lnTo>
                    <a:lnTo>
                      <a:pt x="47" y="91"/>
                    </a:lnTo>
                    <a:lnTo>
                      <a:pt x="38" y="87"/>
                    </a:lnTo>
                    <a:lnTo>
                      <a:pt x="28" y="85"/>
                    </a:lnTo>
                    <a:lnTo>
                      <a:pt x="18" y="82"/>
                    </a:lnTo>
                    <a:lnTo>
                      <a:pt x="3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Freeform 37"/>
              <p:cNvSpPr>
                <a:spLocks/>
              </p:cNvSpPr>
              <p:nvPr/>
            </p:nvSpPr>
            <p:spPr bwMode="auto">
              <a:xfrm>
                <a:off x="3429000" y="7255855"/>
                <a:ext cx="247650" cy="141288"/>
              </a:xfrm>
              <a:custGeom>
                <a:avLst/>
                <a:gdLst>
                  <a:gd name="T0" fmla="*/ 0 w 627"/>
                  <a:gd name="T1" fmla="*/ 231 h 356"/>
                  <a:gd name="T2" fmla="*/ 6 w 627"/>
                  <a:gd name="T3" fmla="*/ 218 h 356"/>
                  <a:gd name="T4" fmla="*/ 55 w 627"/>
                  <a:gd name="T5" fmla="*/ 191 h 356"/>
                  <a:gd name="T6" fmla="*/ 103 w 627"/>
                  <a:gd name="T7" fmla="*/ 169 h 356"/>
                  <a:gd name="T8" fmla="*/ 129 w 627"/>
                  <a:gd name="T9" fmla="*/ 167 h 356"/>
                  <a:gd name="T10" fmla="*/ 164 w 627"/>
                  <a:gd name="T11" fmla="*/ 149 h 356"/>
                  <a:gd name="T12" fmla="*/ 208 w 627"/>
                  <a:gd name="T13" fmla="*/ 116 h 356"/>
                  <a:gd name="T14" fmla="*/ 225 w 627"/>
                  <a:gd name="T15" fmla="*/ 110 h 356"/>
                  <a:gd name="T16" fmla="*/ 255 w 627"/>
                  <a:gd name="T17" fmla="*/ 103 h 356"/>
                  <a:gd name="T18" fmla="*/ 303 w 627"/>
                  <a:gd name="T19" fmla="*/ 78 h 356"/>
                  <a:gd name="T20" fmla="*/ 372 w 627"/>
                  <a:gd name="T21" fmla="*/ 42 h 356"/>
                  <a:gd name="T22" fmla="*/ 411 w 627"/>
                  <a:gd name="T23" fmla="*/ 33 h 356"/>
                  <a:gd name="T24" fmla="*/ 467 w 627"/>
                  <a:gd name="T25" fmla="*/ 28 h 356"/>
                  <a:gd name="T26" fmla="*/ 527 w 627"/>
                  <a:gd name="T27" fmla="*/ 12 h 356"/>
                  <a:gd name="T28" fmla="*/ 578 w 627"/>
                  <a:gd name="T29" fmla="*/ 1 h 356"/>
                  <a:gd name="T30" fmla="*/ 598 w 627"/>
                  <a:gd name="T31" fmla="*/ 1 h 356"/>
                  <a:gd name="T32" fmla="*/ 613 w 627"/>
                  <a:gd name="T33" fmla="*/ 9 h 356"/>
                  <a:gd name="T34" fmla="*/ 623 w 627"/>
                  <a:gd name="T35" fmla="*/ 23 h 356"/>
                  <a:gd name="T36" fmla="*/ 627 w 627"/>
                  <a:gd name="T37" fmla="*/ 49 h 356"/>
                  <a:gd name="T38" fmla="*/ 624 w 627"/>
                  <a:gd name="T39" fmla="*/ 88 h 356"/>
                  <a:gd name="T40" fmla="*/ 612 w 627"/>
                  <a:gd name="T41" fmla="*/ 138 h 356"/>
                  <a:gd name="T42" fmla="*/ 601 w 627"/>
                  <a:gd name="T43" fmla="*/ 153 h 356"/>
                  <a:gd name="T44" fmla="*/ 585 w 627"/>
                  <a:gd name="T45" fmla="*/ 159 h 356"/>
                  <a:gd name="T46" fmla="*/ 553 w 627"/>
                  <a:gd name="T47" fmla="*/ 154 h 356"/>
                  <a:gd name="T48" fmla="*/ 497 w 627"/>
                  <a:gd name="T49" fmla="*/ 140 h 356"/>
                  <a:gd name="T50" fmla="*/ 445 w 627"/>
                  <a:gd name="T51" fmla="*/ 142 h 356"/>
                  <a:gd name="T52" fmla="*/ 425 w 627"/>
                  <a:gd name="T53" fmla="*/ 152 h 356"/>
                  <a:gd name="T54" fmla="*/ 424 w 627"/>
                  <a:gd name="T55" fmla="*/ 159 h 356"/>
                  <a:gd name="T56" fmla="*/ 436 w 627"/>
                  <a:gd name="T57" fmla="*/ 175 h 356"/>
                  <a:gd name="T58" fmla="*/ 458 w 627"/>
                  <a:gd name="T59" fmla="*/ 202 h 356"/>
                  <a:gd name="T60" fmla="*/ 478 w 627"/>
                  <a:gd name="T61" fmla="*/ 228 h 356"/>
                  <a:gd name="T62" fmla="*/ 491 w 627"/>
                  <a:gd name="T63" fmla="*/ 238 h 356"/>
                  <a:gd name="T64" fmla="*/ 529 w 627"/>
                  <a:gd name="T65" fmla="*/ 256 h 356"/>
                  <a:gd name="T66" fmla="*/ 555 w 627"/>
                  <a:gd name="T67" fmla="*/ 277 h 356"/>
                  <a:gd name="T68" fmla="*/ 573 w 627"/>
                  <a:gd name="T69" fmla="*/ 301 h 356"/>
                  <a:gd name="T70" fmla="*/ 579 w 627"/>
                  <a:gd name="T71" fmla="*/ 327 h 356"/>
                  <a:gd name="T72" fmla="*/ 566 w 627"/>
                  <a:gd name="T73" fmla="*/ 351 h 356"/>
                  <a:gd name="T74" fmla="*/ 549 w 627"/>
                  <a:gd name="T75" fmla="*/ 356 h 356"/>
                  <a:gd name="T76" fmla="*/ 494 w 627"/>
                  <a:gd name="T77" fmla="*/ 354 h 356"/>
                  <a:gd name="T78" fmla="*/ 403 w 627"/>
                  <a:gd name="T79" fmla="*/ 345 h 356"/>
                  <a:gd name="T80" fmla="*/ 382 w 627"/>
                  <a:gd name="T81" fmla="*/ 338 h 356"/>
                  <a:gd name="T82" fmla="*/ 366 w 627"/>
                  <a:gd name="T83" fmla="*/ 322 h 356"/>
                  <a:gd name="T84" fmla="*/ 345 w 627"/>
                  <a:gd name="T85" fmla="*/ 285 h 356"/>
                  <a:gd name="T86" fmla="*/ 325 w 627"/>
                  <a:gd name="T87" fmla="*/ 235 h 356"/>
                  <a:gd name="T88" fmla="*/ 303 w 627"/>
                  <a:gd name="T89" fmla="*/ 196 h 356"/>
                  <a:gd name="T90" fmla="*/ 287 w 627"/>
                  <a:gd name="T91" fmla="*/ 185 h 356"/>
                  <a:gd name="T92" fmla="*/ 268 w 627"/>
                  <a:gd name="T93" fmla="*/ 184 h 356"/>
                  <a:gd name="T94" fmla="*/ 232 w 627"/>
                  <a:gd name="T95" fmla="*/ 202 h 356"/>
                  <a:gd name="T96" fmla="*/ 192 w 627"/>
                  <a:gd name="T97" fmla="*/ 228 h 356"/>
                  <a:gd name="T98" fmla="*/ 134 w 627"/>
                  <a:gd name="T99" fmla="*/ 240 h 356"/>
                  <a:gd name="T100" fmla="*/ 58 w 627"/>
                  <a:gd name="T101" fmla="*/ 249 h 356"/>
                  <a:gd name="T102" fmla="*/ 17 w 627"/>
                  <a:gd name="T103" fmla="*/ 25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27" h="356">
                    <a:moveTo>
                      <a:pt x="17" y="251"/>
                    </a:moveTo>
                    <a:lnTo>
                      <a:pt x="9" y="241"/>
                    </a:lnTo>
                    <a:lnTo>
                      <a:pt x="0" y="231"/>
                    </a:lnTo>
                    <a:lnTo>
                      <a:pt x="0" y="227"/>
                    </a:lnTo>
                    <a:lnTo>
                      <a:pt x="0" y="223"/>
                    </a:lnTo>
                    <a:lnTo>
                      <a:pt x="6" y="218"/>
                    </a:lnTo>
                    <a:lnTo>
                      <a:pt x="20" y="209"/>
                    </a:lnTo>
                    <a:lnTo>
                      <a:pt x="36" y="201"/>
                    </a:lnTo>
                    <a:lnTo>
                      <a:pt x="55" y="191"/>
                    </a:lnTo>
                    <a:lnTo>
                      <a:pt x="74" y="181"/>
                    </a:lnTo>
                    <a:lnTo>
                      <a:pt x="90" y="174"/>
                    </a:lnTo>
                    <a:lnTo>
                      <a:pt x="103" y="169"/>
                    </a:lnTo>
                    <a:lnTo>
                      <a:pt x="110" y="168"/>
                    </a:lnTo>
                    <a:lnTo>
                      <a:pt x="120" y="168"/>
                    </a:lnTo>
                    <a:lnTo>
                      <a:pt x="129" y="167"/>
                    </a:lnTo>
                    <a:lnTo>
                      <a:pt x="137" y="163"/>
                    </a:lnTo>
                    <a:lnTo>
                      <a:pt x="147" y="159"/>
                    </a:lnTo>
                    <a:lnTo>
                      <a:pt x="164" y="149"/>
                    </a:lnTo>
                    <a:lnTo>
                      <a:pt x="180" y="137"/>
                    </a:lnTo>
                    <a:lnTo>
                      <a:pt x="195" y="125"/>
                    </a:lnTo>
                    <a:lnTo>
                      <a:pt x="208" y="116"/>
                    </a:lnTo>
                    <a:lnTo>
                      <a:pt x="214" y="113"/>
                    </a:lnTo>
                    <a:lnTo>
                      <a:pt x="221" y="111"/>
                    </a:lnTo>
                    <a:lnTo>
                      <a:pt x="225" y="110"/>
                    </a:lnTo>
                    <a:lnTo>
                      <a:pt x="229" y="113"/>
                    </a:lnTo>
                    <a:lnTo>
                      <a:pt x="243" y="108"/>
                    </a:lnTo>
                    <a:lnTo>
                      <a:pt x="255" y="103"/>
                    </a:lnTo>
                    <a:lnTo>
                      <a:pt x="267" y="97"/>
                    </a:lnTo>
                    <a:lnTo>
                      <a:pt x="279" y="91"/>
                    </a:lnTo>
                    <a:lnTo>
                      <a:pt x="303" y="78"/>
                    </a:lnTo>
                    <a:lnTo>
                      <a:pt x="325" y="65"/>
                    </a:lnTo>
                    <a:lnTo>
                      <a:pt x="349" y="53"/>
                    </a:lnTo>
                    <a:lnTo>
                      <a:pt x="372" y="42"/>
                    </a:lnTo>
                    <a:lnTo>
                      <a:pt x="385" y="38"/>
                    </a:lnTo>
                    <a:lnTo>
                      <a:pt x="398" y="34"/>
                    </a:lnTo>
                    <a:lnTo>
                      <a:pt x="411" y="33"/>
                    </a:lnTo>
                    <a:lnTo>
                      <a:pt x="425" y="32"/>
                    </a:lnTo>
                    <a:lnTo>
                      <a:pt x="446" y="31"/>
                    </a:lnTo>
                    <a:lnTo>
                      <a:pt x="467" y="28"/>
                    </a:lnTo>
                    <a:lnTo>
                      <a:pt x="487" y="23"/>
                    </a:lnTo>
                    <a:lnTo>
                      <a:pt x="507" y="18"/>
                    </a:lnTo>
                    <a:lnTo>
                      <a:pt x="527" y="12"/>
                    </a:lnTo>
                    <a:lnTo>
                      <a:pt x="545" y="7"/>
                    </a:lnTo>
                    <a:lnTo>
                      <a:pt x="562" y="4"/>
                    </a:lnTo>
                    <a:lnTo>
                      <a:pt x="578" y="1"/>
                    </a:lnTo>
                    <a:lnTo>
                      <a:pt x="585" y="0"/>
                    </a:lnTo>
                    <a:lnTo>
                      <a:pt x="591" y="0"/>
                    </a:lnTo>
                    <a:lnTo>
                      <a:pt x="598" y="1"/>
                    </a:lnTo>
                    <a:lnTo>
                      <a:pt x="604" y="2"/>
                    </a:lnTo>
                    <a:lnTo>
                      <a:pt x="609" y="5"/>
                    </a:lnTo>
                    <a:lnTo>
                      <a:pt x="613" y="9"/>
                    </a:lnTo>
                    <a:lnTo>
                      <a:pt x="617" y="12"/>
                    </a:lnTo>
                    <a:lnTo>
                      <a:pt x="621" y="17"/>
                    </a:lnTo>
                    <a:lnTo>
                      <a:pt x="623" y="23"/>
                    </a:lnTo>
                    <a:lnTo>
                      <a:pt x="626" y="31"/>
                    </a:lnTo>
                    <a:lnTo>
                      <a:pt x="627" y="39"/>
                    </a:lnTo>
                    <a:lnTo>
                      <a:pt x="627" y="49"/>
                    </a:lnTo>
                    <a:lnTo>
                      <a:pt x="627" y="61"/>
                    </a:lnTo>
                    <a:lnTo>
                      <a:pt x="626" y="73"/>
                    </a:lnTo>
                    <a:lnTo>
                      <a:pt x="624" y="88"/>
                    </a:lnTo>
                    <a:lnTo>
                      <a:pt x="621" y="104"/>
                    </a:lnTo>
                    <a:lnTo>
                      <a:pt x="617" y="122"/>
                    </a:lnTo>
                    <a:lnTo>
                      <a:pt x="612" y="138"/>
                    </a:lnTo>
                    <a:lnTo>
                      <a:pt x="609" y="145"/>
                    </a:lnTo>
                    <a:lnTo>
                      <a:pt x="605" y="149"/>
                    </a:lnTo>
                    <a:lnTo>
                      <a:pt x="601" y="153"/>
                    </a:lnTo>
                    <a:lnTo>
                      <a:pt x="596" y="157"/>
                    </a:lnTo>
                    <a:lnTo>
                      <a:pt x="591" y="158"/>
                    </a:lnTo>
                    <a:lnTo>
                      <a:pt x="585" y="159"/>
                    </a:lnTo>
                    <a:lnTo>
                      <a:pt x="579" y="159"/>
                    </a:lnTo>
                    <a:lnTo>
                      <a:pt x="572" y="159"/>
                    </a:lnTo>
                    <a:lnTo>
                      <a:pt x="553" y="154"/>
                    </a:lnTo>
                    <a:lnTo>
                      <a:pt x="531" y="146"/>
                    </a:lnTo>
                    <a:lnTo>
                      <a:pt x="517" y="142"/>
                    </a:lnTo>
                    <a:lnTo>
                      <a:pt x="497" y="140"/>
                    </a:lnTo>
                    <a:lnTo>
                      <a:pt x="475" y="140"/>
                    </a:lnTo>
                    <a:lnTo>
                      <a:pt x="454" y="141"/>
                    </a:lnTo>
                    <a:lnTo>
                      <a:pt x="445" y="142"/>
                    </a:lnTo>
                    <a:lnTo>
                      <a:pt x="436" y="145"/>
                    </a:lnTo>
                    <a:lnTo>
                      <a:pt x="430" y="148"/>
                    </a:lnTo>
                    <a:lnTo>
                      <a:pt x="425" y="152"/>
                    </a:lnTo>
                    <a:lnTo>
                      <a:pt x="424" y="154"/>
                    </a:lnTo>
                    <a:lnTo>
                      <a:pt x="424" y="156"/>
                    </a:lnTo>
                    <a:lnTo>
                      <a:pt x="424" y="159"/>
                    </a:lnTo>
                    <a:lnTo>
                      <a:pt x="424" y="162"/>
                    </a:lnTo>
                    <a:lnTo>
                      <a:pt x="427" y="168"/>
                    </a:lnTo>
                    <a:lnTo>
                      <a:pt x="436" y="175"/>
                    </a:lnTo>
                    <a:lnTo>
                      <a:pt x="445" y="184"/>
                    </a:lnTo>
                    <a:lnTo>
                      <a:pt x="451" y="192"/>
                    </a:lnTo>
                    <a:lnTo>
                      <a:pt x="458" y="202"/>
                    </a:lnTo>
                    <a:lnTo>
                      <a:pt x="463" y="211"/>
                    </a:lnTo>
                    <a:lnTo>
                      <a:pt x="470" y="219"/>
                    </a:lnTo>
                    <a:lnTo>
                      <a:pt x="478" y="228"/>
                    </a:lnTo>
                    <a:lnTo>
                      <a:pt x="481" y="231"/>
                    </a:lnTo>
                    <a:lnTo>
                      <a:pt x="486" y="234"/>
                    </a:lnTo>
                    <a:lnTo>
                      <a:pt x="491" y="238"/>
                    </a:lnTo>
                    <a:lnTo>
                      <a:pt x="497" y="239"/>
                    </a:lnTo>
                    <a:lnTo>
                      <a:pt x="512" y="246"/>
                    </a:lnTo>
                    <a:lnTo>
                      <a:pt x="529" y="256"/>
                    </a:lnTo>
                    <a:lnTo>
                      <a:pt x="538" y="262"/>
                    </a:lnTo>
                    <a:lnTo>
                      <a:pt x="546" y="269"/>
                    </a:lnTo>
                    <a:lnTo>
                      <a:pt x="555" y="277"/>
                    </a:lnTo>
                    <a:lnTo>
                      <a:pt x="562" y="284"/>
                    </a:lnTo>
                    <a:lnTo>
                      <a:pt x="568" y="293"/>
                    </a:lnTo>
                    <a:lnTo>
                      <a:pt x="573" y="301"/>
                    </a:lnTo>
                    <a:lnTo>
                      <a:pt x="577" y="310"/>
                    </a:lnTo>
                    <a:lnTo>
                      <a:pt x="579" y="318"/>
                    </a:lnTo>
                    <a:lnTo>
                      <a:pt x="579" y="327"/>
                    </a:lnTo>
                    <a:lnTo>
                      <a:pt x="577" y="336"/>
                    </a:lnTo>
                    <a:lnTo>
                      <a:pt x="572" y="344"/>
                    </a:lnTo>
                    <a:lnTo>
                      <a:pt x="566" y="351"/>
                    </a:lnTo>
                    <a:lnTo>
                      <a:pt x="562" y="354"/>
                    </a:lnTo>
                    <a:lnTo>
                      <a:pt x="556" y="355"/>
                    </a:lnTo>
                    <a:lnTo>
                      <a:pt x="549" y="356"/>
                    </a:lnTo>
                    <a:lnTo>
                      <a:pt x="539" y="356"/>
                    </a:lnTo>
                    <a:lnTo>
                      <a:pt x="518" y="356"/>
                    </a:lnTo>
                    <a:lnTo>
                      <a:pt x="494" y="354"/>
                    </a:lnTo>
                    <a:lnTo>
                      <a:pt x="446" y="349"/>
                    </a:lnTo>
                    <a:lnTo>
                      <a:pt x="411" y="347"/>
                    </a:lnTo>
                    <a:lnTo>
                      <a:pt x="403" y="345"/>
                    </a:lnTo>
                    <a:lnTo>
                      <a:pt x="396" y="344"/>
                    </a:lnTo>
                    <a:lnTo>
                      <a:pt x="389" y="342"/>
                    </a:lnTo>
                    <a:lnTo>
                      <a:pt x="382" y="338"/>
                    </a:lnTo>
                    <a:lnTo>
                      <a:pt x="377" y="333"/>
                    </a:lnTo>
                    <a:lnTo>
                      <a:pt x="371" y="328"/>
                    </a:lnTo>
                    <a:lnTo>
                      <a:pt x="366" y="322"/>
                    </a:lnTo>
                    <a:lnTo>
                      <a:pt x="361" y="316"/>
                    </a:lnTo>
                    <a:lnTo>
                      <a:pt x="353" y="301"/>
                    </a:lnTo>
                    <a:lnTo>
                      <a:pt x="345" y="285"/>
                    </a:lnTo>
                    <a:lnTo>
                      <a:pt x="338" y="268"/>
                    </a:lnTo>
                    <a:lnTo>
                      <a:pt x="332" y="252"/>
                    </a:lnTo>
                    <a:lnTo>
                      <a:pt x="325" y="235"/>
                    </a:lnTo>
                    <a:lnTo>
                      <a:pt x="318" y="220"/>
                    </a:lnTo>
                    <a:lnTo>
                      <a:pt x="311" y="207"/>
                    </a:lnTo>
                    <a:lnTo>
                      <a:pt x="303" y="196"/>
                    </a:lnTo>
                    <a:lnTo>
                      <a:pt x="298" y="191"/>
                    </a:lnTo>
                    <a:lnTo>
                      <a:pt x="293" y="187"/>
                    </a:lnTo>
                    <a:lnTo>
                      <a:pt x="287" y="185"/>
                    </a:lnTo>
                    <a:lnTo>
                      <a:pt x="282" y="184"/>
                    </a:lnTo>
                    <a:lnTo>
                      <a:pt x="276" y="182"/>
                    </a:lnTo>
                    <a:lnTo>
                      <a:pt x="268" y="184"/>
                    </a:lnTo>
                    <a:lnTo>
                      <a:pt x="261" y="185"/>
                    </a:lnTo>
                    <a:lnTo>
                      <a:pt x="254" y="189"/>
                    </a:lnTo>
                    <a:lnTo>
                      <a:pt x="232" y="202"/>
                    </a:lnTo>
                    <a:lnTo>
                      <a:pt x="213" y="216"/>
                    </a:lnTo>
                    <a:lnTo>
                      <a:pt x="203" y="223"/>
                    </a:lnTo>
                    <a:lnTo>
                      <a:pt x="192" y="228"/>
                    </a:lnTo>
                    <a:lnTo>
                      <a:pt x="181" y="233"/>
                    </a:lnTo>
                    <a:lnTo>
                      <a:pt x="168" y="236"/>
                    </a:lnTo>
                    <a:lnTo>
                      <a:pt x="134" y="240"/>
                    </a:lnTo>
                    <a:lnTo>
                      <a:pt x="96" y="244"/>
                    </a:lnTo>
                    <a:lnTo>
                      <a:pt x="76" y="246"/>
                    </a:lnTo>
                    <a:lnTo>
                      <a:pt x="58" y="249"/>
                    </a:lnTo>
                    <a:lnTo>
                      <a:pt x="41" y="252"/>
                    </a:lnTo>
                    <a:lnTo>
                      <a:pt x="26" y="257"/>
                    </a:lnTo>
                    <a:lnTo>
                      <a:pt x="17" y="25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7" name="Freeform 38"/>
              <p:cNvSpPr>
                <a:spLocks/>
              </p:cNvSpPr>
              <p:nvPr/>
            </p:nvSpPr>
            <p:spPr bwMode="auto">
              <a:xfrm>
                <a:off x="3111500" y="7301893"/>
                <a:ext cx="207963" cy="306388"/>
              </a:xfrm>
              <a:custGeom>
                <a:avLst/>
                <a:gdLst>
                  <a:gd name="T0" fmla="*/ 246 w 524"/>
                  <a:gd name="T1" fmla="*/ 501 h 769"/>
                  <a:gd name="T2" fmla="*/ 219 w 524"/>
                  <a:gd name="T3" fmla="*/ 477 h 769"/>
                  <a:gd name="T4" fmla="*/ 212 w 524"/>
                  <a:gd name="T5" fmla="*/ 448 h 769"/>
                  <a:gd name="T6" fmla="*/ 227 w 524"/>
                  <a:gd name="T7" fmla="*/ 409 h 769"/>
                  <a:gd name="T8" fmla="*/ 246 w 524"/>
                  <a:gd name="T9" fmla="*/ 368 h 769"/>
                  <a:gd name="T10" fmla="*/ 238 w 524"/>
                  <a:gd name="T11" fmla="*/ 347 h 769"/>
                  <a:gd name="T12" fmla="*/ 224 w 524"/>
                  <a:gd name="T13" fmla="*/ 324 h 769"/>
                  <a:gd name="T14" fmla="*/ 233 w 524"/>
                  <a:gd name="T15" fmla="*/ 304 h 769"/>
                  <a:gd name="T16" fmla="*/ 269 w 524"/>
                  <a:gd name="T17" fmla="*/ 277 h 769"/>
                  <a:gd name="T18" fmla="*/ 310 w 524"/>
                  <a:gd name="T19" fmla="*/ 261 h 769"/>
                  <a:gd name="T20" fmla="*/ 327 w 524"/>
                  <a:gd name="T21" fmla="*/ 245 h 769"/>
                  <a:gd name="T22" fmla="*/ 325 w 524"/>
                  <a:gd name="T23" fmla="*/ 224 h 769"/>
                  <a:gd name="T24" fmla="*/ 300 w 524"/>
                  <a:gd name="T25" fmla="*/ 195 h 769"/>
                  <a:gd name="T26" fmla="*/ 238 w 524"/>
                  <a:gd name="T27" fmla="*/ 151 h 769"/>
                  <a:gd name="T28" fmla="*/ 180 w 524"/>
                  <a:gd name="T29" fmla="*/ 129 h 769"/>
                  <a:gd name="T30" fmla="*/ 146 w 524"/>
                  <a:gd name="T31" fmla="*/ 130 h 769"/>
                  <a:gd name="T32" fmla="*/ 124 w 524"/>
                  <a:gd name="T33" fmla="*/ 119 h 769"/>
                  <a:gd name="T34" fmla="*/ 109 w 524"/>
                  <a:gd name="T35" fmla="*/ 79 h 769"/>
                  <a:gd name="T36" fmla="*/ 104 w 524"/>
                  <a:gd name="T37" fmla="*/ 26 h 769"/>
                  <a:gd name="T38" fmla="*/ 93 w 524"/>
                  <a:gd name="T39" fmla="*/ 4 h 769"/>
                  <a:gd name="T40" fmla="*/ 75 w 524"/>
                  <a:gd name="T41" fmla="*/ 2 h 769"/>
                  <a:gd name="T42" fmla="*/ 52 w 524"/>
                  <a:gd name="T43" fmla="*/ 14 h 769"/>
                  <a:gd name="T44" fmla="*/ 47 w 524"/>
                  <a:gd name="T45" fmla="*/ 36 h 769"/>
                  <a:gd name="T46" fmla="*/ 61 w 524"/>
                  <a:gd name="T47" fmla="*/ 77 h 769"/>
                  <a:gd name="T48" fmla="*/ 71 w 524"/>
                  <a:gd name="T49" fmla="*/ 106 h 769"/>
                  <a:gd name="T50" fmla="*/ 68 w 524"/>
                  <a:gd name="T51" fmla="*/ 152 h 769"/>
                  <a:gd name="T52" fmla="*/ 63 w 524"/>
                  <a:gd name="T53" fmla="*/ 202 h 769"/>
                  <a:gd name="T54" fmla="*/ 42 w 524"/>
                  <a:gd name="T55" fmla="*/ 249 h 769"/>
                  <a:gd name="T56" fmla="*/ 3 w 524"/>
                  <a:gd name="T57" fmla="*/ 303 h 769"/>
                  <a:gd name="T58" fmla="*/ 3 w 524"/>
                  <a:gd name="T59" fmla="*/ 326 h 769"/>
                  <a:gd name="T60" fmla="*/ 21 w 524"/>
                  <a:gd name="T61" fmla="*/ 341 h 769"/>
                  <a:gd name="T62" fmla="*/ 59 w 524"/>
                  <a:gd name="T63" fmla="*/ 353 h 769"/>
                  <a:gd name="T64" fmla="*/ 75 w 524"/>
                  <a:gd name="T65" fmla="*/ 379 h 769"/>
                  <a:gd name="T66" fmla="*/ 82 w 524"/>
                  <a:gd name="T67" fmla="*/ 408 h 769"/>
                  <a:gd name="T68" fmla="*/ 134 w 524"/>
                  <a:gd name="T69" fmla="*/ 440 h 769"/>
                  <a:gd name="T70" fmla="*/ 151 w 524"/>
                  <a:gd name="T71" fmla="*/ 462 h 769"/>
                  <a:gd name="T72" fmla="*/ 156 w 524"/>
                  <a:gd name="T73" fmla="*/ 529 h 769"/>
                  <a:gd name="T74" fmla="*/ 174 w 524"/>
                  <a:gd name="T75" fmla="*/ 616 h 769"/>
                  <a:gd name="T76" fmla="*/ 201 w 524"/>
                  <a:gd name="T77" fmla="*/ 680 h 769"/>
                  <a:gd name="T78" fmla="*/ 222 w 524"/>
                  <a:gd name="T79" fmla="*/ 699 h 769"/>
                  <a:gd name="T80" fmla="*/ 240 w 524"/>
                  <a:gd name="T81" fmla="*/ 695 h 769"/>
                  <a:gd name="T82" fmla="*/ 278 w 524"/>
                  <a:gd name="T83" fmla="*/ 663 h 769"/>
                  <a:gd name="T84" fmla="*/ 315 w 524"/>
                  <a:gd name="T85" fmla="*/ 652 h 769"/>
                  <a:gd name="T86" fmla="*/ 349 w 524"/>
                  <a:gd name="T87" fmla="*/ 665 h 769"/>
                  <a:gd name="T88" fmla="*/ 403 w 524"/>
                  <a:gd name="T89" fmla="*/ 715 h 769"/>
                  <a:gd name="T90" fmla="*/ 453 w 524"/>
                  <a:gd name="T91" fmla="*/ 757 h 769"/>
                  <a:gd name="T92" fmla="*/ 482 w 524"/>
                  <a:gd name="T93" fmla="*/ 769 h 769"/>
                  <a:gd name="T94" fmla="*/ 507 w 524"/>
                  <a:gd name="T95" fmla="*/ 753 h 769"/>
                  <a:gd name="T96" fmla="*/ 522 w 524"/>
                  <a:gd name="T97" fmla="*/ 704 h 769"/>
                  <a:gd name="T98" fmla="*/ 523 w 524"/>
                  <a:gd name="T99" fmla="*/ 630 h 769"/>
                  <a:gd name="T100" fmla="*/ 506 w 524"/>
                  <a:gd name="T101" fmla="*/ 546 h 769"/>
                  <a:gd name="T102" fmla="*/ 490 w 524"/>
                  <a:gd name="T103" fmla="*/ 530 h 769"/>
                  <a:gd name="T104" fmla="*/ 453 w 524"/>
                  <a:gd name="T105" fmla="*/ 528 h 769"/>
                  <a:gd name="T106" fmla="*/ 399 w 524"/>
                  <a:gd name="T107" fmla="*/ 538 h 769"/>
                  <a:gd name="T108" fmla="*/ 287 w 524"/>
                  <a:gd name="T109" fmla="*/ 522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24" h="769">
                    <a:moveTo>
                      <a:pt x="287" y="522"/>
                    </a:moveTo>
                    <a:lnTo>
                      <a:pt x="273" y="516"/>
                    </a:lnTo>
                    <a:lnTo>
                      <a:pt x="260" y="510"/>
                    </a:lnTo>
                    <a:lnTo>
                      <a:pt x="246" y="501"/>
                    </a:lnTo>
                    <a:lnTo>
                      <a:pt x="234" y="493"/>
                    </a:lnTo>
                    <a:lnTo>
                      <a:pt x="229" y="488"/>
                    </a:lnTo>
                    <a:lnTo>
                      <a:pt x="224" y="483"/>
                    </a:lnTo>
                    <a:lnTo>
                      <a:pt x="219" y="477"/>
                    </a:lnTo>
                    <a:lnTo>
                      <a:pt x="217" y="470"/>
                    </a:lnTo>
                    <a:lnTo>
                      <a:pt x="213" y="463"/>
                    </a:lnTo>
                    <a:lnTo>
                      <a:pt x="212" y="457"/>
                    </a:lnTo>
                    <a:lnTo>
                      <a:pt x="212" y="448"/>
                    </a:lnTo>
                    <a:lnTo>
                      <a:pt x="212" y="441"/>
                    </a:lnTo>
                    <a:lnTo>
                      <a:pt x="214" y="431"/>
                    </a:lnTo>
                    <a:lnTo>
                      <a:pt x="219" y="422"/>
                    </a:lnTo>
                    <a:lnTo>
                      <a:pt x="227" y="409"/>
                    </a:lnTo>
                    <a:lnTo>
                      <a:pt x="233" y="396"/>
                    </a:lnTo>
                    <a:lnTo>
                      <a:pt x="240" y="384"/>
                    </a:lnTo>
                    <a:lnTo>
                      <a:pt x="245" y="373"/>
                    </a:lnTo>
                    <a:lnTo>
                      <a:pt x="246" y="368"/>
                    </a:lnTo>
                    <a:lnTo>
                      <a:pt x="246" y="364"/>
                    </a:lnTo>
                    <a:lnTo>
                      <a:pt x="246" y="359"/>
                    </a:lnTo>
                    <a:lnTo>
                      <a:pt x="245" y="357"/>
                    </a:lnTo>
                    <a:lnTo>
                      <a:pt x="238" y="347"/>
                    </a:lnTo>
                    <a:lnTo>
                      <a:pt x="230" y="338"/>
                    </a:lnTo>
                    <a:lnTo>
                      <a:pt x="227" y="333"/>
                    </a:lnTo>
                    <a:lnTo>
                      <a:pt x="225" y="328"/>
                    </a:lnTo>
                    <a:lnTo>
                      <a:pt x="224" y="324"/>
                    </a:lnTo>
                    <a:lnTo>
                      <a:pt x="225" y="317"/>
                    </a:lnTo>
                    <a:lnTo>
                      <a:pt x="227" y="313"/>
                    </a:lnTo>
                    <a:lnTo>
                      <a:pt x="230" y="308"/>
                    </a:lnTo>
                    <a:lnTo>
                      <a:pt x="233" y="304"/>
                    </a:lnTo>
                    <a:lnTo>
                      <a:pt x="238" y="299"/>
                    </a:lnTo>
                    <a:lnTo>
                      <a:pt x="247" y="292"/>
                    </a:lnTo>
                    <a:lnTo>
                      <a:pt x="258" y="284"/>
                    </a:lnTo>
                    <a:lnTo>
                      <a:pt x="269" y="277"/>
                    </a:lnTo>
                    <a:lnTo>
                      <a:pt x="282" y="272"/>
                    </a:lnTo>
                    <a:lnTo>
                      <a:pt x="293" y="267"/>
                    </a:lnTo>
                    <a:lnTo>
                      <a:pt x="303" y="264"/>
                    </a:lnTo>
                    <a:lnTo>
                      <a:pt x="310" y="261"/>
                    </a:lnTo>
                    <a:lnTo>
                      <a:pt x="317" y="257"/>
                    </a:lnTo>
                    <a:lnTo>
                      <a:pt x="322" y="254"/>
                    </a:lnTo>
                    <a:lnTo>
                      <a:pt x="325" y="250"/>
                    </a:lnTo>
                    <a:lnTo>
                      <a:pt x="327" y="245"/>
                    </a:lnTo>
                    <a:lnTo>
                      <a:pt x="328" y="240"/>
                    </a:lnTo>
                    <a:lnTo>
                      <a:pt x="328" y="235"/>
                    </a:lnTo>
                    <a:lnTo>
                      <a:pt x="327" y="229"/>
                    </a:lnTo>
                    <a:lnTo>
                      <a:pt x="325" y="224"/>
                    </a:lnTo>
                    <a:lnTo>
                      <a:pt x="321" y="218"/>
                    </a:lnTo>
                    <a:lnTo>
                      <a:pt x="317" y="212"/>
                    </a:lnTo>
                    <a:lnTo>
                      <a:pt x="312" y="206"/>
                    </a:lnTo>
                    <a:lnTo>
                      <a:pt x="300" y="195"/>
                    </a:lnTo>
                    <a:lnTo>
                      <a:pt x="287" y="183"/>
                    </a:lnTo>
                    <a:lnTo>
                      <a:pt x="271" y="172"/>
                    </a:lnTo>
                    <a:lnTo>
                      <a:pt x="255" y="161"/>
                    </a:lnTo>
                    <a:lnTo>
                      <a:pt x="238" y="151"/>
                    </a:lnTo>
                    <a:lnTo>
                      <a:pt x="222" y="142"/>
                    </a:lnTo>
                    <a:lnTo>
                      <a:pt x="206" y="136"/>
                    </a:lnTo>
                    <a:lnTo>
                      <a:pt x="191" y="131"/>
                    </a:lnTo>
                    <a:lnTo>
                      <a:pt x="180" y="129"/>
                    </a:lnTo>
                    <a:lnTo>
                      <a:pt x="170" y="129"/>
                    </a:lnTo>
                    <a:lnTo>
                      <a:pt x="161" y="131"/>
                    </a:lnTo>
                    <a:lnTo>
                      <a:pt x="153" y="131"/>
                    </a:lnTo>
                    <a:lnTo>
                      <a:pt x="146" y="130"/>
                    </a:lnTo>
                    <a:lnTo>
                      <a:pt x="138" y="129"/>
                    </a:lnTo>
                    <a:lnTo>
                      <a:pt x="134" y="126"/>
                    </a:lnTo>
                    <a:lnTo>
                      <a:pt x="129" y="123"/>
                    </a:lnTo>
                    <a:lnTo>
                      <a:pt x="124" y="119"/>
                    </a:lnTo>
                    <a:lnTo>
                      <a:pt x="120" y="115"/>
                    </a:lnTo>
                    <a:lnTo>
                      <a:pt x="115" y="104"/>
                    </a:lnTo>
                    <a:lnTo>
                      <a:pt x="112" y="92"/>
                    </a:lnTo>
                    <a:lnTo>
                      <a:pt x="109" y="79"/>
                    </a:lnTo>
                    <a:lnTo>
                      <a:pt x="108" y="65"/>
                    </a:lnTo>
                    <a:lnTo>
                      <a:pt x="107" y="51"/>
                    </a:lnTo>
                    <a:lnTo>
                      <a:pt x="105" y="38"/>
                    </a:lnTo>
                    <a:lnTo>
                      <a:pt x="104" y="26"/>
                    </a:lnTo>
                    <a:lnTo>
                      <a:pt x="101" y="15"/>
                    </a:lnTo>
                    <a:lnTo>
                      <a:pt x="99" y="11"/>
                    </a:lnTo>
                    <a:lnTo>
                      <a:pt x="96" y="8"/>
                    </a:lnTo>
                    <a:lnTo>
                      <a:pt x="93" y="4"/>
                    </a:lnTo>
                    <a:lnTo>
                      <a:pt x="90" y="3"/>
                    </a:lnTo>
                    <a:lnTo>
                      <a:pt x="86" y="2"/>
                    </a:lnTo>
                    <a:lnTo>
                      <a:pt x="81" y="0"/>
                    </a:lnTo>
                    <a:lnTo>
                      <a:pt x="75" y="2"/>
                    </a:lnTo>
                    <a:lnTo>
                      <a:pt x="69" y="3"/>
                    </a:lnTo>
                    <a:lnTo>
                      <a:pt x="61" y="6"/>
                    </a:lnTo>
                    <a:lnTo>
                      <a:pt x="55" y="10"/>
                    </a:lnTo>
                    <a:lnTo>
                      <a:pt x="52" y="14"/>
                    </a:lnTo>
                    <a:lnTo>
                      <a:pt x="49" y="19"/>
                    </a:lnTo>
                    <a:lnTo>
                      <a:pt x="47" y="25"/>
                    </a:lnTo>
                    <a:lnTo>
                      <a:pt x="47" y="30"/>
                    </a:lnTo>
                    <a:lnTo>
                      <a:pt x="47" y="36"/>
                    </a:lnTo>
                    <a:lnTo>
                      <a:pt x="48" y="42"/>
                    </a:lnTo>
                    <a:lnTo>
                      <a:pt x="52" y="54"/>
                    </a:lnTo>
                    <a:lnTo>
                      <a:pt x="56" y="66"/>
                    </a:lnTo>
                    <a:lnTo>
                      <a:pt x="61" y="77"/>
                    </a:lnTo>
                    <a:lnTo>
                      <a:pt x="66" y="86"/>
                    </a:lnTo>
                    <a:lnTo>
                      <a:pt x="69" y="92"/>
                    </a:lnTo>
                    <a:lnTo>
                      <a:pt x="70" y="98"/>
                    </a:lnTo>
                    <a:lnTo>
                      <a:pt x="71" y="106"/>
                    </a:lnTo>
                    <a:lnTo>
                      <a:pt x="72" y="112"/>
                    </a:lnTo>
                    <a:lnTo>
                      <a:pt x="71" y="125"/>
                    </a:lnTo>
                    <a:lnTo>
                      <a:pt x="70" y="139"/>
                    </a:lnTo>
                    <a:lnTo>
                      <a:pt x="68" y="152"/>
                    </a:lnTo>
                    <a:lnTo>
                      <a:pt x="65" y="166"/>
                    </a:lnTo>
                    <a:lnTo>
                      <a:pt x="64" y="179"/>
                    </a:lnTo>
                    <a:lnTo>
                      <a:pt x="63" y="193"/>
                    </a:lnTo>
                    <a:lnTo>
                      <a:pt x="63" y="202"/>
                    </a:lnTo>
                    <a:lnTo>
                      <a:pt x="61" y="212"/>
                    </a:lnTo>
                    <a:lnTo>
                      <a:pt x="58" y="222"/>
                    </a:lnTo>
                    <a:lnTo>
                      <a:pt x="53" y="232"/>
                    </a:lnTo>
                    <a:lnTo>
                      <a:pt x="42" y="249"/>
                    </a:lnTo>
                    <a:lnTo>
                      <a:pt x="30" y="266"/>
                    </a:lnTo>
                    <a:lnTo>
                      <a:pt x="17" y="282"/>
                    </a:lnTo>
                    <a:lnTo>
                      <a:pt x="6" y="295"/>
                    </a:lnTo>
                    <a:lnTo>
                      <a:pt x="3" y="303"/>
                    </a:lnTo>
                    <a:lnTo>
                      <a:pt x="0" y="309"/>
                    </a:lnTo>
                    <a:lnTo>
                      <a:pt x="0" y="315"/>
                    </a:lnTo>
                    <a:lnTo>
                      <a:pt x="0" y="321"/>
                    </a:lnTo>
                    <a:lnTo>
                      <a:pt x="3" y="326"/>
                    </a:lnTo>
                    <a:lnTo>
                      <a:pt x="5" y="330"/>
                    </a:lnTo>
                    <a:lnTo>
                      <a:pt x="9" y="333"/>
                    </a:lnTo>
                    <a:lnTo>
                      <a:pt x="12" y="336"/>
                    </a:lnTo>
                    <a:lnTo>
                      <a:pt x="21" y="341"/>
                    </a:lnTo>
                    <a:lnTo>
                      <a:pt x="31" y="343"/>
                    </a:lnTo>
                    <a:lnTo>
                      <a:pt x="41" y="346"/>
                    </a:lnTo>
                    <a:lnTo>
                      <a:pt x="50" y="349"/>
                    </a:lnTo>
                    <a:lnTo>
                      <a:pt x="59" y="353"/>
                    </a:lnTo>
                    <a:lnTo>
                      <a:pt x="66" y="358"/>
                    </a:lnTo>
                    <a:lnTo>
                      <a:pt x="70" y="364"/>
                    </a:lnTo>
                    <a:lnTo>
                      <a:pt x="72" y="371"/>
                    </a:lnTo>
                    <a:lnTo>
                      <a:pt x="75" y="379"/>
                    </a:lnTo>
                    <a:lnTo>
                      <a:pt x="76" y="386"/>
                    </a:lnTo>
                    <a:lnTo>
                      <a:pt x="77" y="393"/>
                    </a:lnTo>
                    <a:lnTo>
                      <a:pt x="79" y="401"/>
                    </a:lnTo>
                    <a:lnTo>
                      <a:pt x="82" y="408"/>
                    </a:lnTo>
                    <a:lnTo>
                      <a:pt x="87" y="415"/>
                    </a:lnTo>
                    <a:lnTo>
                      <a:pt x="105" y="425"/>
                    </a:lnTo>
                    <a:lnTo>
                      <a:pt x="121" y="433"/>
                    </a:lnTo>
                    <a:lnTo>
                      <a:pt x="134" y="440"/>
                    </a:lnTo>
                    <a:lnTo>
                      <a:pt x="142" y="447"/>
                    </a:lnTo>
                    <a:lnTo>
                      <a:pt x="146" y="451"/>
                    </a:lnTo>
                    <a:lnTo>
                      <a:pt x="148" y="456"/>
                    </a:lnTo>
                    <a:lnTo>
                      <a:pt x="151" y="462"/>
                    </a:lnTo>
                    <a:lnTo>
                      <a:pt x="152" y="469"/>
                    </a:lnTo>
                    <a:lnTo>
                      <a:pt x="154" y="485"/>
                    </a:lnTo>
                    <a:lnTo>
                      <a:pt x="153" y="508"/>
                    </a:lnTo>
                    <a:lnTo>
                      <a:pt x="156" y="529"/>
                    </a:lnTo>
                    <a:lnTo>
                      <a:pt x="161" y="561"/>
                    </a:lnTo>
                    <a:lnTo>
                      <a:pt x="164" y="578"/>
                    </a:lnTo>
                    <a:lnTo>
                      <a:pt x="168" y="598"/>
                    </a:lnTo>
                    <a:lnTo>
                      <a:pt x="174" y="616"/>
                    </a:lnTo>
                    <a:lnTo>
                      <a:pt x="180" y="635"/>
                    </a:lnTo>
                    <a:lnTo>
                      <a:pt x="186" y="652"/>
                    </a:lnTo>
                    <a:lnTo>
                      <a:pt x="194" y="668"/>
                    </a:lnTo>
                    <a:lnTo>
                      <a:pt x="201" y="680"/>
                    </a:lnTo>
                    <a:lnTo>
                      <a:pt x="209" y="691"/>
                    </a:lnTo>
                    <a:lnTo>
                      <a:pt x="213" y="695"/>
                    </a:lnTo>
                    <a:lnTo>
                      <a:pt x="217" y="697"/>
                    </a:lnTo>
                    <a:lnTo>
                      <a:pt x="222" y="699"/>
                    </a:lnTo>
                    <a:lnTo>
                      <a:pt x="227" y="699"/>
                    </a:lnTo>
                    <a:lnTo>
                      <a:pt x="232" y="699"/>
                    </a:lnTo>
                    <a:lnTo>
                      <a:pt x="235" y="698"/>
                    </a:lnTo>
                    <a:lnTo>
                      <a:pt x="240" y="695"/>
                    </a:lnTo>
                    <a:lnTo>
                      <a:pt x="245" y="691"/>
                    </a:lnTo>
                    <a:lnTo>
                      <a:pt x="257" y="679"/>
                    </a:lnTo>
                    <a:lnTo>
                      <a:pt x="267" y="670"/>
                    </a:lnTo>
                    <a:lnTo>
                      <a:pt x="278" y="663"/>
                    </a:lnTo>
                    <a:lnTo>
                      <a:pt x="288" y="657"/>
                    </a:lnTo>
                    <a:lnTo>
                      <a:pt x="298" y="653"/>
                    </a:lnTo>
                    <a:lnTo>
                      <a:pt x="306" y="652"/>
                    </a:lnTo>
                    <a:lnTo>
                      <a:pt x="315" y="652"/>
                    </a:lnTo>
                    <a:lnTo>
                      <a:pt x="323" y="653"/>
                    </a:lnTo>
                    <a:lnTo>
                      <a:pt x="332" y="655"/>
                    </a:lnTo>
                    <a:lnTo>
                      <a:pt x="340" y="659"/>
                    </a:lnTo>
                    <a:lnTo>
                      <a:pt x="349" y="665"/>
                    </a:lnTo>
                    <a:lnTo>
                      <a:pt x="358" y="671"/>
                    </a:lnTo>
                    <a:lnTo>
                      <a:pt x="376" y="687"/>
                    </a:lnTo>
                    <a:lnTo>
                      <a:pt x="396" y="707"/>
                    </a:lnTo>
                    <a:lnTo>
                      <a:pt x="403" y="715"/>
                    </a:lnTo>
                    <a:lnTo>
                      <a:pt x="415" y="726"/>
                    </a:lnTo>
                    <a:lnTo>
                      <a:pt x="430" y="740"/>
                    </a:lnTo>
                    <a:lnTo>
                      <a:pt x="444" y="752"/>
                    </a:lnTo>
                    <a:lnTo>
                      <a:pt x="453" y="757"/>
                    </a:lnTo>
                    <a:lnTo>
                      <a:pt x="460" y="762"/>
                    </a:lnTo>
                    <a:lnTo>
                      <a:pt x="469" y="766"/>
                    </a:lnTo>
                    <a:lnTo>
                      <a:pt x="476" y="768"/>
                    </a:lnTo>
                    <a:lnTo>
                      <a:pt x="482" y="769"/>
                    </a:lnTo>
                    <a:lnTo>
                      <a:pt x="490" y="768"/>
                    </a:lnTo>
                    <a:lnTo>
                      <a:pt x="495" y="766"/>
                    </a:lnTo>
                    <a:lnTo>
                      <a:pt x="501" y="762"/>
                    </a:lnTo>
                    <a:lnTo>
                      <a:pt x="507" y="753"/>
                    </a:lnTo>
                    <a:lnTo>
                      <a:pt x="512" y="742"/>
                    </a:lnTo>
                    <a:lnTo>
                      <a:pt x="515" y="731"/>
                    </a:lnTo>
                    <a:lnTo>
                      <a:pt x="519" y="718"/>
                    </a:lnTo>
                    <a:lnTo>
                      <a:pt x="522" y="704"/>
                    </a:lnTo>
                    <a:lnTo>
                      <a:pt x="523" y="690"/>
                    </a:lnTo>
                    <a:lnTo>
                      <a:pt x="524" y="675"/>
                    </a:lnTo>
                    <a:lnTo>
                      <a:pt x="524" y="660"/>
                    </a:lnTo>
                    <a:lnTo>
                      <a:pt x="523" y="630"/>
                    </a:lnTo>
                    <a:lnTo>
                      <a:pt x="519" y="600"/>
                    </a:lnTo>
                    <a:lnTo>
                      <a:pt x="514" y="573"/>
                    </a:lnTo>
                    <a:lnTo>
                      <a:pt x="508" y="553"/>
                    </a:lnTo>
                    <a:lnTo>
                      <a:pt x="506" y="546"/>
                    </a:lnTo>
                    <a:lnTo>
                      <a:pt x="503" y="543"/>
                    </a:lnTo>
                    <a:lnTo>
                      <a:pt x="500" y="538"/>
                    </a:lnTo>
                    <a:lnTo>
                      <a:pt x="497" y="535"/>
                    </a:lnTo>
                    <a:lnTo>
                      <a:pt x="490" y="530"/>
                    </a:lnTo>
                    <a:lnTo>
                      <a:pt x="481" y="527"/>
                    </a:lnTo>
                    <a:lnTo>
                      <a:pt x="471" y="527"/>
                    </a:lnTo>
                    <a:lnTo>
                      <a:pt x="463" y="527"/>
                    </a:lnTo>
                    <a:lnTo>
                      <a:pt x="453" y="528"/>
                    </a:lnTo>
                    <a:lnTo>
                      <a:pt x="443" y="530"/>
                    </a:lnTo>
                    <a:lnTo>
                      <a:pt x="427" y="534"/>
                    </a:lnTo>
                    <a:lnTo>
                      <a:pt x="413" y="537"/>
                    </a:lnTo>
                    <a:lnTo>
                      <a:pt x="399" y="538"/>
                    </a:lnTo>
                    <a:lnTo>
                      <a:pt x="385" y="538"/>
                    </a:lnTo>
                    <a:lnTo>
                      <a:pt x="355" y="537"/>
                    </a:lnTo>
                    <a:lnTo>
                      <a:pt x="325" y="534"/>
                    </a:lnTo>
                    <a:lnTo>
                      <a:pt x="287" y="5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Freeform 39"/>
              <p:cNvSpPr>
                <a:spLocks/>
              </p:cNvSpPr>
              <p:nvPr/>
            </p:nvSpPr>
            <p:spPr bwMode="auto">
              <a:xfrm>
                <a:off x="2873375" y="7481280"/>
                <a:ext cx="176213" cy="163513"/>
              </a:xfrm>
              <a:custGeom>
                <a:avLst/>
                <a:gdLst>
                  <a:gd name="T0" fmla="*/ 0 w 441"/>
                  <a:gd name="T1" fmla="*/ 157 h 411"/>
                  <a:gd name="T2" fmla="*/ 7 w 441"/>
                  <a:gd name="T3" fmla="*/ 126 h 411"/>
                  <a:gd name="T4" fmla="*/ 26 w 441"/>
                  <a:gd name="T5" fmla="*/ 114 h 411"/>
                  <a:gd name="T6" fmla="*/ 79 w 441"/>
                  <a:gd name="T7" fmla="*/ 111 h 411"/>
                  <a:gd name="T8" fmla="*/ 122 w 441"/>
                  <a:gd name="T9" fmla="*/ 105 h 411"/>
                  <a:gd name="T10" fmla="*/ 144 w 441"/>
                  <a:gd name="T11" fmla="*/ 95 h 411"/>
                  <a:gd name="T12" fmla="*/ 169 w 441"/>
                  <a:gd name="T13" fmla="*/ 72 h 411"/>
                  <a:gd name="T14" fmla="*/ 202 w 441"/>
                  <a:gd name="T15" fmla="*/ 18 h 411"/>
                  <a:gd name="T16" fmla="*/ 221 w 441"/>
                  <a:gd name="T17" fmla="*/ 7 h 411"/>
                  <a:gd name="T18" fmla="*/ 295 w 441"/>
                  <a:gd name="T19" fmla="*/ 4 h 411"/>
                  <a:gd name="T20" fmla="*/ 401 w 441"/>
                  <a:gd name="T21" fmla="*/ 0 h 411"/>
                  <a:gd name="T22" fmla="*/ 428 w 441"/>
                  <a:gd name="T23" fmla="*/ 2 h 411"/>
                  <a:gd name="T24" fmla="*/ 440 w 441"/>
                  <a:gd name="T25" fmla="*/ 11 h 411"/>
                  <a:gd name="T26" fmla="*/ 434 w 441"/>
                  <a:gd name="T27" fmla="*/ 31 h 411"/>
                  <a:gd name="T28" fmla="*/ 415 w 441"/>
                  <a:gd name="T29" fmla="*/ 49 h 411"/>
                  <a:gd name="T30" fmla="*/ 365 w 441"/>
                  <a:gd name="T31" fmla="*/ 77 h 411"/>
                  <a:gd name="T32" fmla="*/ 317 w 441"/>
                  <a:gd name="T33" fmla="*/ 105 h 411"/>
                  <a:gd name="T34" fmla="*/ 302 w 441"/>
                  <a:gd name="T35" fmla="*/ 121 h 411"/>
                  <a:gd name="T36" fmla="*/ 297 w 441"/>
                  <a:gd name="T37" fmla="*/ 136 h 411"/>
                  <a:gd name="T38" fmla="*/ 299 w 441"/>
                  <a:gd name="T39" fmla="*/ 154 h 411"/>
                  <a:gd name="T40" fmla="*/ 304 w 441"/>
                  <a:gd name="T41" fmla="*/ 175 h 411"/>
                  <a:gd name="T42" fmla="*/ 295 w 441"/>
                  <a:gd name="T43" fmla="*/ 210 h 411"/>
                  <a:gd name="T44" fmla="*/ 286 w 441"/>
                  <a:gd name="T45" fmla="*/ 266 h 411"/>
                  <a:gd name="T46" fmla="*/ 291 w 441"/>
                  <a:gd name="T47" fmla="*/ 285 h 411"/>
                  <a:gd name="T48" fmla="*/ 306 w 441"/>
                  <a:gd name="T49" fmla="*/ 291 h 411"/>
                  <a:gd name="T50" fmla="*/ 344 w 441"/>
                  <a:gd name="T51" fmla="*/ 274 h 411"/>
                  <a:gd name="T52" fmla="*/ 357 w 441"/>
                  <a:gd name="T53" fmla="*/ 274 h 411"/>
                  <a:gd name="T54" fmla="*/ 363 w 441"/>
                  <a:gd name="T55" fmla="*/ 281 h 411"/>
                  <a:gd name="T56" fmla="*/ 370 w 441"/>
                  <a:gd name="T57" fmla="*/ 361 h 411"/>
                  <a:gd name="T58" fmla="*/ 366 w 441"/>
                  <a:gd name="T59" fmla="*/ 387 h 411"/>
                  <a:gd name="T60" fmla="*/ 350 w 441"/>
                  <a:gd name="T61" fmla="*/ 404 h 411"/>
                  <a:gd name="T62" fmla="*/ 324 w 441"/>
                  <a:gd name="T63" fmla="*/ 411 h 411"/>
                  <a:gd name="T64" fmla="*/ 302 w 441"/>
                  <a:gd name="T65" fmla="*/ 405 h 411"/>
                  <a:gd name="T66" fmla="*/ 284 w 441"/>
                  <a:gd name="T67" fmla="*/ 390 h 411"/>
                  <a:gd name="T68" fmla="*/ 261 w 441"/>
                  <a:gd name="T69" fmla="*/ 350 h 411"/>
                  <a:gd name="T70" fmla="*/ 235 w 441"/>
                  <a:gd name="T71" fmla="*/ 291 h 411"/>
                  <a:gd name="T72" fmla="*/ 205 w 441"/>
                  <a:gd name="T73" fmla="*/ 239 h 411"/>
                  <a:gd name="T74" fmla="*/ 184 w 441"/>
                  <a:gd name="T75" fmla="*/ 220 h 411"/>
                  <a:gd name="T76" fmla="*/ 160 w 441"/>
                  <a:gd name="T77" fmla="*/ 212 h 411"/>
                  <a:gd name="T78" fmla="*/ 130 w 441"/>
                  <a:gd name="T79" fmla="*/ 213 h 411"/>
                  <a:gd name="T80" fmla="*/ 101 w 441"/>
                  <a:gd name="T81" fmla="*/ 231 h 411"/>
                  <a:gd name="T82" fmla="*/ 49 w 441"/>
                  <a:gd name="T83" fmla="*/ 270 h 411"/>
                  <a:gd name="T84" fmla="*/ 31 w 441"/>
                  <a:gd name="T85" fmla="*/ 277 h 411"/>
                  <a:gd name="T86" fmla="*/ 20 w 441"/>
                  <a:gd name="T87" fmla="*/ 274 h 411"/>
                  <a:gd name="T88" fmla="*/ 11 w 441"/>
                  <a:gd name="T89" fmla="*/ 263 h 411"/>
                  <a:gd name="T90" fmla="*/ 5 w 441"/>
                  <a:gd name="T91" fmla="*/ 242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1" h="411">
                    <a:moveTo>
                      <a:pt x="4" y="192"/>
                    </a:moveTo>
                    <a:lnTo>
                      <a:pt x="2" y="173"/>
                    </a:lnTo>
                    <a:lnTo>
                      <a:pt x="0" y="157"/>
                    </a:lnTo>
                    <a:lnTo>
                      <a:pt x="2" y="143"/>
                    </a:lnTo>
                    <a:lnTo>
                      <a:pt x="3" y="133"/>
                    </a:lnTo>
                    <a:lnTo>
                      <a:pt x="7" y="126"/>
                    </a:lnTo>
                    <a:lnTo>
                      <a:pt x="11" y="120"/>
                    </a:lnTo>
                    <a:lnTo>
                      <a:pt x="18" y="116"/>
                    </a:lnTo>
                    <a:lnTo>
                      <a:pt x="26" y="114"/>
                    </a:lnTo>
                    <a:lnTo>
                      <a:pt x="44" y="111"/>
                    </a:lnTo>
                    <a:lnTo>
                      <a:pt x="67" y="111"/>
                    </a:lnTo>
                    <a:lnTo>
                      <a:pt x="79" y="111"/>
                    </a:lnTo>
                    <a:lnTo>
                      <a:pt x="92" y="110"/>
                    </a:lnTo>
                    <a:lnTo>
                      <a:pt x="107" y="108"/>
                    </a:lnTo>
                    <a:lnTo>
                      <a:pt x="122" y="105"/>
                    </a:lnTo>
                    <a:lnTo>
                      <a:pt x="130" y="103"/>
                    </a:lnTo>
                    <a:lnTo>
                      <a:pt x="138" y="99"/>
                    </a:lnTo>
                    <a:lnTo>
                      <a:pt x="144" y="95"/>
                    </a:lnTo>
                    <a:lnTo>
                      <a:pt x="150" y="92"/>
                    </a:lnTo>
                    <a:lnTo>
                      <a:pt x="161" y="83"/>
                    </a:lnTo>
                    <a:lnTo>
                      <a:pt x="169" y="72"/>
                    </a:lnTo>
                    <a:lnTo>
                      <a:pt x="183" y="49"/>
                    </a:lnTo>
                    <a:lnTo>
                      <a:pt x="197" y="22"/>
                    </a:lnTo>
                    <a:lnTo>
                      <a:pt x="202" y="18"/>
                    </a:lnTo>
                    <a:lnTo>
                      <a:pt x="207" y="13"/>
                    </a:lnTo>
                    <a:lnTo>
                      <a:pt x="213" y="11"/>
                    </a:lnTo>
                    <a:lnTo>
                      <a:pt x="221" y="7"/>
                    </a:lnTo>
                    <a:lnTo>
                      <a:pt x="238" y="5"/>
                    </a:lnTo>
                    <a:lnTo>
                      <a:pt x="256" y="2"/>
                    </a:lnTo>
                    <a:lnTo>
                      <a:pt x="295" y="4"/>
                    </a:lnTo>
                    <a:lnTo>
                      <a:pt x="327" y="5"/>
                    </a:lnTo>
                    <a:lnTo>
                      <a:pt x="359" y="2"/>
                    </a:lnTo>
                    <a:lnTo>
                      <a:pt x="401" y="0"/>
                    </a:lnTo>
                    <a:lnTo>
                      <a:pt x="410" y="0"/>
                    </a:lnTo>
                    <a:lnTo>
                      <a:pt x="419" y="0"/>
                    </a:lnTo>
                    <a:lnTo>
                      <a:pt x="428" y="2"/>
                    </a:lnTo>
                    <a:lnTo>
                      <a:pt x="434" y="4"/>
                    </a:lnTo>
                    <a:lnTo>
                      <a:pt x="437" y="7"/>
                    </a:lnTo>
                    <a:lnTo>
                      <a:pt x="440" y="11"/>
                    </a:lnTo>
                    <a:lnTo>
                      <a:pt x="441" y="17"/>
                    </a:lnTo>
                    <a:lnTo>
                      <a:pt x="439" y="23"/>
                    </a:lnTo>
                    <a:lnTo>
                      <a:pt x="434" y="31"/>
                    </a:lnTo>
                    <a:lnTo>
                      <a:pt x="429" y="37"/>
                    </a:lnTo>
                    <a:lnTo>
                      <a:pt x="423" y="43"/>
                    </a:lnTo>
                    <a:lnTo>
                      <a:pt x="415" y="49"/>
                    </a:lnTo>
                    <a:lnTo>
                      <a:pt x="399" y="59"/>
                    </a:lnTo>
                    <a:lnTo>
                      <a:pt x="382" y="68"/>
                    </a:lnTo>
                    <a:lnTo>
                      <a:pt x="365" y="77"/>
                    </a:lnTo>
                    <a:lnTo>
                      <a:pt x="348" y="87"/>
                    </a:lnTo>
                    <a:lnTo>
                      <a:pt x="331" y="95"/>
                    </a:lnTo>
                    <a:lnTo>
                      <a:pt x="317" y="105"/>
                    </a:lnTo>
                    <a:lnTo>
                      <a:pt x="310" y="111"/>
                    </a:lnTo>
                    <a:lnTo>
                      <a:pt x="305" y="116"/>
                    </a:lnTo>
                    <a:lnTo>
                      <a:pt x="302" y="121"/>
                    </a:lnTo>
                    <a:lnTo>
                      <a:pt x="299" y="127"/>
                    </a:lnTo>
                    <a:lnTo>
                      <a:pt x="297" y="131"/>
                    </a:lnTo>
                    <a:lnTo>
                      <a:pt x="297" y="136"/>
                    </a:lnTo>
                    <a:lnTo>
                      <a:pt x="297" y="141"/>
                    </a:lnTo>
                    <a:lnTo>
                      <a:pt x="297" y="144"/>
                    </a:lnTo>
                    <a:lnTo>
                      <a:pt x="299" y="154"/>
                    </a:lnTo>
                    <a:lnTo>
                      <a:pt x="302" y="164"/>
                    </a:lnTo>
                    <a:lnTo>
                      <a:pt x="303" y="169"/>
                    </a:lnTo>
                    <a:lnTo>
                      <a:pt x="304" y="175"/>
                    </a:lnTo>
                    <a:lnTo>
                      <a:pt x="303" y="180"/>
                    </a:lnTo>
                    <a:lnTo>
                      <a:pt x="303" y="187"/>
                    </a:lnTo>
                    <a:lnTo>
                      <a:pt x="295" y="210"/>
                    </a:lnTo>
                    <a:lnTo>
                      <a:pt x="287" y="247"/>
                    </a:lnTo>
                    <a:lnTo>
                      <a:pt x="287" y="257"/>
                    </a:lnTo>
                    <a:lnTo>
                      <a:pt x="286" y="266"/>
                    </a:lnTo>
                    <a:lnTo>
                      <a:pt x="286" y="273"/>
                    </a:lnTo>
                    <a:lnTo>
                      <a:pt x="288" y="280"/>
                    </a:lnTo>
                    <a:lnTo>
                      <a:pt x="291" y="285"/>
                    </a:lnTo>
                    <a:lnTo>
                      <a:pt x="294" y="290"/>
                    </a:lnTo>
                    <a:lnTo>
                      <a:pt x="299" y="291"/>
                    </a:lnTo>
                    <a:lnTo>
                      <a:pt x="306" y="291"/>
                    </a:lnTo>
                    <a:lnTo>
                      <a:pt x="321" y="284"/>
                    </a:lnTo>
                    <a:lnTo>
                      <a:pt x="341" y="275"/>
                    </a:lnTo>
                    <a:lnTo>
                      <a:pt x="344" y="274"/>
                    </a:lnTo>
                    <a:lnTo>
                      <a:pt x="349" y="273"/>
                    </a:lnTo>
                    <a:lnTo>
                      <a:pt x="353" y="273"/>
                    </a:lnTo>
                    <a:lnTo>
                      <a:pt x="357" y="274"/>
                    </a:lnTo>
                    <a:lnTo>
                      <a:pt x="359" y="275"/>
                    </a:lnTo>
                    <a:lnTo>
                      <a:pt x="362" y="278"/>
                    </a:lnTo>
                    <a:lnTo>
                      <a:pt x="363" y="281"/>
                    </a:lnTo>
                    <a:lnTo>
                      <a:pt x="363" y="288"/>
                    </a:lnTo>
                    <a:lnTo>
                      <a:pt x="368" y="323"/>
                    </a:lnTo>
                    <a:lnTo>
                      <a:pt x="370" y="361"/>
                    </a:lnTo>
                    <a:lnTo>
                      <a:pt x="370" y="370"/>
                    </a:lnTo>
                    <a:lnTo>
                      <a:pt x="369" y="378"/>
                    </a:lnTo>
                    <a:lnTo>
                      <a:pt x="366" y="387"/>
                    </a:lnTo>
                    <a:lnTo>
                      <a:pt x="363" y="393"/>
                    </a:lnTo>
                    <a:lnTo>
                      <a:pt x="358" y="399"/>
                    </a:lnTo>
                    <a:lnTo>
                      <a:pt x="350" y="404"/>
                    </a:lnTo>
                    <a:lnTo>
                      <a:pt x="342" y="408"/>
                    </a:lnTo>
                    <a:lnTo>
                      <a:pt x="332" y="410"/>
                    </a:lnTo>
                    <a:lnTo>
                      <a:pt x="324" y="411"/>
                    </a:lnTo>
                    <a:lnTo>
                      <a:pt x="316" y="410"/>
                    </a:lnTo>
                    <a:lnTo>
                      <a:pt x="309" y="409"/>
                    </a:lnTo>
                    <a:lnTo>
                      <a:pt x="302" y="405"/>
                    </a:lnTo>
                    <a:lnTo>
                      <a:pt x="295" y="401"/>
                    </a:lnTo>
                    <a:lnTo>
                      <a:pt x="289" y="397"/>
                    </a:lnTo>
                    <a:lnTo>
                      <a:pt x="284" y="390"/>
                    </a:lnTo>
                    <a:lnTo>
                      <a:pt x="279" y="383"/>
                    </a:lnTo>
                    <a:lnTo>
                      <a:pt x="270" y="367"/>
                    </a:lnTo>
                    <a:lnTo>
                      <a:pt x="261" y="350"/>
                    </a:lnTo>
                    <a:lnTo>
                      <a:pt x="253" y="330"/>
                    </a:lnTo>
                    <a:lnTo>
                      <a:pt x="244" y="311"/>
                    </a:lnTo>
                    <a:lnTo>
                      <a:pt x="235" y="291"/>
                    </a:lnTo>
                    <a:lnTo>
                      <a:pt x="226" y="272"/>
                    </a:lnTo>
                    <a:lnTo>
                      <a:pt x="216" y="255"/>
                    </a:lnTo>
                    <a:lnTo>
                      <a:pt x="205" y="239"/>
                    </a:lnTo>
                    <a:lnTo>
                      <a:pt x="199" y="231"/>
                    </a:lnTo>
                    <a:lnTo>
                      <a:pt x="191" y="225"/>
                    </a:lnTo>
                    <a:lnTo>
                      <a:pt x="184" y="220"/>
                    </a:lnTo>
                    <a:lnTo>
                      <a:pt x="177" y="217"/>
                    </a:lnTo>
                    <a:lnTo>
                      <a:pt x="168" y="213"/>
                    </a:lnTo>
                    <a:lnTo>
                      <a:pt x="160" y="212"/>
                    </a:lnTo>
                    <a:lnTo>
                      <a:pt x="150" y="210"/>
                    </a:lnTo>
                    <a:lnTo>
                      <a:pt x="139" y="210"/>
                    </a:lnTo>
                    <a:lnTo>
                      <a:pt x="130" y="213"/>
                    </a:lnTo>
                    <a:lnTo>
                      <a:pt x="120" y="218"/>
                    </a:lnTo>
                    <a:lnTo>
                      <a:pt x="111" y="224"/>
                    </a:lnTo>
                    <a:lnTo>
                      <a:pt x="101" y="231"/>
                    </a:lnTo>
                    <a:lnTo>
                      <a:pt x="80" y="248"/>
                    </a:lnTo>
                    <a:lnTo>
                      <a:pt x="59" y="264"/>
                    </a:lnTo>
                    <a:lnTo>
                      <a:pt x="49" y="270"/>
                    </a:lnTo>
                    <a:lnTo>
                      <a:pt x="40" y="275"/>
                    </a:lnTo>
                    <a:lnTo>
                      <a:pt x="36" y="277"/>
                    </a:lnTo>
                    <a:lnTo>
                      <a:pt x="31" y="277"/>
                    </a:lnTo>
                    <a:lnTo>
                      <a:pt x="27" y="277"/>
                    </a:lnTo>
                    <a:lnTo>
                      <a:pt x="24" y="277"/>
                    </a:lnTo>
                    <a:lnTo>
                      <a:pt x="20" y="274"/>
                    </a:lnTo>
                    <a:lnTo>
                      <a:pt x="18" y="272"/>
                    </a:lnTo>
                    <a:lnTo>
                      <a:pt x="14" y="268"/>
                    </a:lnTo>
                    <a:lnTo>
                      <a:pt x="11" y="263"/>
                    </a:lnTo>
                    <a:lnTo>
                      <a:pt x="9" y="257"/>
                    </a:lnTo>
                    <a:lnTo>
                      <a:pt x="7" y="251"/>
                    </a:lnTo>
                    <a:lnTo>
                      <a:pt x="5" y="242"/>
                    </a:lnTo>
                    <a:lnTo>
                      <a:pt x="4" y="233"/>
                    </a:lnTo>
                    <a:lnTo>
                      <a:pt x="4" y="1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9" name="Freeform 40"/>
              <p:cNvSpPr>
                <a:spLocks/>
              </p:cNvSpPr>
              <p:nvPr/>
            </p:nvSpPr>
            <p:spPr bwMode="auto">
              <a:xfrm>
                <a:off x="2478087" y="7597168"/>
                <a:ext cx="74613" cy="63500"/>
              </a:xfrm>
              <a:custGeom>
                <a:avLst/>
                <a:gdLst>
                  <a:gd name="T0" fmla="*/ 5 w 188"/>
                  <a:gd name="T1" fmla="*/ 125 h 161"/>
                  <a:gd name="T2" fmla="*/ 0 w 188"/>
                  <a:gd name="T3" fmla="*/ 110 h 161"/>
                  <a:gd name="T4" fmla="*/ 0 w 188"/>
                  <a:gd name="T5" fmla="*/ 96 h 161"/>
                  <a:gd name="T6" fmla="*/ 2 w 188"/>
                  <a:gd name="T7" fmla="*/ 81 h 161"/>
                  <a:gd name="T8" fmla="*/ 15 w 188"/>
                  <a:gd name="T9" fmla="*/ 65 h 161"/>
                  <a:gd name="T10" fmla="*/ 39 w 188"/>
                  <a:gd name="T11" fmla="*/ 38 h 161"/>
                  <a:gd name="T12" fmla="*/ 64 w 188"/>
                  <a:gd name="T13" fmla="*/ 9 h 161"/>
                  <a:gd name="T14" fmla="*/ 73 w 188"/>
                  <a:gd name="T15" fmla="*/ 2 h 161"/>
                  <a:gd name="T16" fmla="*/ 84 w 188"/>
                  <a:gd name="T17" fmla="*/ 0 h 161"/>
                  <a:gd name="T18" fmla="*/ 95 w 188"/>
                  <a:gd name="T19" fmla="*/ 6 h 161"/>
                  <a:gd name="T20" fmla="*/ 109 w 188"/>
                  <a:gd name="T21" fmla="*/ 22 h 161"/>
                  <a:gd name="T22" fmla="*/ 128 w 188"/>
                  <a:gd name="T23" fmla="*/ 37 h 161"/>
                  <a:gd name="T24" fmla="*/ 148 w 188"/>
                  <a:gd name="T25" fmla="*/ 50 h 161"/>
                  <a:gd name="T26" fmla="*/ 163 w 188"/>
                  <a:gd name="T27" fmla="*/ 62 h 161"/>
                  <a:gd name="T28" fmla="*/ 170 w 188"/>
                  <a:gd name="T29" fmla="*/ 70 h 161"/>
                  <a:gd name="T30" fmla="*/ 180 w 188"/>
                  <a:gd name="T31" fmla="*/ 91 h 161"/>
                  <a:gd name="T32" fmla="*/ 187 w 188"/>
                  <a:gd name="T33" fmla="*/ 117 h 161"/>
                  <a:gd name="T34" fmla="*/ 187 w 188"/>
                  <a:gd name="T35" fmla="*/ 134 h 161"/>
                  <a:gd name="T36" fmla="*/ 183 w 188"/>
                  <a:gd name="T37" fmla="*/ 148 h 161"/>
                  <a:gd name="T38" fmla="*/ 176 w 188"/>
                  <a:gd name="T39" fmla="*/ 153 h 161"/>
                  <a:gd name="T40" fmla="*/ 168 w 188"/>
                  <a:gd name="T41" fmla="*/ 153 h 161"/>
                  <a:gd name="T42" fmla="*/ 159 w 188"/>
                  <a:gd name="T43" fmla="*/ 147 h 161"/>
                  <a:gd name="T44" fmla="*/ 147 w 188"/>
                  <a:gd name="T45" fmla="*/ 134 h 161"/>
                  <a:gd name="T46" fmla="*/ 133 w 188"/>
                  <a:gd name="T47" fmla="*/ 124 h 161"/>
                  <a:gd name="T48" fmla="*/ 125 w 188"/>
                  <a:gd name="T49" fmla="*/ 121 h 161"/>
                  <a:gd name="T50" fmla="*/ 112 w 188"/>
                  <a:gd name="T51" fmla="*/ 121 h 161"/>
                  <a:gd name="T52" fmla="*/ 95 w 188"/>
                  <a:gd name="T53" fmla="*/ 130 h 161"/>
                  <a:gd name="T54" fmla="*/ 79 w 188"/>
                  <a:gd name="T55" fmla="*/ 148 h 161"/>
                  <a:gd name="T56" fmla="*/ 66 w 188"/>
                  <a:gd name="T57" fmla="*/ 161 h 161"/>
                  <a:gd name="T58" fmla="*/ 56 w 188"/>
                  <a:gd name="T59" fmla="*/ 159 h 161"/>
                  <a:gd name="T60" fmla="*/ 41 w 188"/>
                  <a:gd name="T61" fmla="*/ 152 h 161"/>
                  <a:gd name="T62" fmla="*/ 8 w 188"/>
                  <a:gd name="T63" fmla="*/ 1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8" h="161">
                    <a:moveTo>
                      <a:pt x="8" y="130"/>
                    </a:moveTo>
                    <a:lnTo>
                      <a:pt x="5" y="125"/>
                    </a:lnTo>
                    <a:lnTo>
                      <a:pt x="2" y="118"/>
                    </a:lnTo>
                    <a:lnTo>
                      <a:pt x="0" y="110"/>
                    </a:lnTo>
                    <a:lnTo>
                      <a:pt x="0" y="103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2" y="81"/>
                    </a:lnTo>
                    <a:lnTo>
                      <a:pt x="5" y="75"/>
                    </a:lnTo>
                    <a:lnTo>
                      <a:pt x="15" y="65"/>
                    </a:lnTo>
                    <a:lnTo>
                      <a:pt x="26" y="57"/>
                    </a:lnTo>
                    <a:lnTo>
                      <a:pt x="39" y="38"/>
                    </a:lnTo>
                    <a:lnTo>
                      <a:pt x="57" y="14"/>
                    </a:lnTo>
                    <a:lnTo>
                      <a:pt x="64" y="9"/>
                    </a:lnTo>
                    <a:lnTo>
                      <a:pt x="68" y="4"/>
                    </a:lnTo>
                    <a:lnTo>
                      <a:pt x="73" y="2"/>
                    </a:lnTo>
                    <a:lnTo>
                      <a:pt x="79" y="0"/>
                    </a:lnTo>
                    <a:lnTo>
                      <a:pt x="84" y="0"/>
                    </a:lnTo>
                    <a:lnTo>
                      <a:pt x="90" y="3"/>
                    </a:lnTo>
                    <a:lnTo>
                      <a:pt x="95" y="6"/>
                    </a:lnTo>
                    <a:lnTo>
                      <a:pt x="101" y="14"/>
                    </a:lnTo>
                    <a:lnTo>
                      <a:pt x="109" y="22"/>
                    </a:lnTo>
                    <a:lnTo>
                      <a:pt x="117" y="31"/>
                    </a:lnTo>
                    <a:lnTo>
                      <a:pt x="128" y="37"/>
                    </a:lnTo>
                    <a:lnTo>
                      <a:pt x="138" y="43"/>
                    </a:lnTo>
                    <a:lnTo>
                      <a:pt x="148" y="50"/>
                    </a:lnTo>
                    <a:lnTo>
                      <a:pt x="158" y="57"/>
                    </a:lnTo>
                    <a:lnTo>
                      <a:pt x="163" y="62"/>
                    </a:lnTo>
                    <a:lnTo>
                      <a:pt x="166" y="65"/>
                    </a:lnTo>
                    <a:lnTo>
                      <a:pt x="170" y="70"/>
                    </a:lnTo>
                    <a:lnTo>
                      <a:pt x="174" y="76"/>
                    </a:lnTo>
                    <a:lnTo>
                      <a:pt x="180" y="91"/>
                    </a:lnTo>
                    <a:lnTo>
                      <a:pt x="186" y="108"/>
                    </a:lnTo>
                    <a:lnTo>
                      <a:pt x="187" y="117"/>
                    </a:lnTo>
                    <a:lnTo>
                      <a:pt x="188" y="125"/>
                    </a:lnTo>
                    <a:lnTo>
                      <a:pt x="187" y="134"/>
                    </a:lnTo>
                    <a:lnTo>
                      <a:pt x="186" y="142"/>
                    </a:lnTo>
                    <a:lnTo>
                      <a:pt x="183" y="148"/>
                    </a:lnTo>
                    <a:lnTo>
                      <a:pt x="180" y="152"/>
                    </a:lnTo>
                    <a:lnTo>
                      <a:pt x="176" y="153"/>
                    </a:lnTo>
                    <a:lnTo>
                      <a:pt x="171" y="155"/>
                    </a:lnTo>
                    <a:lnTo>
                      <a:pt x="168" y="153"/>
                    </a:lnTo>
                    <a:lnTo>
                      <a:pt x="163" y="151"/>
                    </a:lnTo>
                    <a:lnTo>
                      <a:pt x="159" y="147"/>
                    </a:lnTo>
                    <a:lnTo>
                      <a:pt x="155" y="144"/>
                    </a:lnTo>
                    <a:lnTo>
                      <a:pt x="147" y="134"/>
                    </a:lnTo>
                    <a:lnTo>
                      <a:pt x="137" y="126"/>
                    </a:lnTo>
                    <a:lnTo>
                      <a:pt x="133" y="124"/>
                    </a:lnTo>
                    <a:lnTo>
                      <a:pt x="128" y="123"/>
                    </a:lnTo>
                    <a:lnTo>
                      <a:pt x="125" y="121"/>
                    </a:lnTo>
                    <a:lnTo>
                      <a:pt x="121" y="120"/>
                    </a:lnTo>
                    <a:lnTo>
                      <a:pt x="112" y="121"/>
                    </a:lnTo>
                    <a:lnTo>
                      <a:pt x="104" y="125"/>
                    </a:lnTo>
                    <a:lnTo>
                      <a:pt x="95" y="130"/>
                    </a:lnTo>
                    <a:lnTo>
                      <a:pt x="86" y="137"/>
                    </a:lnTo>
                    <a:lnTo>
                      <a:pt x="79" y="148"/>
                    </a:lnTo>
                    <a:lnTo>
                      <a:pt x="70" y="159"/>
                    </a:lnTo>
                    <a:lnTo>
                      <a:pt x="66" y="161"/>
                    </a:lnTo>
                    <a:lnTo>
                      <a:pt x="61" y="161"/>
                    </a:lnTo>
                    <a:lnTo>
                      <a:pt x="56" y="159"/>
                    </a:lnTo>
                    <a:lnTo>
                      <a:pt x="51" y="157"/>
                    </a:lnTo>
                    <a:lnTo>
                      <a:pt x="41" y="152"/>
                    </a:lnTo>
                    <a:lnTo>
                      <a:pt x="33" y="147"/>
                    </a:lnTo>
                    <a:lnTo>
                      <a:pt x="8" y="1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Freeform 41"/>
              <p:cNvSpPr>
                <a:spLocks/>
              </p:cNvSpPr>
              <p:nvPr/>
            </p:nvSpPr>
            <p:spPr bwMode="auto">
              <a:xfrm>
                <a:off x="1887537" y="7651143"/>
                <a:ext cx="608013" cy="442913"/>
              </a:xfrm>
              <a:custGeom>
                <a:avLst/>
                <a:gdLst>
                  <a:gd name="T0" fmla="*/ 824 w 1533"/>
                  <a:gd name="T1" fmla="*/ 327 h 1115"/>
                  <a:gd name="T2" fmla="*/ 739 w 1533"/>
                  <a:gd name="T3" fmla="*/ 320 h 1115"/>
                  <a:gd name="T4" fmla="*/ 681 w 1533"/>
                  <a:gd name="T5" fmla="*/ 204 h 1115"/>
                  <a:gd name="T6" fmla="*/ 557 w 1533"/>
                  <a:gd name="T7" fmla="*/ 196 h 1115"/>
                  <a:gd name="T8" fmla="*/ 412 w 1533"/>
                  <a:gd name="T9" fmla="*/ 227 h 1115"/>
                  <a:gd name="T10" fmla="*/ 386 w 1533"/>
                  <a:gd name="T11" fmla="*/ 254 h 1115"/>
                  <a:gd name="T12" fmla="*/ 433 w 1533"/>
                  <a:gd name="T13" fmla="*/ 314 h 1115"/>
                  <a:gd name="T14" fmla="*/ 286 w 1533"/>
                  <a:gd name="T15" fmla="*/ 359 h 1115"/>
                  <a:gd name="T16" fmla="*/ 178 w 1533"/>
                  <a:gd name="T17" fmla="*/ 322 h 1115"/>
                  <a:gd name="T18" fmla="*/ 90 w 1533"/>
                  <a:gd name="T19" fmla="*/ 358 h 1115"/>
                  <a:gd name="T20" fmla="*/ 10 w 1533"/>
                  <a:gd name="T21" fmla="*/ 387 h 1115"/>
                  <a:gd name="T22" fmla="*/ 184 w 1533"/>
                  <a:gd name="T23" fmla="*/ 474 h 1115"/>
                  <a:gd name="T24" fmla="*/ 283 w 1533"/>
                  <a:gd name="T25" fmla="*/ 540 h 1115"/>
                  <a:gd name="T26" fmla="*/ 297 w 1533"/>
                  <a:gd name="T27" fmla="*/ 458 h 1115"/>
                  <a:gd name="T28" fmla="*/ 333 w 1533"/>
                  <a:gd name="T29" fmla="*/ 434 h 1115"/>
                  <a:gd name="T30" fmla="*/ 418 w 1533"/>
                  <a:gd name="T31" fmla="*/ 478 h 1115"/>
                  <a:gd name="T32" fmla="*/ 506 w 1533"/>
                  <a:gd name="T33" fmla="*/ 505 h 1115"/>
                  <a:gd name="T34" fmla="*/ 540 w 1533"/>
                  <a:gd name="T35" fmla="*/ 637 h 1115"/>
                  <a:gd name="T36" fmla="*/ 570 w 1533"/>
                  <a:gd name="T37" fmla="*/ 632 h 1115"/>
                  <a:gd name="T38" fmla="*/ 592 w 1533"/>
                  <a:gd name="T39" fmla="*/ 520 h 1115"/>
                  <a:gd name="T40" fmla="*/ 652 w 1533"/>
                  <a:gd name="T41" fmla="*/ 477 h 1115"/>
                  <a:gd name="T42" fmla="*/ 704 w 1533"/>
                  <a:gd name="T43" fmla="*/ 434 h 1115"/>
                  <a:gd name="T44" fmla="*/ 753 w 1533"/>
                  <a:gd name="T45" fmla="*/ 411 h 1115"/>
                  <a:gd name="T46" fmla="*/ 828 w 1533"/>
                  <a:gd name="T47" fmla="*/ 425 h 1115"/>
                  <a:gd name="T48" fmla="*/ 893 w 1533"/>
                  <a:gd name="T49" fmla="*/ 378 h 1115"/>
                  <a:gd name="T50" fmla="*/ 970 w 1533"/>
                  <a:gd name="T51" fmla="*/ 435 h 1115"/>
                  <a:gd name="T52" fmla="*/ 1025 w 1533"/>
                  <a:gd name="T53" fmla="*/ 395 h 1115"/>
                  <a:gd name="T54" fmla="*/ 1109 w 1533"/>
                  <a:gd name="T55" fmla="*/ 386 h 1115"/>
                  <a:gd name="T56" fmla="*/ 1200 w 1533"/>
                  <a:gd name="T57" fmla="*/ 442 h 1115"/>
                  <a:gd name="T58" fmla="*/ 1248 w 1533"/>
                  <a:gd name="T59" fmla="*/ 500 h 1115"/>
                  <a:gd name="T60" fmla="*/ 1234 w 1533"/>
                  <a:gd name="T61" fmla="*/ 627 h 1115"/>
                  <a:gd name="T62" fmla="*/ 1282 w 1533"/>
                  <a:gd name="T63" fmla="*/ 699 h 1115"/>
                  <a:gd name="T64" fmla="*/ 1341 w 1533"/>
                  <a:gd name="T65" fmla="*/ 843 h 1115"/>
                  <a:gd name="T66" fmla="*/ 1265 w 1533"/>
                  <a:gd name="T67" fmla="*/ 953 h 1115"/>
                  <a:gd name="T68" fmla="*/ 1280 w 1533"/>
                  <a:gd name="T69" fmla="*/ 1034 h 1115"/>
                  <a:gd name="T70" fmla="*/ 1355 w 1533"/>
                  <a:gd name="T71" fmla="*/ 1057 h 1115"/>
                  <a:gd name="T72" fmla="*/ 1475 w 1533"/>
                  <a:gd name="T73" fmla="*/ 1113 h 1115"/>
                  <a:gd name="T74" fmla="*/ 1533 w 1533"/>
                  <a:gd name="T75" fmla="*/ 1079 h 1115"/>
                  <a:gd name="T76" fmla="*/ 1472 w 1533"/>
                  <a:gd name="T77" fmla="*/ 946 h 1115"/>
                  <a:gd name="T78" fmla="*/ 1477 w 1533"/>
                  <a:gd name="T79" fmla="*/ 810 h 1115"/>
                  <a:gd name="T80" fmla="*/ 1482 w 1533"/>
                  <a:gd name="T81" fmla="*/ 688 h 1115"/>
                  <a:gd name="T82" fmla="*/ 1430 w 1533"/>
                  <a:gd name="T83" fmla="*/ 485 h 1115"/>
                  <a:gd name="T84" fmla="*/ 1445 w 1533"/>
                  <a:gd name="T85" fmla="*/ 364 h 1115"/>
                  <a:gd name="T86" fmla="*/ 1468 w 1533"/>
                  <a:gd name="T87" fmla="*/ 272 h 1115"/>
                  <a:gd name="T88" fmla="*/ 1442 w 1533"/>
                  <a:gd name="T89" fmla="*/ 190 h 1115"/>
                  <a:gd name="T90" fmla="*/ 1352 w 1533"/>
                  <a:gd name="T91" fmla="*/ 282 h 1115"/>
                  <a:gd name="T92" fmla="*/ 1286 w 1533"/>
                  <a:gd name="T93" fmla="*/ 266 h 1115"/>
                  <a:gd name="T94" fmla="*/ 1201 w 1533"/>
                  <a:gd name="T95" fmla="*/ 136 h 1115"/>
                  <a:gd name="T96" fmla="*/ 1139 w 1533"/>
                  <a:gd name="T97" fmla="*/ 161 h 1115"/>
                  <a:gd name="T98" fmla="*/ 1116 w 1533"/>
                  <a:gd name="T99" fmla="*/ 189 h 1115"/>
                  <a:gd name="T100" fmla="*/ 1014 w 1533"/>
                  <a:gd name="T101" fmla="*/ 70 h 1115"/>
                  <a:gd name="T102" fmla="*/ 941 w 1533"/>
                  <a:gd name="T103" fmla="*/ 22 h 1115"/>
                  <a:gd name="T104" fmla="*/ 903 w 1533"/>
                  <a:gd name="T105" fmla="*/ 9 h 1115"/>
                  <a:gd name="T106" fmla="*/ 927 w 1533"/>
                  <a:gd name="T107" fmla="*/ 96 h 1115"/>
                  <a:gd name="T108" fmla="*/ 1004 w 1533"/>
                  <a:gd name="T109" fmla="*/ 167 h 1115"/>
                  <a:gd name="T110" fmla="*/ 1102 w 1533"/>
                  <a:gd name="T111" fmla="*/ 229 h 1115"/>
                  <a:gd name="T112" fmla="*/ 1009 w 1533"/>
                  <a:gd name="T113" fmla="*/ 276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33" h="1115">
                    <a:moveTo>
                      <a:pt x="1007" y="286"/>
                    </a:moveTo>
                    <a:lnTo>
                      <a:pt x="960" y="289"/>
                    </a:lnTo>
                    <a:lnTo>
                      <a:pt x="911" y="294"/>
                    </a:lnTo>
                    <a:lnTo>
                      <a:pt x="887" y="299"/>
                    </a:lnTo>
                    <a:lnTo>
                      <a:pt x="863" y="305"/>
                    </a:lnTo>
                    <a:lnTo>
                      <a:pt x="854" y="310"/>
                    </a:lnTo>
                    <a:lnTo>
                      <a:pt x="843" y="315"/>
                    </a:lnTo>
                    <a:lnTo>
                      <a:pt x="833" y="320"/>
                    </a:lnTo>
                    <a:lnTo>
                      <a:pt x="824" y="327"/>
                    </a:lnTo>
                    <a:lnTo>
                      <a:pt x="812" y="335"/>
                    </a:lnTo>
                    <a:lnTo>
                      <a:pt x="801" y="341"/>
                    </a:lnTo>
                    <a:lnTo>
                      <a:pt x="790" y="344"/>
                    </a:lnTo>
                    <a:lnTo>
                      <a:pt x="780" y="344"/>
                    </a:lnTo>
                    <a:lnTo>
                      <a:pt x="770" y="343"/>
                    </a:lnTo>
                    <a:lnTo>
                      <a:pt x="762" y="340"/>
                    </a:lnTo>
                    <a:lnTo>
                      <a:pt x="753" y="335"/>
                    </a:lnTo>
                    <a:lnTo>
                      <a:pt x="746" y="329"/>
                    </a:lnTo>
                    <a:lnTo>
                      <a:pt x="739" y="320"/>
                    </a:lnTo>
                    <a:lnTo>
                      <a:pt x="732" y="311"/>
                    </a:lnTo>
                    <a:lnTo>
                      <a:pt x="726" y="303"/>
                    </a:lnTo>
                    <a:lnTo>
                      <a:pt x="720" y="292"/>
                    </a:lnTo>
                    <a:lnTo>
                      <a:pt x="710" y="271"/>
                    </a:lnTo>
                    <a:lnTo>
                      <a:pt x="702" y="251"/>
                    </a:lnTo>
                    <a:lnTo>
                      <a:pt x="693" y="228"/>
                    </a:lnTo>
                    <a:lnTo>
                      <a:pt x="687" y="213"/>
                    </a:lnTo>
                    <a:lnTo>
                      <a:pt x="683" y="207"/>
                    </a:lnTo>
                    <a:lnTo>
                      <a:pt x="681" y="204"/>
                    </a:lnTo>
                    <a:lnTo>
                      <a:pt x="679" y="200"/>
                    </a:lnTo>
                    <a:lnTo>
                      <a:pt x="675" y="198"/>
                    </a:lnTo>
                    <a:lnTo>
                      <a:pt x="658" y="194"/>
                    </a:lnTo>
                    <a:lnTo>
                      <a:pt x="622" y="189"/>
                    </a:lnTo>
                    <a:lnTo>
                      <a:pt x="611" y="188"/>
                    </a:lnTo>
                    <a:lnTo>
                      <a:pt x="599" y="188"/>
                    </a:lnTo>
                    <a:lnTo>
                      <a:pt x="589" y="188"/>
                    </a:lnTo>
                    <a:lnTo>
                      <a:pt x="578" y="190"/>
                    </a:lnTo>
                    <a:lnTo>
                      <a:pt x="557" y="196"/>
                    </a:lnTo>
                    <a:lnTo>
                      <a:pt x="538" y="205"/>
                    </a:lnTo>
                    <a:lnTo>
                      <a:pt x="517" y="213"/>
                    </a:lnTo>
                    <a:lnTo>
                      <a:pt x="497" y="222"/>
                    </a:lnTo>
                    <a:lnTo>
                      <a:pt x="486" y="226"/>
                    </a:lnTo>
                    <a:lnTo>
                      <a:pt x="475" y="228"/>
                    </a:lnTo>
                    <a:lnTo>
                      <a:pt x="464" y="231"/>
                    </a:lnTo>
                    <a:lnTo>
                      <a:pt x="453" y="232"/>
                    </a:lnTo>
                    <a:lnTo>
                      <a:pt x="434" y="231"/>
                    </a:lnTo>
                    <a:lnTo>
                      <a:pt x="412" y="227"/>
                    </a:lnTo>
                    <a:lnTo>
                      <a:pt x="401" y="226"/>
                    </a:lnTo>
                    <a:lnTo>
                      <a:pt x="391" y="224"/>
                    </a:lnTo>
                    <a:lnTo>
                      <a:pt x="382" y="224"/>
                    </a:lnTo>
                    <a:lnTo>
                      <a:pt x="375" y="224"/>
                    </a:lnTo>
                    <a:lnTo>
                      <a:pt x="375" y="231"/>
                    </a:lnTo>
                    <a:lnTo>
                      <a:pt x="376" y="235"/>
                    </a:lnTo>
                    <a:lnTo>
                      <a:pt x="377" y="240"/>
                    </a:lnTo>
                    <a:lnTo>
                      <a:pt x="380" y="245"/>
                    </a:lnTo>
                    <a:lnTo>
                      <a:pt x="386" y="254"/>
                    </a:lnTo>
                    <a:lnTo>
                      <a:pt x="392" y="262"/>
                    </a:lnTo>
                    <a:lnTo>
                      <a:pt x="408" y="278"/>
                    </a:lnTo>
                    <a:lnTo>
                      <a:pt x="423" y="292"/>
                    </a:lnTo>
                    <a:lnTo>
                      <a:pt x="429" y="298"/>
                    </a:lnTo>
                    <a:lnTo>
                      <a:pt x="433" y="304"/>
                    </a:lnTo>
                    <a:lnTo>
                      <a:pt x="434" y="306"/>
                    </a:lnTo>
                    <a:lnTo>
                      <a:pt x="434" y="309"/>
                    </a:lnTo>
                    <a:lnTo>
                      <a:pt x="434" y="311"/>
                    </a:lnTo>
                    <a:lnTo>
                      <a:pt x="433" y="314"/>
                    </a:lnTo>
                    <a:lnTo>
                      <a:pt x="428" y="319"/>
                    </a:lnTo>
                    <a:lnTo>
                      <a:pt x="420" y="322"/>
                    </a:lnTo>
                    <a:lnTo>
                      <a:pt x="407" y="327"/>
                    </a:lnTo>
                    <a:lnTo>
                      <a:pt x="390" y="331"/>
                    </a:lnTo>
                    <a:lnTo>
                      <a:pt x="360" y="338"/>
                    </a:lnTo>
                    <a:lnTo>
                      <a:pt x="337" y="346"/>
                    </a:lnTo>
                    <a:lnTo>
                      <a:pt x="315" y="353"/>
                    </a:lnTo>
                    <a:lnTo>
                      <a:pt x="295" y="358"/>
                    </a:lnTo>
                    <a:lnTo>
                      <a:pt x="286" y="359"/>
                    </a:lnTo>
                    <a:lnTo>
                      <a:pt x="276" y="360"/>
                    </a:lnTo>
                    <a:lnTo>
                      <a:pt x="265" y="359"/>
                    </a:lnTo>
                    <a:lnTo>
                      <a:pt x="254" y="357"/>
                    </a:lnTo>
                    <a:lnTo>
                      <a:pt x="242" y="353"/>
                    </a:lnTo>
                    <a:lnTo>
                      <a:pt x="229" y="348"/>
                    </a:lnTo>
                    <a:lnTo>
                      <a:pt x="215" y="341"/>
                    </a:lnTo>
                    <a:lnTo>
                      <a:pt x="199" y="332"/>
                    </a:lnTo>
                    <a:lnTo>
                      <a:pt x="188" y="326"/>
                    </a:lnTo>
                    <a:lnTo>
                      <a:pt x="178" y="322"/>
                    </a:lnTo>
                    <a:lnTo>
                      <a:pt x="168" y="320"/>
                    </a:lnTo>
                    <a:lnTo>
                      <a:pt x="160" y="320"/>
                    </a:lnTo>
                    <a:lnTo>
                      <a:pt x="151" y="321"/>
                    </a:lnTo>
                    <a:lnTo>
                      <a:pt x="144" y="324"/>
                    </a:lnTo>
                    <a:lnTo>
                      <a:pt x="135" y="327"/>
                    </a:lnTo>
                    <a:lnTo>
                      <a:pt x="128" y="331"/>
                    </a:lnTo>
                    <a:lnTo>
                      <a:pt x="113" y="342"/>
                    </a:lnTo>
                    <a:lnTo>
                      <a:pt x="97" y="353"/>
                    </a:lnTo>
                    <a:lnTo>
                      <a:pt x="90" y="358"/>
                    </a:lnTo>
                    <a:lnTo>
                      <a:pt x="80" y="363"/>
                    </a:lnTo>
                    <a:lnTo>
                      <a:pt x="71" y="366"/>
                    </a:lnTo>
                    <a:lnTo>
                      <a:pt x="60" y="370"/>
                    </a:lnTo>
                    <a:lnTo>
                      <a:pt x="46" y="371"/>
                    </a:lnTo>
                    <a:lnTo>
                      <a:pt x="25" y="371"/>
                    </a:lnTo>
                    <a:lnTo>
                      <a:pt x="8" y="371"/>
                    </a:lnTo>
                    <a:lnTo>
                      <a:pt x="0" y="374"/>
                    </a:lnTo>
                    <a:lnTo>
                      <a:pt x="4" y="380"/>
                    </a:lnTo>
                    <a:lnTo>
                      <a:pt x="10" y="387"/>
                    </a:lnTo>
                    <a:lnTo>
                      <a:pt x="18" y="393"/>
                    </a:lnTo>
                    <a:lnTo>
                      <a:pt x="26" y="401"/>
                    </a:lnTo>
                    <a:lnTo>
                      <a:pt x="46" y="412"/>
                    </a:lnTo>
                    <a:lnTo>
                      <a:pt x="60" y="419"/>
                    </a:lnTo>
                    <a:lnTo>
                      <a:pt x="87" y="430"/>
                    </a:lnTo>
                    <a:lnTo>
                      <a:pt x="112" y="440"/>
                    </a:lnTo>
                    <a:lnTo>
                      <a:pt x="136" y="451"/>
                    </a:lnTo>
                    <a:lnTo>
                      <a:pt x="161" y="462"/>
                    </a:lnTo>
                    <a:lnTo>
                      <a:pt x="184" y="474"/>
                    </a:lnTo>
                    <a:lnTo>
                      <a:pt x="206" y="488"/>
                    </a:lnTo>
                    <a:lnTo>
                      <a:pt x="228" y="504"/>
                    </a:lnTo>
                    <a:lnTo>
                      <a:pt x="250" y="522"/>
                    </a:lnTo>
                    <a:lnTo>
                      <a:pt x="258" y="529"/>
                    </a:lnTo>
                    <a:lnTo>
                      <a:pt x="265" y="534"/>
                    </a:lnTo>
                    <a:lnTo>
                      <a:pt x="270" y="538"/>
                    </a:lnTo>
                    <a:lnTo>
                      <a:pt x="276" y="540"/>
                    </a:lnTo>
                    <a:lnTo>
                      <a:pt x="280" y="542"/>
                    </a:lnTo>
                    <a:lnTo>
                      <a:pt x="283" y="540"/>
                    </a:lnTo>
                    <a:lnTo>
                      <a:pt x="286" y="539"/>
                    </a:lnTo>
                    <a:lnTo>
                      <a:pt x="288" y="537"/>
                    </a:lnTo>
                    <a:lnTo>
                      <a:pt x="292" y="529"/>
                    </a:lnTo>
                    <a:lnTo>
                      <a:pt x="293" y="518"/>
                    </a:lnTo>
                    <a:lnTo>
                      <a:pt x="294" y="506"/>
                    </a:lnTo>
                    <a:lnTo>
                      <a:pt x="294" y="493"/>
                    </a:lnTo>
                    <a:lnTo>
                      <a:pt x="294" y="478"/>
                    </a:lnTo>
                    <a:lnTo>
                      <a:pt x="295" y="464"/>
                    </a:lnTo>
                    <a:lnTo>
                      <a:pt x="297" y="458"/>
                    </a:lnTo>
                    <a:lnTo>
                      <a:pt x="299" y="452"/>
                    </a:lnTo>
                    <a:lnTo>
                      <a:pt x="300" y="447"/>
                    </a:lnTo>
                    <a:lnTo>
                      <a:pt x="303" y="442"/>
                    </a:lnTo>
                    <a:lnTo>
                      <a:pt x="306" y="439"/>
                    </a:lnTo>
                    <a:lnTo>
                      <a:pt x="310" y="436"/>
                    </a:lnTo>
                    <a:lnTo>
                      <a:pt x="315" y="434"/>
                    </a:lnTo>
                    <a:lnTo>
                      <a:pt x="320" y="433"/>
                    </a:lnTo>
                    <a:lnTo>
                      <a:pt x="326" y="433"/>
                    </a:lnTo>
                    <a:lnTo>
                      <a:pt x="333" y="434"/>
                    </a:lnTo>
                    <a:lnTo>
                      <a:pt x="342" y="437"/>
                    </a:lnTo>
                    <a:lnTo>
                      <a:pt x="352" y="441"/>
                    </a:lnTo>
                    <a:lnTo>
                      <a:pt x="358" y="442"/>
                    </a:lnTo>
                    <a:lnTo>
                      <a:pt x="364" y="444"/>
                    </a:lnTo>
                    <a:lnTo>
                      <a:pt x="369" y="445"/>
                    </a:lnTo>
                    <a:lnTo>
                      <a:pt x="375" y="447"/>
                    </a:lnTo>
                    <a:lnTo>
                      <a:pt x="386" y="453"/>
                    </a:lnTo>
                    <a:lnTo>
                      <a:pt x="397" y="461"/>
                    </a:lnTo>
                    <a:lnTo>
                      <a:pt x="418" y="478"/>
                    </a:lnTo>
                    <a:lnTo>
                      <a:pt x="439" y="491"/>
                    </a:lnTo>
                    <a:lnTo>
                      <a:pt x="447" y="494"/>
                    </a:lnTo>
                    <a:lnTo>
                      <a:pt x="456" y="495"/>
                    </a:lnTo>
                    <a:lnTo>
                      <a:pt x="466" y="497"/>
                    </a:lnTo>
                    <a:lnTo>
                      <a:pt x="475" y="497"/>
                    </a:lnTo>
                    <a:lnTo>
                      <a:pt x="485" y="499"/>
                    </a:lnTo>
                    <a:lnTo>
                      <a:pt x="494" y="500"/>
                    </a:lnTo>
                    <a:lnTo>
                      <a:pt x="501" y="502"/>
                    </a:lnTo>
                    <a:lnTo>
                      <a:pt x="506" y="505"/>
                    </a:lnTo>
                    <a:lnTo>
                      <a:pt x="513" y="511"/>
                    </a:lnTo>
                    <a:lnTo>
                      <a:pt x="518" y="518"/>
                    </a:lnTo>
                    <a:lnTo>
                      <a:pt x="523" y="528"/>
                    </a:lnTo>
                    <a:lnTo>
                      <a:pt x="527" y="538"/>
                    </a:lnTo>
                    <a:lnTo>
                      <a:pt x="532" y="562"/>
                    </a:lnTo>
                    <a:lnTo>
                      <a:pt x="534" y="587"/>
                    </a:lnTo>
                    <a:lnTo>
                      <a:pt x="537" y="610"/>
                    </a:lnTo>
                    <a:lnTo>
                      <a:pt x="539" y="630"/>
                    </a:lnTo>
                    <a:lnTo>
                      <a:pt x="540" y="637"/>
                    </a:lnTo>
                    <a:lnTo>
                      <a:pt x="543" y="642"/>
                    </a:lnTo>
                    <a:lnTo>
                      <a:pt x="544" y="644"/>
                    </a:lnTo>
                    <a:lnTo>
                      <a:pt x="546" y="644"/>
                    </a:lnTo>
                    <a:lnTo>
                      <a:pt x="548" y="646"/>
                    </a:lnTo>
                    <a:lnTo>
                      <a:pt x="549" y="646"/>
                    </a:lnTo>
                    <a:lnTo>
                      <a:pt x="556" y="643"/>
                    </a:lnTo>
                    <a:lnTo>
                      <a:pt x="561" y="640"/>
                    </a:lnTo>
                    <a:lnTo>
                      <a:pt x="566" y="636"/>
                    </a:lnTo>
                    <a:lnTo>
                      <a:pt x="570" y="632"/>
                    </a:lnTo>
                    <a:lnTo>
                      <a:pt x="572" y="627"/>
                    </a:lnTo>
                    <a:lnTo>
                      <a:pt x="575" y="622"/>
                    </a:lnTo>
                    <a:lnTo>
                      <a:pt x="577" y="616"/>
                    </a:lnTo>
                    <a:lnTo>
                      <a:pt x="578" y="610"/>
                    </a:lnTo>
                    <a:lnTo>
                      <a:pt x="582" y="583"/>
                    </a:lnTo>
                    <a:lnTo>
                      <a:pt x="583" y="554"/>
                    </a:lnTo>
                    <a:lnTo>
                      <a:pt x="586" y="540"/>
                    </a:lnTo>
                    <a:lnTo>
                      <a:pt x="589" y="526"/>
                    </a:lnTo>
                    <a:lnTo>
                      <a:pt x="592" y="520"/>
                    </a:lnTo>
                    <a:lnTo>
                      <a:pt x="595" y="512"/>
                    </a:lnTo>
                    <a:lnTo>
                      <a:pt x="599" y="506"/>
                    </a:lnTo>
                    <a:lnTo>
                      <a:pt x="604" y="501"/>
                    </a:lnTo>
                    <a:lnTo>
                      <a:pt x="609" y="495"/>
                    </a:lnTo>
                    <a:lnTo>
                      <a:pt x="616" y="490"/>
                    </a:lnTo>
                    <a:lnTo>
                      <a:pt x="623" y="486"/>
                    </a:lnTo>
                    <a:lnTo>
                      <a:pt x="632" y="483"/>
                    </a:lnTo>
                    <a:lnTo>
                      <a:pt x="641" y="479"/>
                    </a:lnTo>
                    <a:lnTo>
                      <a:pt x="652" y="477"/>
                    </a:lnTo>
                    <a:lnTo>
                      <a:pt x="664" y="474"/>
                    </a:lnTo>
                    <a:lnTo>
                      <a:pt x="677" y="473"/>
                    </a:lnTo>
                    <a:lnTo>
                      <a:pt x="682" y="473"/>
                    </a:lnTo>
                    <a:lnTo>
                      <a:pt x="686" y="471"/>
                    </a:lnTo>
                    <a:lnTo>
                      <a:pt x="688" y="468"/>
                    </a:lnTo>
                    <a:lnTo>
                      <a:pt x="691" y="464"/>
                    </a:lnTo>
                    <a:lnTo>
                      <a:pt x="696" y="456"/>
                    </a:lnTo>
                    <a:lnTo>
                      <a:pt x="699" y="445"/>
                    </a:lnTo>
                    <a:lnTo>
                      <a:pt x="704" y="434"/>
                    </a:lnTo>
                    <a:lnTo>
                      <a:pt x="710" y="424"/>
                    </a:lnTo>
                    <a:lnTo>
                      <a:pt x="714" y="419"/>
                    </a:lnTo>
                    <a:lnTo>
                      <a:pt x="718" y="415"/>
                    </a:lnTo>
                    <a:lnTo>
                      <a:pt x="723" y="413"/>
                    </a:lnTo>
                    <a:lnTo>
                      <a:pt x="729" y="411"/>
                    </a:lnTo>
                    <a:lnTo>
                      <a:pt x="735" y="409"/>
                    </a:lnTo>
                    <a:lnTo>
                      <a:pt x="741" y="409"/>
                    </a:lnTo>
                    <a:lnTo>
                      <a:pt x="747" y="409"/>
                    </a:lnTo>
                    <a:lnTo>
                      <a:pt x="753" y="411"/>
                    </a:lnTo>
                    <a:lnTo>
                      <a:pt x="765" y="413"/>
                    </a:lnTo>
                    <a:lnTo>
                      <a:pt x="775" y="418"/>
                    </a:lnTo>
                    <a:lnTo>
                      <a:pt x="786" y="423"/>
                    </a:lnTo>
                    <a:lnTo>
                      <a:pt x="797" y="426"/>
                    </a:lnTo>
                    <a:lnTo>
                      <a:pt x="803" y="428"/>
                    </a:lnTo>
                    <a:lnTo>
                      <a:pt x="808" y="428"/>
                    </a:lnTo>
                    <a:lnTo>
                      <a:pt x="814" y="428"/>
                    </a:lnTo>
                    <a:lnTo>
                      <a:pt x="822" y="428"/>
                    </a:lnTo>
                    <a:lnTo>
                      <a:pt x="828" y="425"/>
                    </a:lnTo>
                    <a:lnTo>
                      <a:pt x="834" y="422"/>
                    </a:lnTo>
                    <a:lnTo>
                      <a:pt x="840" y="418"/>
                    </a:lnTo>
                    <a:lnTo>
                      <a:pt x="846" y="413"/>
                    </a:lnTo>
                    <a:lnTo>
                      <a:pt x="859" y="401"/>
                    </a:lnTo>
                    <a:lnTo>
                      <a:pt x="870" y="390"/>
                    </a:lnTo>
                    <a:lnTo>
                      <a:pt x="876" y="386"/>
                    </a:lnTo>
                    <a:lnTo>
                      <a:pt x="882" y="382"/>
                    </a:lnTo>
                    <a:lnTo>
                      <a:pt x="887" y="379"/>
                    </a:lnTo>
                    <a:lnTo>
                      <a:pt x="893" y="378"/>
                    </a:lnTo>
                    <a:lnTo>
                      <a:pt x="899" y="379"/>
                    </a:lnTo>
                    <a:lnTo>
                      <a:pt x="905" y="381"/>
                    </a:lnTo>
                    <a:lnTo>
                      <a:pt x="911" y="386"/>
                    </a:lnTo>
                    <a:lnTo>
                      <a:pt x="917" y="393"/>
                    </a:lnTo>
                    <a:lnTo>
                      <a:pt x="926" y="403"/>
                    </a:lnTo>
                    <a:lnTo>
                      <a:pt x="937" y="414"/>
                    </a:lnTo>
                    <a:lnTo>
                      <a:pt x="949" y="425"/>
                    </a:lnTo>
                    <a:lnTo>
                      <a:pt x="963" y="433"/>
                    </a:lnTo>
                    <a:lnTo>
                      <a:pt x="970" y="435"/>
                    </a:lnTo>
                    <a:lnTo>
                      <a:pt x="976" y="436"/>
                    </a:lnTo>
                    <a:lnTo>
                      <a:pt x="982" y="436"/>
                    </a:lnTo>
                    <a:lnTo>
                      <a:pt x="988" y="435"/>
                    </a:lnTo>
                    <a:lnTo>
                      <a:pt x="994" y="431"/>
                    </a:lnTo>
                    <a:lnTo>
                      <a:pt x="998" y="426"/>
                    </a:lnTo>
                    <a:lnTo>
                      <a:pt x="1003" y="418"/>
                    </a:lnTo>
                    <a:lnTo>
                      <a:pt x="1005" y="408"/>
                    </a:lnTo>
                    <a:lnTo>
                      <a:pt x="1014" y="401"/>
                    </a:lnTo>
                    <a:lnTo>
                      <a:pt x="1025" y="395"/>
                    </a:lnTo>
                    <a:lnTo>
                      <a:pt x="1035" y="390"/>
                    </a:lnTo>
                    <a:lnTo>
                      <a:pt x="1047" y="385"/>
                    </a:lnTo>
                    <a:lnTo>
                      <a:pt x="1058" y="382"/>
                    </a:lnTo>
                    <a:lnTo>
                      <a:pt x="1070" y="381"/>
                    </a:lnTo>
                    <a:lnTo>
                      <a:pt x="1082" y="380"/>
                    </a:lnTo>
                    <a:lnTo>
                      <a:pt x="1094" y="381"/>
                    </a:lnTo>
                    <a:lnTo>
                      <a:pt x="1100" y="382"/>
                    </a:lnTo>
                    <a:lnTo>
                      <a:pt x="1105" y="384"/>
                    </a:lnTo>
                    <a:lnTo>
                      <a:pt x="1109" y="386"/>
                    </a:lnTo>
                    <a:lnTo>
                      <a:pt x="1113" y="389"/>
                    </a:lnTo>
                    <a:lnTo>
                      <a:pt x="1120" y="395"/>
                    </a:lnTo>
                    <a:lnTo>
                      <a:pt x="1127" y="401"/>
                    </a:lnTo>
                    <a:lnTo>
                      <a:pt x="1133" y="408"/>
                    </a:lnTo>
                    <a:lnTo>
                      <a:pt x="1140" y="414"/>
                    </a:lnTo>
                    <a:lnTo>
                      <a:pt x="1147" y="420"/>
                    </a:lnTo>
                    <a:lnTo>
                      <a:pt x="1156" y="425"/>
                    </a:lnTo>
                    <a:lnTo>
                      <a:pt x="1179" y="435"/>
                    </a:lnTo>
                    <a:lnTo>
                      <a:pt x="1200" y="442"/>
                    </a:lnTo>
                    <a:lnTo>
                      <a:pt x="1209" y="447"/>
                    </a:lnTo>
                    <a:lnTo>
                      <a:pt x="1217" y="451"/>
                    </a:lnTo>
                    <a:lnTo>
                      <a:pt x="1224" y="456"/>
                    </a:lnTo>
                    <a:lnTo>
                      <a:pt x="1231" y="461"/>
                    </a:lnTo>
                    <a:lnTo>
                      <a:pt x="1235" y="466"/>
                    </a:lnTo>
                    <a:lnTo>
                      <a:pt x="1240" y="473"/>
                    </a:lnTo>
                    <a:lnTo>
                      <a:pt x="1244" y="480"/>
                    </a:lnTo>
                    <a:lnTo>
                      <a:pt x="1247" y="489"/>
                    </a:lnTo>
                    <a:lnTo>
                      <a:pt x="1248" y="500"/>
                    </a:lnTo>
                    <a:lnTo>
                      <a:pt x="1248" y="511"/>
                    </a:lnTo>
                    <a:lnTo>
                      <a:pt x="1247" y="524"/>
                    </a:lnTo>
                    <a:lnTo>
                      <a:pt x="1245" y="540"/>
                    </a:lnTo>
                    <a:lnTo>
                      <a:pt x="1240" y="562"/>
                    </a:lnTo>
                    <a:lnTo>
                      <a:pt x="1237" y="581"/>
                    </a:lnTo>
                    <a:lnTo>
                      <a:pt x="1234" y="598"/>
                    </a:lnTo>
                    <a:lnTo>
                      <a:pt x="1233" y="613"/>
                    </a:lnTo>
                    <a:lnTo>
                      <a:pt x="1233" y="620"/>
                    </a:lnTo>
                    <a:lnTo>
                      <a:pt x="1234" y="627"/>
                    </a:lnTo>
                    <a:lnTo>
                      <a:pt x="1237" y="635"/>
                    </a:lnTo>
                    <a:lnTo>
                      <a:pt x="1240" y="643"/>
                    </a:lnTo>
                    <a:lnTo>
                      <a:pt x="1244" y="651"/>
                    </a:lnTo>
                    <a:lnTo>
                      <a:pt x="1250" y="659"/>
                    </a:lnTo>
                    <a:lnTo>
                      <a:pt x="1258" y="668"/>
                    </a:lnTo>
                    <a:lnTo>
                      <a:pt x="1266" y="676"/>
                    </a:lnTo>
                    <a:lnTo>
                      <a:pt x="1273" y="684"/>
                    </a:lnTo>
                    <a:lnTo>
                      <a:pt x="1278" y="692"/>
                    </a:lnTo>
                    <a:lnTo>
                      <a:pt x="1282" y="699"/>
                    </a:lnTo>
                    <a:lnTo>
                      <a:pt x="1284" y="707"/>
                    </a:lnTo>
                    <a:lnTo>
                      <a:pt x="1289" y="724"/>
                    </a:lnTo>
                    <a:lnTo>
                      <a:pt x="1297" y="741"/>
                    </a:lnTo>
                    <a:lnTo>
                      <a:pt x="1314" y="773"/>
                    </a:lnTo>
                    <a:lnTo>
                      <a:pt x="1333" y="808"/>
                    </a:lnTo>
                    <a:lnTo>
                      <a:pt x="1337" y="817"/>
                    </a:lnTo>
                    <a:lnTo>
                      <a:pt x="1340" y="826"/>
                    </a:lnTo>
                    <a:lnTo>
                      <a:pt x="1341" y="834"/>
                    </a:lnTo>
                    <a:lnTo>
                      <a:pt x="1341" y="843"/>
                    </a:lnTo>
                    <a:lnTo>
                      <a:pt x="1338" y="850"/>
                    </a:lnTo>
                    <a:lnTo>
                      <a:pt x="1335" y="859"/>
                    </a:lnTo>
                    <a:lnTo>
                      <a:pt x="1329" y="866"/>
                    </a:lnTo>
                    <a:lnTo>
                      <a:pt x="1321" y="873"/>
                    </a:lnTo>
                    <a:lnTo>
                      <a:pt x="1309" y="888"/>
                    </a:lnTo>
                    <a:lnTo>
                      <a:pt x="1295" y="905"/>
                    </a:lnTo>
                    <a:lnTo>
                      <a:pt x="1282" y="924"/>
                    </a:lnTo>
                    <a:lnTo>
                      <a:pt x="1270" y="943"/>
                    </a:lnTo>
                    <a:lnTo>
                      <a:pt x="1265" y="953"/>
                    </a:lnTo>
                    <a:lnTo>
                      <a:pt x="1260" y="963"/>
                    </a:lnTo>
                    <a:lnTo>
                      <a:pt x="1258" y="973"/>
                    </a:lnTo>
                    <a:lnTo>
                      <a:pt x="1256" y="982"/>
                    </a:lnTo>
                    <a:lnTo>
                      <a:pt x="1256" y="993"/>
                    </a:lnTo>
                    <a:lnTo>
                      <a:pt x="1259" y="1003"/>
                    </a:lnTo>
                    <a:lnTo>
                      <a:pt x="1262" y="1013"/>
                    </a:lnTo>
                    <a:lnTo>
                      <a:pt x="1269" y="1023"/>
                    </a:lnTo>
                    <a:lnTo>
                      <a:pt x="1273" y="1029"/>
                    </a:lnTo>
                    <a:lnTo>
                      <a:pt x="1280" y="1034"/>
                    </a:lnTo>
                    <a:lnTo>
                      <a:pt x="1284" y="1039"/>
                    </a:lnTo>
                    <a:lnTo>
                      <a:pt x="1291" y="1041"/>
                    </a:lnTo>
                    <a:lnTo>
                      <a:pt x="1302" y="1045"/>
                    </a:lnTo>
                    <a:lnTo>
                      <a:pt x="1314" y="1047"/>
                    </a:lnTo>
                    <a:lnTo>
                      <a:pt x="1326" y="1048"/>
                    </a:lnTo>
                    <a:lnTo>
                      <a:pt x="1338" y="1051"/>
                    </a:lnTo>
                    <a:lnTo>
                      <a:pt x="1343" y="1052"/>
                    </a:lnTo>
                    <a:lnTo>
                      <a:pt x="1349" y="1055"/>
                    </a:lnTo>
                    <a:lnTo>
                      <a:pt x="1355" y="1057"/>
                    </a:lnTo>
                    <a:lnTo>
                      <a:pt x="1360" y="1061"/>
                    </a:lnTo>
                    <a:lnTo>
                      <a:pt x="1374" y="1073"/>
                    </a:lnTo>
                    <a:lnTo>
                      <a:pt x="1387" y="1083"/>
                    </a:lnTo>
                    <a:lnTo>
                      <a:pt x="1395" y="1088"/>
                    </a:lnTo>
                    <a:lnTo>
                      <a:pt x="1402" y="1091"/>
                    </a:lnTo>
                    <a:lnTo>
                      <a:pt x="1411" y="1095"/>
                    </a:lnTo>
                    <a:lnTo>
                      <a:pt x="1419" y="1099"/>
                    </a:lnTo>
                    <a:lnTo>
                      <a:pt x="1444" y="1106"/>
                    </a:lnTo>
                    <a:lnTo>
                      <a:pt x="1475" y="1113"/>
                    </a:lnTo>
                    <a:lnTo>
                      <a:pt x="1491" y="1115"/>
                    </a:lnTo>
                    <a:lnTo>
                      <a:pt x="1506" y="1113"/>
                    </a:lnTo>
                    <a:lnTo>
                      <a:pt x="1512" y="1112"/>
                    </a:lnTo>
                    <a:lnTo>
                      <a:pt x="1518" y="1110"/>
                    </a:lnTo>
                    <a:lnTo>
                      <a:pt x="1523" y="1107"/>
                    </a:lnTo>
                    <a:lnTo>
                      <a:pt x="1528" y="1102"/>
                    </a:lnTo>
                    <a:lnTo>
                      <a:pt x="1532" y="1096"/>
                    </a:lnTo>
                    <a:lnTo>
                      <a:pt x="1533" y="1088"/>
                    </a:lnTo>
                    <a:lnTo>
                      <a:pt x="1533" y="1079"/>
                    </a:lnTo>
                    <a:lnTo>
                      <a:pt x="1532" y="1069"/>
                    </a:lnTo>
                    <a:lnTo>
                      <a:pt x="1528" y="1059"/>
                    </a:lnTo>
                    <a:lnTo>
                      <a:pt x="1524" y="1048"/>
                    </a:lnTo>
                    <a:lnTo>
                      <a:pt x="1518" y="1037"/>
                    </a:lnTo>
                    <a:lnTo>
                      <a:pt x="1513" y="1025"/>
                    </a:lnTo>
                    <a:lnTo>
                      <a:pt x="1500" y="1003"/>
                    </a:lnTo>
                    <a:lnTo>
                      <a:pt x="1488" y="981"/>
                    </a:lnTo>
                    <a:lnTo>
                      <a:pt x="1478" y="962"/>
                    </a:lnTo>
                    <a:lnTo>
                      <a:pt x="1472" y="946"/>
                    </a:lnTo>
                    <a:lnTo>
                      <a:pt x="1468" y="928"/>
                    </a:lnTo>
                    <a:lnTo>
                      <a:pt x="1466" y="910"/>
                    </a:lnTo>
                    <a:lnTo>
                      <a:pt x="1464" y="890"/>
                    </a:lnTo>
                    <a:lnTo>
                      <a:pt x="1463" y="872"/>
                    </a:lnTo>
                    <a:lnTo>
                      <a:pt x="1464" y="853"/>
                    </a:lnTo>
                    <a:lnTo>
                      <a:pt x="1468" y="835"/>
                    </a:lnTo>
                    <a:lnTo>
                      <a:pt x="1471" y="826"/>
                    </a:lnTo>
                    <a:lnTo>
                      <a:pt x="1473" y="817"/>
                    </a:lnTo>
                    <a:lnTo>
                      <a:pt x="1477" y="810"/>
                    </a:lnTo>
                    <a:lnTo>
                      <a:pt x="1480" y="802"/>
                    </a:lnTo>
                    <a:lnTo>
                      <a:pt x="1489" y="786"/>
                    </a:lnTo>
                    <a:lnTo>
                      <a:pt x="1494" y="773"/>
                    </a:lnTo>
                    <a:lnTo>
                      <a:pt x="1497" y="759"/>
                    </a:lnTo>
                    <a:lnTo>
                      <a:pt x="1499" y="746"/>
                    </a:lnTo>
                    <a:lnTo>
                      <a:pt x="1497" y="734"/>
                    </a:lnTo>
                    <a:lnTo>
                      <a:pt x="1494" y="720"/>
                    </a:lnTo>
                    <a:lnTo>
                      <a:pt x="1489" y="706"/>
                    </a:lnTo>
                    <a:lnTo>
                      <a:pt x="1482" y="688"/>
                    </a:lnTo>
                    <a:lnTo>
                      <a:pt x="1467" y="659"/>
                    </a:lnTo>
                    <a:lnTo>
                      <a:pt x="1456" y="628"/>
                    </a:lnTo>
                    <a:lnTo>
                      <a:pt x="1445" y="598"/>
                    </a:lnTo>
                    <a:lnTo>
                      <a:pt x="1437" y="566"/>
                    </a:lnTo>
                    <a:lnTo>
                      <a:pt x="1435" y="550"/>
                    </a:lnTo>
                    <a:lnTo>
                      <a:pt x="1433" y="533"/>
                    </a:lnTo>
                    <a:lnTo>
                      <a:pt x="1431" y="517"/>
                    </a:lnTo>
                    <a:lnTo>
                      <a:pt x="1430" y="501"/>
                    </a:lnTo>
                    <a:lnTo>
                      <a:pt x="1430" y="485"/>
                    </a:lnTo>
                    <a:lnTo>
                      <a:pt x="1431" y="468"/>
                    </a:lnTo>
                    <a:lnTo>
                      <a:pt x="1433" y="452"/>
                    </a:lnTo>
                    <a:lnTo>
                      <a:pt x="1436" y="436"/>
                    </a:lnTo>
                    <a:lnTo>
                      <a:pt x="1440" y="425"/>
                    </a:lnTo>
                    <a:lnTo>
                      <a:pt x="1442" y="415"/>
                    </a:lnTo>
                    <a:lnTo>
                      <a:pt x="1445" y="406"/>
                    </a:lnTo>
                    <a:lnTo>
                      <a:pt x="1446" y="397"/>
                    </a:lnTo>
                    <a:lnTo>
                      <a:pt x="1446" y="380"/>
                    </a:lnTo>
                    <a:lnTo>
                      <a:pt x="1445" y="364"/>
                    </a:lnTo>
                    <a:lnTo>
                      <a:pt x="1445" y="347"/>
                    </a:lnTo>
                    <a:lnTo>
                      <a:pt x="1446" y="330"/>
                    </a:lnTo>
                    <a:lnTo>
                      <a:pt x="1448" y="321"/>
                    </a:lnTo>
                    <a:lnTo>
                      <a:pt x="1452" y="311"/>
                    </a:lnTo>
                    <a:lnTo>
                      <a:pt x="1458" y="302"/>
                    </a:lnTo>
                    <a:lnTo>
                      <a:pt x="1464" y="291"/>
                    </a:lnTo>
                    <a:lnTo>
                      <a:pt x="1467" y="286"/>
                    </a:lnTo>
                    <a:lnTo>
                      <a:pt x="1468" y="280"/>
                    </a:lnTo>
                    <a:lnTo>
                      <a:pt x="1468" y="272"/>
                    </a:lnTo>
                    <a:lnTo>
                      <a:pt x="1468" y="264"/>
                    </a:lnTo>
                    <a:lnTo>
                      <a:pt x="1466" y="245"/>
                    </a:lnTo>
                    <a:lnTo>
                      <a:pt x="1462" y="226"/>
                    </a:lnTo>
                    <a:lnTo>
                      <a:pt x="1459" y="217"/>
                    </a:lnTo>
                    <a:lnTo>
                      <a:pt x="1457" y="209"/>
                    </a:lnTo>
                    <a:lnTo>
                      <a:pt x="1453" y="201"/>
                    </a:lnTo>
                    <a:lnTo>
                      <a:pt x="1450" y="196"/>
                    </a:lnTo>
                    <a:lnTo>
                      <a:pt x="1446" y="193"/>
                    </a:lnTo>
                    <a:lnTo>
                      <a:pt x="1442" y="190"/>
                    </a:lnTo>
                    <a:lnTo>
                      <a:pt x="1437" y="191"/>
                    </a:lnTo>
                    <a:lnTo>
                      <a:pt x="1434" y="195"/>
                    </a:lnTo>
                    <a:lnTo>
                      <a:pt x="1415" y="221"/>
                    </a:lnTo>
                    <a:lnTo>
                      <a:pt x="1396" y="248"/>
                    </a:lnTo>
                    <a:lnTo>
                      <a:pt x="1385" y="261"/>
                    </a:lnTo>
                    <a:lnTo>
                      <a:pt x="1373" y="271"/>
                    </a:lnTo>
                    <a:lnTo>
                      <a:pt x="1366" y="276"/>
                    </a:lnTo>
                    <a:lnTo>
                      <a:pt x="1359" y="280"/>
                    </a:lnTo>
                    <a:lnTo>
                      <a:pt x="1352" y="282"/>
                    </a:lnTo>
                    <a:lnTo>
                      <a:pt x="1344" y="283"/>
                    </a:lnTo>
                    <a:lnTo>
                      <a:pt x="1336" y="284"/>
                    </a:lnTo>
                    <a:lnTo>
                      <a:pt x="1329" y="284"/>
                    </a:lnTo>
                    <a:lnTo>
                      <a:pt x="1320" y="283"/>
                    </a:lnTo>
                    <a:lnTo>
                      <a:pt x="1313" y="281"/>
                    </a:lnTo>
                    <a:lnTo>
                      <a:pt x="1305" y="278"/>
                    </a:lnTo>
                    <a:lnTo>
                      <a:pt x="1298" y="275"/>
                    </a:lnTo>
                    <a:lnTo>
                      <a:pt x="1292" y="271"/>
                    </a:lnTo>
                    <a:lnTo>
                      <a:pt x="1286" y="266"/>
                    </a:lnTo>
                    <a:lnTo>
                      <a:pt x="1273" y="255"/>
                    </a:lnTo>
                    <a:lnTo>
                      <a:pt x="1262" y="243"/>
                    </a:lnTo>
                    <a:lnTo>
                      <a:pt x="1253" y="229"/>
                    </a:lnTo>
                    <a:lnTo>
                      <a:pt x="1245" y="216"/>
                    </a:lnTo>
                    <a:lnTo>
                      <a:pt x="1224" y="172"/>
                    </a:lnTo>
                    <a:lnTo>
                      <a:pt x="1215" y="147"/>
                    </a:lnTo>
                    <a:lnTo>
                      <a:pt x="1211" y="142"/>
                    </a:lnTo>
                    <a:lnTo>
                      <a:pt x="1206" y="140"/>
                    </a:lnTo>
                    <a:lnTo>
                      <a:pt x="1201" y="136"/>
                    </a:lnTo>
                    <a:lnTo>
                      <a:pt x="1195" y="134"/>
                    </a:lnTo>
                    <a:lnTo>
                      <a:pt x="1176" y="130"/>
                    </a:lnTo>
                    <a:lnTo>
                      <a:pt x="1146" y="128"/>
                    </a:lnTo>
                    <a:lnTo>
                      <a:pt x="1142" y="128"/>
                    </a:lnTo>
                    <a:lnTo>
                      <a:pt x="1140" y="130"/>
                    </a:lnTo>
                    <a:lnTo>
                      <a:pt x="1138" y="133"/>
                    </a:lnTo>
                    <a:lnTo>
                      <a:pt x="1138" y="138"/>
                    </a:lnTo>
                    <a:lnTo>
                      <a:pt x="1138" y="149"/>
                    </a:lnTo>
                    <a:lnTo>
                      <a:pt x="1139" y="161"/>
                    </a:lnTo>
                    <a:lnTo>
                      <a:pt x="1145" y="185"/>
                    </a:lnTo>
                    <a:lnTo>
                      <a:pt x="1149" y="200"/>
                    </a:lnTo>
                    <a:lnTo>
                      <a:pt x="1141" y="201"/>
                    </a:lnTo>
                    <a:lnTo>
                      <a:pt x="1135" y="201"/>
                    </a:lnTo>
                    <a:lnTo>
                      <a:pt x="1130" y="201"/>
                    </a:lnTo>
                    <a:lnTo>
                      <a:pt x="1125" y="199"/>
                    </a:lnTo>
                    <a:lnTo>
                      <a:pt x="1122" y="196"/>
                    </a:lnTo>
                    <a:lnTo>
                      <a:pt x="1118" y="193"/>
                    </a:lnTo>
                    <a:lnTo>
                      <a:pt x="1116" y="189"/>
                    </a:lnTo>
                    <a:lnTo>
                      <a:pt x="1113" y="184"/>
                    </a:lnTo>
                    <a:lnTo>
                      <a:pt x="1107" y="163"/>
                    </a:lnTo>
                    <a:lnTo>
                      <a:pt x="1100" y="142"/>
                    </a:lnTo>
                    <a:lnTo>
                      <a:pt x="1090" y="129"/>
                    </a:lnTo>
                    <a:lnTo>
                      <a:pt x="1078" y="115"/>
                    </a:lnTo>
                    <a:lnTo>
                      <a:pt x="1063" y="103"/>
                    </a:lnTo>
                    <a:lnTo>
                      <a:pt x="1047" y="91"/>
                    </a:lnTo>
                    <a:lnTo>
                      <a:pt x="1031" y="80"/>
                    </a:lnTo>
                    <a:lnTo>
                      <a:pt x="1014" y="70"/>
                    </a:lnTo>
                    <a:lnTo>
                      <a:pt x="997" y="64"/>
                    </a:lnTo>
                    <a:lnTo>
                      <a:pt x="981" y="59"/>
                    </a:lnTo>
                    <a:lnTo>
                      <a:pt x="975" y="57"/>
                    </a:lnTo>
                    <a:lnTo>
                      <a:pt x="969" y="54"/>
                    </a:lnTo>
                    <a:lnTo>
                      <a:pt x="964" y="52"/>
                    </a:lnTo>
                    <a:lnTo>
                      <a:pt x="960" y="48"/>
                    </a:lnTo>
                    <a:lnTo>
                      <a:pt x="953" y="40"/>
                    </a:lnTo>
                    <a:lnTo>
                      <a:pt x="947" y="31"/>
                    </a:lnTo>
                    <a:lnTo>
                      <a:pt x="941" y="22"/>
                    </a:lnTo>
                    <a:lnTo>
                      <a:pt x="934" y="14"/>
                    </a:lnTo>
                    <a:lnTo>
                      <a:pt x="931" y="10"/>
                    </a:lnTo>
                    <a:lnTo>
                      <a:pt x="927" y="7"/>
                    </a:lnTo>
                    <a:lnTo>
                      <a:pt x="923" y="4"/>
                    </a:lnTo>
                    <a:lnTo>
                      <a:pt x="918" y="2"/>
                    </a:lnTo>
                    <a:lnTo>
                      <a:pt x="912" y="0"/>
                    </a:lnTo>
                    <a:lnTo>
                      <a:pt x="907" y="2"/>
                    </a:lnTo>
                    <a:lnTo>
                      <a:pt x="905" y="4"/>
                    </a:lnTo>
                    <a:lnTo>
                      <a:pt x="903" y="9"/>
                    </a:lnTo>
                    <a:lnTo>
                      <a:pt x="901" y="14"/>
                    </a:lnTo>
                    <a:lnTo>
                      <a:pt x="901" y="21"/>
                    </a:lnTo>
                    <a:lnTo>
                      <a:pt x="903" y="29"/>
                    </a:lnTo>
                    <a:lnTo>
                      <a:pt x="903" y="37"/>
                    </a:lnTo>
                    <a:lnTo>
                      <a:pt x="906" y="54"/>
                    </a:lnTo>
                    <a:lnTo>
                      <a:pt x="911" y="70"/>
                    </a:lnTo>
                    <a:lnTo>
                      <a:pt x="915" y="82"/>
                    </a:lnTo>
                    <a:lnTo>
                      <a:pt x="918" y="91"/>
                    </a:lnTo>
                    <a:lnTo>
                      <a:pt x="927" y="96"/>
                    </a:lnTo>
                    <a:lnTo>
                      <a:pt x="934" y="102"/>
                    </a:lnTo>
                    <a:lnTo>
                      <a:pt x="942" y="109"/>
                    </a:lnTo>
                    <a:lnTo>
                      <a:pt x="948" y="118"/>
                    </a:lnTo>
                    <a:lnTo>
                      <a:pt x="954" y="127"/>
                    </a:lnTo>
                    <a:lnTo>
                      <a:pt x="961" y="134"/>
                    </a:lnTo>
                    <a:lnTo>
                      <a:pt x="967" y="141"/>
                    </a:lnTo>
                    <a:lnTo>
                      <a:pt x="975" y="147"/>
                    </a:lnTo>
                    <a:lnTo>
                      <a:pt x="989" y="157"/>
                    </a:lnTo>
                    <a:lnTo>
                      <a:pt x="1004" y="167"/>
                    </a:lnTo>
                    <a:lnTo>
                      <a:pt x="1019" y="174"/>
                    </a:lnTo>
                    <a:lnTo>
                      <a:pt x="1036" y="183"/>
                    </a:lnTo>
                    <a:lnTo>
                      <a:pt x="1056" y="190"/>
                    </a:lnTo>
                    <a:lnTo>
                      <a:pt x="1078" y="200"/>
                    </a:lnTo>
                    <a:lnTo>
                      <a:pt x="1087" y="206"/>
                    </a:lnTo>
                    <a:lnTo>
                      <a:pt x="1095" y="215"/>
                    </a:lnTo>
                    <a:lnTo>
                      <a:pt x="1098" y="218"/>
                    </a:lnTo>
                    <a:lnTo>
                      <a:pt x="1101" y="223"/>
                    </a:lnTo>
                    <a:lnTo>
                      <a:pt x="1102" y="229"/>
                    </a:lnTo>
                    <a:lnTo>
                      <a:pt x="1103" y="234"/>
                    </a:lnTo>
                    <a:lnTo>
                      <a:pt x="1102" y="239"/>
                    </a:lnTo>
                    <a:lnTo>
                      <a:pt x="1100" y="244"/>
                    </a:lnTo>
                    <a:lnTo>
                      <a:pt x="1097" y="248"/>
                    </a:lnTo>
                    <a:lnTo>
                      <a:pt x="1092" y="251"/>
                    </a:lnTo>
                    <a:lnTo>
                      <a:pt x="1080" y="258"/>
                    </a:lnTo>
                    <a:lnTo>
                      <a:pt x="1064" y="262"/>
                    </a:lnTo>
                    <a:lnTo>
                      <a:pt x="1032" y="270"/>
                    </a:lnTo>
                    <a:lnTo>
                      <a:pt x="1009" y="276"/>
                    </a:lnTo>
                    <a:lnTo>
                      <a:pt x="1007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1" name="Freeform 42"/>
              <p:cNvSpPr>
                <a:spLocks/>
              </p:cNvSpPr>
              <p:nvPr/>
            </p:nvSpPr>
            <p:spPr bwMode="auto">
              <a:xfrm>
                <a:off x="1711325" y="8170255"/>
                <a:ext cx="458788" cy="233363"/>
              </a:xfrm>
              <a:custGeom>
                <a:avLst/>
                <a:gdLst>
                  <a:gd name="T0" fmla="*/ 902 w 1157"/>
                  <a:gd name="T1" fmla="*/ 230 h 589"/>
                  <a:gd name="T2" fmla="*/ 918 w 1157"/>
                  <a:gd name="T3" fmla="*/ 160 h 589"/>
                  <a:gd name="T4" fmla="*/ 893 w 1157"/>
                  <a:gd name="T5" fmla="*/ 137 h 589"/>
                  <a:gd name="T6" fmla="*/ 792 w 1157"/>
                  <a:gd name="T7" fmla="*/ 143 h 589"/>
                  <a:gd name="T8" fmla="*/ 723 w 1157"/>
                  <a:gd name="T9" fmla="*/ 182 h 589"/>
                  <a:gd name="T10" fmla="*/ 687 w 1157"/>
                  <a:gd name="T11" fmla="*/ 251 h 589"/>
                  <a:gd name="T12" fmla="*/ 647 w 1157"/>
                  <a:gd name="T13" fmla="*/ 246 h 589"/>
                  <a:gd name="T14" fmla="*/ 611 w 1157"/>
                  <a:gd name="T15" fmla="*/ 235 h 589"/>
                  <a:gd name="T16" fmla="*/ 576 w 1157"/>
                  <a:gd name="T17" fmla="*/ 294 h 589"/>
                  <a:gd name="T18" fmla="*/ 517 w 1157"/>
                  <a:gd name="T19" fmla="*/ 305 h 589"/>
                  <a:gd name="T20" fmla="*/ 477 w 1157"/>
                  <a:gd name="T21" fmla="*/ 348 h 589"/>
                  <a:gd name="T22" fmla="*/ 501 w 1157"/>
                  <a:gd name="T23" fmla="*/ 398 h 589"/>
                  <a:gd name="T24" fmla="*/ 559 w 1157"/>
                  <a:gd name="T25" fmla="*/ 464 h 589"/>
                  <a:gd name="T26" fmla="*/ 524 w 1157"/>
                  <a:gd name="T27" fmla="*/ 517 h 589"/>
                  <a:gd name="T28" fmla="*/ 477 w 1157"/>
                  <a:gd name="T29" fmla="*/ 518 h 589"/>
                  <a:gd name="T30" fmla="*/ 421 w 1157"/>
                  <a:gd name="T31" fmla="*/ 471 h 589"/>
                  <a:gd name="T32" fmla="*/ 366 w 1157"/>
                  <a:gd name="T33" fmla="*/ 481 h 589"/>
                  <a:gd name="T34" fmla="*/ 317 w 1157"/>
                  <a:gd name="T35" fmla="*/ 551 h 589"/>
                  <a:gd name="T36" fmla="*/ 294 w 1157"/>
                  <a:gd name="T37" fmla="*/ 518 h 589"/>
                  <a:gd name="T38" fmla="*/ 259 w 1157"/>
                  <a:gd name="T39" fmla="*/ 511 h 589"/>
                  <a:gd name="T40" fmla="*/ 190 w 1157"/>
                  <a:gd name="T41" fmla="*/ 542 h 589"/>
                  <a:gd name="T42" fmla="*/ 175 w 1157"/>
                  <a:gd name="T43" fmla="*/ 588 h 589"/>
                  <a:gd name="T44" fmla="*/ 123 w 1157"/>
                  <a:gd name="T45" fmla="*/ 535 h 589"/>
                  <a:gd name="T46" fmla="*/ 80 w 1157"/>
                  <a:gd name="T47" fmla="*/ 553 h 589"/>
                  <a:gd name="T48" fmla="*/ 31 w 1157"/>
                  <a:gd name="T49" fmla="*/ 535 h 589"/>
                  <a:gd name="T50" fmla="*/ 3 w 1157"/>
                  <a:gd name="T51" fmla="*/ 477 h 589"/>
                  <a:gd name="T52" fmla="*/ 73 w 1157"/>
                  <a:gd name="T53" fmla="*/ 454 h 589"/>
                  <a:gd name="T54" fmla="*/ 93 w 1157"/>
                  <a:gd name="T55" fmla="*/ 364 h 589"/>
                  <a:gd name="T56" fmla="*/ 89 w 1157"/>
                  <a:gd name="T57" fmla="*/ 239 h 589"/>
                  <a:gd name="T58" fmla="*/ 148 w 1157"/>
                  <a:gd name="T59" fmla="*/ 304 h 589"/>
                  <a:gd name="T60" fmla="*/ 235 w 1157"/>
                  <a:gd name="T61" fmla="*/ 373 h 589"/>
                  <a:gd name="T62" fmla="*/ 292 w 1157"/>
                  <a:gd name="T63" fmla="*/ 364 h 589"/>
                  <a:gd name="T64" fmla="*/ 346 w 1157"/>
                  <a:gd name="T65" fmla="*/ 290 h 589"/>
                  <a:gd name="T66" fmla="*/ 395 w 1157"/>
                  <a:gd name="T67" fmla="*/ 261 h 589"/>
                  <a:gd name="T68" fmla="*/ 410 w 1157"/>
                  <a:gd name="T69" fmla="*/ 198 h 589"/>
                  <a:gd name="T70" fmla="*/ 354 w 1157"/>
                  <a:gd name="T71" fmla="*/ 186 h 589"/>
                  <a:gd name="T72" fmla="*/ 289 w 1157"/>
                  <a:gd name="T73" fmla="*/ 158 h 589"/>
                  <a:gd name="T74" fmla="*/ 242 w 1157"/>
                  <a:gd name="T75" fmla="*/ 165 h 589"/>
                  <a:gd name="T76" fmla="*/ 216 w 1157"/>
                  <a:gd name="T77" fmla="*/ 127 h 589"/>
                  <a:gd name="T78" fmla="*/ 172 w 1157"/>
                  <a:gd name="T79" fmla="*/ 5 h 589"/>
                  <a:gd name="T80" fmla="*/ 219 w 1157"/>
                  <a:gd name="T81" fmla="*/ 10 h 589"/>
                  <a:gd name="T82" fmla="*/ 335 w 1157"/>
                  <a:gd name="T83" fmla="*/ 103 h 589"/>
                  <a:gd name="T84" fmla="*/ 388 w 1157"/>
                  <a:gd name="T85" fmla="*/ 122 h 589"/>
                  <a:gd name="T86" fmla="*/ 439 w 1157"/>
                  <a:gd name="T87" fmla="*/ 75 h 589"/>
                  <a:gd name="T88" fmla="*/ 467 w 1157"/>
                  <a:gd name="T89" fmla="*/ 65 h 589"/>
                  <a:gd name="T90" fmla="*/ 539 w 1157"/>
                  <a:gd name="T91" fmla="*/ 109 h 589"/>
                  <a:gd name="T92" fmla="*/ 670 w 1157"/>
                  <a:gd name="T93" fmla="*/ 109 h 589"/>
                  <a:gd name="T94" fmla="*/ 686 w 1157"/>
                  <a:gd name="T95" fmla="*/ 71 h 589"/>
                  <a:gd name="T96" fmla="*/ 681 w 1157"/>
                  <a:gd name="T97" fmla="*/ 15 h 589"/>
                  <a:gd name="T98" fmla="*/ 797 w 1157"/>
                  <a:gd name="T99" fmla="*/ 22 h 589"/>
                  <a:gd name="T100" fmla="*/ 878 w 1157"/>
                  <a:gd name="T101" fmla="*/ 60 h 589"/>
                  <a:gd name="T102" fmla="*/ 976 w 1157"/>
                  <a:gd name="T103" fmla="*/ 53 h 589"/>
                  <a:gd name="T104" fmla="*/ 1102 w 1157"/>
                  <a:gd name="T105" fmla="*/ 32 h 589"/>
                  <a:gd name="T106" fmla="*/ 1153 w 1157"/>
                  <a:gd name="T107" fmla="*/ 67 h 589"/>
                  <a:gd name="T108" fmla="*/ 1142 w 1157"/>
                  <a:gd name="T109" fmla="*/ 147 h 589"/>
                  <a:gd name="T110" fmla="*/ 1149 w 1157"/>
                  <a:gd name="T111" fmla="*/ 211 h 589"/>
                  <a:gd name="T112" fmla="*/ 1128 w 1157"/>
                  <a:gd name="T113" fmla="*/ 252 h 589"/>
                  <a:gd name="T114" fmla="*/ 1093 w 1157"/>
                  <a:gd name="T115" fmla="*/ 233 h 589"/>
                  <a:gd name="T116" fmla="*/ 1032 w 1157"/>
                  <a:gd name="T117" fmla="*/ 184 h 589"/>
                  <a:gd name="T118" fmla="*/ 991 w 1157"/>
                  <a:gd name="T119" fmla="*/ 208 h 589"/>
                  <a:gd name="T120" fmla="*/ 926 w 1157"/>
                  <a:gd name="T121" fmla="*/ 244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57" h="589">
                    <a:moveTo>
                      <a:pt x="926" y="244"/>
                    </a:moveTo>
                    <a:lnTo>
                      <a:pt x="920" y="242"/>
                    </a:lnTo>
                    <a:lnTo>
                      <a:pt x="913" y="241"/>
                    </a:lnTo>
                    <a:lnTo>
                      <a:pt x="910" y="239"/>
                    </a:lnTo>
                    <a:lnTo>
                      <a:pt x="906" y="236"/>
                    </a:lnTo>
                    <a:lnTo>
                      <a:pt x="904" y="234"/>
                    </a:lnTo>
                    <a:lnTo>
                      <a:pt x="902" y="230"/>
                    </a:lnTo>
                    <a:lnTo>
                      <a:pt x="902" y="226"/>
                    </a:lnTo>
                    <a:lnTo>
                      <a:pt x="902" y="223"/>
                    </a:lnTo>
                    <a:lnTo>
                      <a:pt x="907" y="204"/>
                    </a:lnTo>
                    <a:lnTo>
                      <a:pt x="915" y="185"/>
                    </a:lnTo>
                    <a:lnTo>
                      <a:pt x="917" y="174"/>
                    </a:lnTo>
                    <a:lnTo>
                      <a:pt x="920" y="164"/>
                    </a:lnTo>
                    <a:lnTo>
                      <a:pt x="918" y="160"/>
                    </a:lnTo>
                    <a:lnTo>
                      <a:pt x="918" y="155"/>
                    </a:lnTo>
                    <a:lnTo>
                      <a:pt x="916" y="152"/>
                    </a:lnTo>
                    <a:lnTo>
                      <a:pt x="913" y="148"/>
                    </a:lnTo>
                    <a:lnTo>
                      <a:pt x="911" y="144"/>
                    </a:lnTo>
                    <a:lnTo>
                      <a:pt x="906" y="142"/>
                    </a:lnTo>
                    <a:lnTo>
                      <a:pt x="900" y="140"/>
                    </a:lnTo>
                    <a:lnTo>
                      <a:pt x="893" y="137"/>
                    </a:lnTo>
                    <a:lnTo>
                      <a:pt x="885" y="136"/>
                    </a:lnTo>
                    <a:lnTo>
                      <a:pt x="876" y="135"/>
                    </a:lnTo>
                    <a:lnTo>
                      <a:pt x="863" y="135"/>
                    </a:lnTo>
                    <a:lnTo>
                      <a:pt x="851" y="135"/>
                    </a:lnTo>
                    <a:lnTo>
                      <a:pt x="833" y="136"/>
                    </a:lnTo>
                    <a:lnTo>
                      <a:pt x="813" y="138"/>
                    </a:lnTo>
                    <a:lnTo>
                      <a:pt x="792" y="143"/>
                    </a:lnTo>
                    <a:lnTo>
                      <a:pt x="772" y="149"/>
                    </a:lnTo>
                    <a:lnTo>
                      <a:pt x="762" y="154"/>
                    </a:lnTo>
                    <a:lnTo>
                      <a:pt x="753" y="158"/>
                    </a:lnTo>
                    <a:lnTo>
                      <a:pt x="745" y="164"/>
                    </a:lnTo>
                    <a:lnTo>
                      <a:pt x="736" y="169"/>
                    </a:lnTo>
                    <a:lnTo>
                      <a:pt x="729" y="175"/>
                    </a:lnTo>
                    <a:lnTo>
                      <a:pt x="723" y="182"/>
                    </a:lnTo>
                    <a:lnTo>
                      <a:pt x="718" y="190"/>
                    </a:lnTo>
                    <a:lnTo>
                      <a:pt x="714" y="197"/>
                    </a:lnTo>
                    <a:lnTo>
                      <a:pt x="705" y="217"/>
                    </a:lnTo>
                    <a:lnTo>
                      <a:pt x="698" y="234"/>
                    </a:lnTo>
                    <a:lnTo>
                      <a:pt x="694" y="240"/>
                    </a:lnTo>
                    <a:lnTo>
                      <a:pt x="691" y="246"/>
                    </a:lnTo>
                    <a:lnTo>
                      <a:pt x="687" y="251"/>
                    </a:lnTo>
                    <a:lnTo>
                      <a:pt x="682" y="255"/>
                    </a:lnTo>
                    <a:lnTo>
                      <a:pt x="677" y="256"/>
                    </a:lnTo>
                    <a:lnTo>
                      <a:pt x="672" y="257"/>
                    </a:lnTo>
                    <a:lnTo>
                      <a:pt x="667" y="257"/>
                    </a:lnTo>
                    <a:lnTo>
                      <a:pt x="661" y="255"/>
                    </a:lnTo>
                    <a:lnTo>
                      <a:pt x="654" y="252"/>
                    </a:lnTo>
                    <a:lnTo>
                      <a:pt x="647" y="246"/>
                    </a:lnTo>
                    <a:lnTo>
                      <a:pt x="639" y="240"/>
                    </a:lnTo>
                    <a:lnTo>
                      <a:pt x="630" y="231"/>
                    </a:lnTo>
                    <a:lnTo>
                      <a:pt x="627" y="229"/>
                    </a:lnTo>
                    <a:lnTo>
                      <a:pt x="623" y="228"/>
                    </a:lnTo>
                    <a:lnTo>
                      <a:pt x="620" y="228"/>
                    </a:lnTo>
                    <a:lnTo>
                      <a:pt x="617" y="229"/>
                    </a:lnTo>
                    <a:lnTo>
                      <a:pt x="611" y="235"/>
                    </a:lnTo>
                    <a:lnTo>
                      <a:pt x="606" y="244"/>
                    </a:lnTo>
                    <a:lnTo>
                      <a:pt x="598" y="263"/>
                    </a:lnTo>
                    <a:lnTo>
                      <a:pt x="592" y="278"/>
                    </a:lnTo>
                    <a:lnTo>
                      <a:pt x="588" y="283"/>
                    </a:lnTo>
                    <a:lnTo>
                      <a:pt x="584" y="288"/>
                    </a:lnTo>
                    <a:lnTo>
                      <a:pt x="581" y="291"/>
                    </a:lnTo>
                    <a:lnTo>
                      <a:pt x="576" y="294"/>
                    </a:lnTo>
                    <a:lnTo>
                      <a:pt x="568" y="299"/>
                    </a:lnTo>
                    <a:lnTo>
                      <a:pt x="560" y="300"/>
                    </a:lnTo>
                    <a:lnTo>
                      <a:pt x="540" y="300"/>
                    </a:lnTo>
                    <a:lnTo>
                      <a:pt x="521" y="300"/>
                    </a:lnTo>
                    <a:lnTo>
                      <a:pt x="519" y="300"/>
                    </a:lnTo>
                    <a:lnTo>
                      <a:pt x="518" y="301"/>
                    </a:lnTo>
                    <a:lnTo>
                      <a:pt x="517" y="305"/>
                    </a:lnTo>
                    <a:lnTo>
                      <a:pt x="514" y="310"/>
                    </a:lnTo>
                    <a:lnTo>
                      <a:pt x="511" y="313"/>
                    </a:lnTo>
                    <a:lnTo>
                      <a:pt x="507" y="318"/>
                    </a:lnTo>
                    <a:lnTo>
                      <a:pt x="500" y="326"/>
                    </a:lnTo>
                    <a:lnTo>
                      <a:pt x="491" y="333"/>
                    </a:lnTo>
                    <a:lnTo>
                      <a:pt x="483" y="340"/>
                    </a:lnTo>
                    <a:lnTo>
                      <a:pt x="477" y="348"/>
                    </a:lnTo>
                    <a:lnTo>
                      <a:pt x="475" y="351"/>
                    </a:lnTo>
                    <a:lnTo>
                      <a:pt x="474" y="355"/>
                    </a:lnTo>
                    <a:lnTo>
                      <a:pt x="474" y="359"/>
                    </a:lnTo>
                    <a:lnTo>
                      <a:pt x="477" y="362"/>
                    </a:lnTo>
                    <a:lnTo>
                      <a:pt x="483" y="375"/>
                    </a:lnTo>
                    <a:lnTo>
                      <a:pt x="491" y="386"/>
                    </a:lnTo>
                    <a:lnTo>
                      <a:pt x="501" y="398"/>
                    </a:lnTo>
                    <a:lnTo>
                      <a:pt x="511" y="409"/>
                    </a:lnTo>
                    <a:lnTo>
                      <a:pt x="532" y="430"/>
                    </a:lnTo>
                    <a:lnTo>
                      <a:pt x="552" y="449"/>
                    </a:lnTo>
                    <a:lnTo>
                      <a:pt x="555" y="453"/>
                    </a:lnTo>
                    <a:lnTo>
                      <a:pt x="557" y="457"/>
                    </a:lnTo>
                    <a:lnTo>
                      <a:pt x="559" y="460"/>
                    </a:lnTo>
                    <a:lnTo>
                      <a:pt x="559" y="464"/>
                    </a:lnTo>
                    <a:lnTo>
                      <a:pt x="559" y="471"/>
                    </a:lnTo>
                    <a:lnTo>
                      <a:pt x="556" y="480"/>
                    </a:lnTo>
                    <a:lnTo>
                      <a:pt x="552" y="488"/>
                    </a:lnTo>
                    <a:lnTo>
                      <a:pt x="548" y="496"/>
                    </a:lnTo>
                    <a:lnTo>
                      <a:pt x="540" y="503"/>
                    </a:lnTo>
                    <a:lnTo>
                      <a:pt x="533" y="511"/>
                    </a:lnTo>
                    <a:lnTo>
                      <a:pt x="524" y="517"/>
                    </a:lnTo>
                    <a:lnTo>
                      <a:pt x="516" y="522"/>
                    </a:lnTo>
                    <a:lnTo>
                      <a:pt x="507" y="524"/>
                    </a:lnTo>
                    <a:lnTo>
                      <a:pt x="499" y="526"/>
                    </a:lnTo>
                    <a:lnTo>
                      <a:pt x="490" y="525"/>
                    </a:lnTo>
                    <a:lnTo>
                      <a:pt x="483" y="523"/>
                    </a:lnTo>
                    <a:lnTo>
                      <a:pt x="479" y="520"/>
                    </a:lnTo>
                    <a:lnTo>
                      <a:pt x="477" y="518"/>
                    </a:lnTo>
                    <a:lnTo>
                      <a:pt x="473" y="514"/>
                    </a:lnTo>
                    <a:lnTo>
                      <a:pt x="470" y="509"/>
                    </a:lnTo>
                    <a:lnTo>
                      <a:pt x="464" y="501"/>
                    </a:lnTo>
                    <a:lnTo>
                      <a:pt x="456" y="492"/>
                    </a:lnTo>
                    <a:lnTo>
                      <a:pt x="445" y="484"/>
                    </a:lnTo>
                    <a:lnTo>
                      <a:pt x="434" y="477"/>
                    </a:lnTo>
                    <a:lnTo>
                      <a:pt x="421" y="471"/>
                    </a:lnTo>
                    <a:lnTo>
                      <a:pt x="409" y="466"/>
                    </a:lnTo>
                    <a:lnTo>
                      <a:pt x="397" y="463"/>
                    </a:lnTo>
                    <a:lnTo>
                      <a:pt x="387" y="462"/>
                    </a:lnTo>
                    <a:lnTo>
                      <a:pt x="382" y="463"/>
                    </a:lnTo>
                    <a:lnTo>
                      <a:pt x="377" y="466"/>
                    </a:lnTo>
                    <a:lnTo>
                      <a:pt x="371" y="473"/>
                    </a:lnTo>
                    <a:lnTo>
                      <a:pt x="366" y="481"/>
                    </a:lnTo>
                    <a:lnTo>
                      <a:pt x="354" y="501"/>
                    </a:lnTo>
                    <a:lnTo>
                      <a:pt x="343" y="522"/>
                    </a:lnTo>
                    <a:lnTo>
                      <a:pt x="337" y="531"/>
                    </a:lnTo>
                    <a:lnTo>
                      <a:pt x="331" y="540"/>
                    </a:lnTo>
                    <a:lnTo>
                      <a:pt x="325" y="546"/>
                    </a:lnTo>
                    <a:lnTo>
                      <a:pt x="320" y="550"/>
                    </a:lnTo>
                    <a:lnTo>
                      <a:pt x="317" y="551"/>
                    </a:lnTo>
                    <a:lnTo>
                      <a:pt x="315" y="551"/>
                    </a:lnTo>
                    <a:lnTo>
                      <a:pt x="311" y="550"/>
                    </a:lnTo>
                    <a:lnTo>
                      <a:pt x="309" y="548"/>
                    </a:lnTo>
                    <a:lnTo>
                      <a:pt x="304" y="541"/>
                    </a:lnTo>
                    <a:lnTo>
                      <a:pt x="300" y="531"/>
                    </a:lnTo>
                    <a:lnTo>
                      <a:pt x="298" y="524"/>
                    </a:lnTo>
                    <a:lnTo>
                      <a:pt x="294" y="518"/>
                    </a:lnTo>
                    <a:lnTo>
                      <a:pt x="292" y="514"/>
                    </a:lnTo>
                    <a:lnTo>
                      <a:pt x="289" y="511"/>
                    </a:lnTo>
                    <a:lnTo>
                      <a:pt x="286" y="508"/>
                    </a:lnTo>
                    <a:lnTo>
                      <a:pt x="282" y="507"/>
                    </a:lnTo>
                    <a:lnTo>
                      <a:pt x="279" y="507"/>
                    </a:lnTo>
                    <a:lnTo>
                      <a:pt x="276" y="507"/>
                    </a:lnTo>
                    <a:lnTo>
                      <a:pt x="259" y="511"/>
                    </a:lnTo>
                    <a:lnTo>
                      <a:pt x="237" y="513"/>
                    </a:lnTo>
                    <a:lnTo>
                      <a:pt x="224" y="514"/>
                    </a:lnTo>
                    <a:lnTo>
                      <a:pt x="213" y="517"/>
                    </a:lnTo>
                    <a:lnTo>
                      <a:pt x="206" y="520"/>
                    </a:lnTo>
                    <a:lnTo>
                      <a:pt x="199" y="525"/>
                    </a:lnTo>
                    <a:lnTo>
                      <a:pt x="194" y="533"/>
                    </a:lnTo>
                    <a:lnTo>
                      <a:pt x="190" y="542"/>
                    </a:lnTo>
                    <a:lnTo>
                      <a:pt x="188" y="553"/>
                    </a:lnTo>
                    <a:lnTo>
                      <a:pt x="186" y="567"/>
                    </a:lnTo>
                    <a:lnTo>
                      <a:pt x="186" y="577"/>
                    </a:lnTo>
                    <a:lnTo>
                      <a:pt x="184" y="583"/>
                    </a:lnTo>
                    <a:lnTo>
                      <a:pt x="182" y="588"/>
                    </a:lnTo>
                    <a:lnTo>
                      <a:pt x="179" y="589"/>
                    </a:lnTo>
                    <a:lnTo>
                      <a:pt x="175" y="588"/>
                    </a:lnTo>
                    <a:lnTo>
                      <a:pt x="171" y="586"/>
                    </a:lnTo>
                    <a:lnTo>
                      <a:pt x="167" y="583"/>
                    </a:lnTo>
                    <a:lnTo>
                      <a:pt x="162" y="578"/>
                    </a:lnTo>
                    <a:lnTo>
                      <a:pt x="144" y="553"/>
                    </a:lnTo>
                    <a:lnTo>
                      <a:pt x="130" y="537"/>
                    </a:lnTo>
                    <a:lnTo>
                      <a:pt x="126" y="536"/>
                    </a:lnTo>
                    <a:lnTo>
                      <a:pt x="123" y="535"/>
                    </a:lnTo>
                    <a:lnTo>
                      <a:pt x="119" y="536"/>
                    </a:lnTo>
                    <a:lnTo>
                      <a:pt x="115" y="537"/>
                    </a:lnTo>
                    <a:lnTo>
                      <a:pt x="107" y="544"/>
                    </a:lnTo>
                    <a:lnTo>
                      <a:pt x="98" y="548"/>
                    </a:lnTo>
                    <a:lnTo>
                      <a:pt x="92" y="551"/>
                    </a:lnTo>
                    <a:lnTo>
                      <a:pt x="86" y="552"/>
                    </a:lnTo>
                    <a:lnTo>
                      <a:pt x="80" y="553"/>
                    </a:lnTo>
                    <a:lnTo>
                      <a:pt x="73" y="553"/>
                    </a:lnTo>
                    <a:lnTo>
                      <a:pt x="65" y="552"/>
                    </a:lnTo>
                    <a:lnTo>
                      <a:pt x="55" y="550"/>
                    </a:lnTo>
                    <a:lnTo>
                      <a:pt x="46" y="545"/>
                    </a:lnTo>
                    <a:lnTo>
                      <a:pt x="35" y="537"/>
                    </a:lnTo>
                    <a:lnTo>
                      <a:pt x="32" y="536"/>
                    </a:lnTo>
                    <a:lnTo>
                      <a:pt x="31" y="535"/>
                    </a:lnTo>
                    <a:lnTo>
                      <a:pt x="21" y="520"/>
                    </a:lnTo>
                    <a:lnTo>
                      <a:pt x="7" y="500"/>
                    </a:lnTo>
                    <a:lnTo>
                      <a:pt x="3" y="495"/>
                    </a:lnTo>
                    <a:lnTo>
                      <a:pt x="2" y="490"/>
                    </a:lnTo>
                    <a:lnTo>
                      <a:pt x="0" y="485"/>
                    </a:lnTo>
                    <a:lnTo>
                      <a:pt x="0" y="481"/>
                    </a:lnTo>
                    <a:lnTo>
                      <a:pt x="3" y="477"/>
                    </a:lnTo>
                    <a:lnTo>
                      <a:pt x="7" y="474"/>
                    </a:lnTo>
                    <a:lnTo>
                      <a:pt x="11" y="471"/>
                    </a:lnTo>
                    <a:lnTo>
                      <a:pt x="19" y="469"/>
                    </a:lnTo>
                    <a:lnTo>
                      <a:pt x="43" y="464"/>
                    </a:lnTo>
                    <a:lnTo>
                      <a:pt x="62" y="459"/>
                    </a:lnTo>
                    <a:lnTo>
                      <a:pt x="68" y="457"/>
                    </a:lnTo>
                    <a:lnTo>
                      <a:pt x="73" y="454"/>
                    </a:lnTo>
                    <a:lnTo>
                      <a:pt x="76" y="451"/>
                    </a:lnTo>
                    <a:lnTo>
                      <a:pt x="79" y="447"/>
                    </a:lnTo>
                    <a:lnTo>
                      <a:pt x="82" y="438"/>
                    </a:lnTo>
                    <a:lnTo>
                      <a:pt x="85" y="425"/>
                    </a:lnTo>
                    <a:lnTo>
                      <a:pt x="87" y="408"/>
                    </a:lnTo>
                    <a:lnTo>
                      <a:pt x="91" y="384"/>
                    </a:lnTo>
                    <a:lnTo>
                      <a:pt x="93" y="364"/>
                    </a:lnTo>
                    <a:lnTo>
                      <a:pt x="93" y="343"/>
                    </a:lnTo>
                    <a:lnTo>
                      <a:pt x="91" y="322"/>
                    </a:lnTo>
                    <a:lnTo>
                      <a:pt x="90" y="300"/>
                    </a:lnTo>
                    <a:lnTo>
                      <a:pt x="87" y="279"/>
                    </a:lnTo>
                    <a:lnTo>
                      <a:pt x="87" y="258"/>
                    </a:lnTo>
                    <a:lnTo>
                      <a:pt x="87" y="249"/>
                    </a:lnTo>
                    <a:lnTo>
                      <a:pt x="89" y="239"/>
                    </a:lnTo>
                    <a:lnTo>
                      <a:pt x="90" y="230"/>
                    </a:lnTo>
                    <a:lnTo>
                      <a:pt x="92" y="220"/>
                    </a:lnTo>
                    <a:lnTo>
                      <a:pt x="93" y="220"/>
                    </a:lnTo>
                    <a:lnTo>
                      <a:pt x="101" y="236"/>
                    </a:lnTo>
                    <a:lnTo>
                      <a:pt x="114" y="257"/>
                    </a:lnTo>
                    <a:lnTo>
                      <a:pt x="130" y="280"/>
                    </a:lnTo>
                    <a:lnTo>
                      <a:pt x="148" y="304"/>
                    </a:lnTo>
                    <a:lnTo>
                      <a:pt x="168" y="327"/>
                    </a:lnTo>
                    <a:lnTo>
                      <a:pt x="189" y="346"/>
                    </a:lnTo>
                    <a:lnTo>
                      <a:pt x="197" y="355"/>
                    </a:lnTo>
                    <a:lnTo>
                      <a:pt x="207" y="361"/>
                    </a:lnTo>
                    <a:lnTo>
                      <a:pt x="216" y="366"/>
                    </a:lnTo>
                    <a:lnTo>
                      <a:pt x="223" y="370"/>
                    </a:lnTo>
                    <a:lnTo>
                      <a:pt x="235" y="373"/>
                    </a:lnTo>
                    <a:lnTo>
                      <a:pt x="248" y="376"/>
                    </a:lnTo>
                    <a:lnTo>
                      <a:pt x="257" y="376"/>
                    </a:lnTo>
                    <a:lnTo>
                      <a:pt x="266" y="376"/>
                    </a:lnTo>
                    <a:lnTo>
                      <a:pt x="273" y="375"/>
                    </a:lnTo>
                    <a:lnTo>
                      <a:pt x="281" y="372"/>
                    </a:lnTo>
                    <a:lnTo>
                      <a:pt x="287" y="369"/>
                    </a:lnTo>
                    <a:lnTo>
                      <a:pt x="292" y="364"/>
                    </a:lnTo>
                    <a:lnTo>
                      <a:pt x="301" y="353"/>
                    </a:lnTo>
                    <a:lnTo>
                      <a:pt x="310" y="338"/>
                    </a:lnTo>
                    <a:lnTo>
                      <a:pt x="321" y="322"/>
                    </a:lnTo>
                    <a:lnTo>
                      <a:pt x="332" y="304"/>
                    </a:lnTo>
                    <a:lnTo>
                      <a:pt x="337" y="299"/>
                    </a:lnTo>
                    <a:lnTo>
                      <a:pt x="341" y="294"/>
                    </a:lnTo>
                    <a:lnTo>
                      <a:pt x="346" y="290"/>
                    </a:lnTo>
                    <a:lnTo>
                      <a:pt x="349" y="288"/>
                    </a:lnTo>
                    <a:lnTo>
                      <a:pt x="359" y="283"/>
                    </a:lnTo>
                    <a:lnTo>
                      <a:pt x="369" y="278"/>
                    </a:lnTo>
                    <a:lnTo>
                      <a:pt x="379" y="274"/>
                    </a:lnTo>
                    <a:lnTo>
                      <a:pt x="387" y="268"/>
                    </a:lnTo>
                    <a:lnTo>
                      <a:pt x="391" y="266"/>
                    </a:lnTo>
                    <a:lnTo>
                      <a:pt x="395" y="261"/>
                    </a:lnTo>
                    <a:lnTo>
                      <a:pt x="398" y="256"/>
                    </a:lnTo>
                    <a:lnTo>
                      <a:pt x="401" y="250"/>
                    </a:lnTo>
                    <a:lnTo>
                      <a:pt x="408" y="234"/>
                    </a:lnTo>
                    <a:lnTo>
                      <a:pt x="412" y="220"/>
                    </a:lnTo>
                    <a:lnTo>
                      <a:pt x="413" y="209"/>
                    </a:lnTo>
                    <a:lnTo>
                      <a:pt x="412" y="201"/>
                    </a:lnTo>
                    <a:lnTo>
                      <a:pt x="410" y="198"/>
                    </a:lnTo>
                    <a:lnTo>
                      <a:pt x="408" y="196"/>
                    </a:lnTo>
                    <a:lnTo>
                      <a:pt x="407" y="193"/>
                    </a:lnTo>
                    <a:lnTo>
                      <a:pt x="404" y="191"/>
                    </a:lnTo>
                    <a:lnTo>
                      <a:pt x="397" y="189"/>
                    </a:lnTo>
                    <a:lnTo>
                      <a:pt x="390" y="187"/>
                    </a:lnTo>
                    <a:lnTo>
                      <a:pt x="372" y="186"/>
                    </a:lnTo>
                    <a:lnTo>
                      <a:pt x="354" y="186"/>
                    </a:lnTo>
                    <a:lnTo>
                      <a:pt x="346" y="186"/>
                    </a:lnTo>
                    <a:lnTo>
                      <a:pt x="336" y="185"/>
                    </a:lnTo>
                    <a:lnTo>
                      <a:pt x="328" y="182"/>
                    </a:lnTo>
                    <a:lnTo>
                      <a:pt x="321" y="179"/>
                    </a:lnTo>
                    <a:lnTo>
                      <a:pt x="306" y="168"/>
                    </a:lnTo>
                    <a:lnTo>
                      <a:pt x="294" y="160"/>
                    </a:lnTo>
                    <a:lnTo>
                      <a:pt x="289" y="158"/>
                    </a:lnTo>
                    <a:lnTo>
                      <a:pt x="282" y="158"/>
                    </a:lnTo>
                    <a:lnTo>
                      <a:pt x="273" y="160"/>
                    </a:lnTo>
                    <a:lnTo>
                      <a:pt x="264" y="163"/>
                    </a:lnTo>
                    <a:lnTo>
                      <a:pt x="257" y="165"/>
                    </a:lnTo>
                    <a:lnTo>
                      <a:pt x="251" y="165"/>
                    </a:lnTo>
                    <a:lnTo>
                      <a:pt x="246" y="165"/>
                    </a:lnTo>
                    <a:lnTo>
                      <a:pt x="242" y="165"/>
                    </a:lnTo>
                    <a:lnTo>
                      <a:pt x="237" y="164"/>
                    </a:lnTo>
                    <a:lnTo>
                      <a:pt x="233" y="162"/>
                    </a:lnTo>
                    <a:lnTo>
                      <a:pt x="229" y="158"/>
                    </a:lnTo>
                    <a:lnTo>
                      <a:pt x="227" y="155"/>
                    </a:lnTo>
                    <a:lnTo>
                      <a:pt x="221" y="147"/>
                    </a:lnTo>
                    <a:lnTo>
                      <a:pt x="217" y="137"/>
                    </a:lnTo>
                    <a:lnTo>
                      <a:pt x="216" y="127"/>
                    </a:lnTo>
                    <a:lnTo>
                      <a:pt x="215" y="116"/>
                    </a:lnTo>
                    <a:lnTo>
                      <a:pt x="204" y="87"/>
                    </a:lnTo>
                    <a:lnTo>
                      <a:pt x="188" y="49"/>
                    </a:lnTo>
                    <a:lnTo>
                      <a:pt x="180" y="31"/>
                    </a:lnTo>
                    <a:lnTo>
                      <a:pt x="174" y="15"/>
                    </a:lnTo>
                    <a:lnTo>
                      <a:pt x="173" y="9"/>
                    </a:lnTo>
                    <a:lnTo>
                      <a:pt x="172" y="5"/>
                    </a:lnTo>
                    <a:lnTo>
                      <a:pt x="172" y="1"/>
                    </a:lnTo>
                    <a:lnTo>
                      <a:pt x="173" y="0"/>
                    </a:lnTo>
                    <a:lnTo>
                      <a:pt x="180" y="0"/>
                    </a:lnTo>
                    <a:lnTo>
                      <a:pt x="189" y="1"/>
                    </a:lnTo>
                    <a:lnTo>
                      <a:pt x="196" y="2"/>
                    </a:lnTo>
                    <a:lnTo>
                      <a:pt x="205" y="4"/>
                    </a:lnTo>
                    <a:lnTo>
                      <a:pt x="219" y="10"/>
                    </a:lnTo>
                    <a:lnTo>
                      <a:pt x="234" y="17"/>
                    </a:lnTo>
                    <a:lnTo>
                      <a:pt x="248" y="26"/>
                    </a:lnTo>
                    <a:lnTo>
                      <a:pt x="261" y="37"/>
                    </a:lnTo>
                    <a:lnTo>
                      <a:pt x="273" y="48"/>
                    </a:lnTo>
                    <a:lnTo>
                      <a:pt x="287" y="59"/>
                    </a:lnTo>
                    <a:lnTo>
                      <a:pt x="310" y="82"/>
                    </a:lnTo>
                    <a:lnTo>
                      <a:pt x="335" y="103"/>
                    </a:lnTo>
                    <a:lnTo>
                      <a:pt x="346" y="111"/>
                    </a:lnTo>
                    <a:lnTo>
                      <a:pt x="358" y="118"/>
                    </a:lnTo>
                    <a:lnTo>
                      <a:pt x="363" y="120"/>
                    </a:lnTo>
                    <a:lnTo>
                      <a:pt x="369" y="121"/>
                    </a:lnTo>
                    <a:lnTo>
                      <a:pt x="375" y="122"/>
                    </a:lnTo>
                    <a:lnTo>
                      <a:pt x="381" y="124"/>
                    </a:lnTo>
                    <a:lnTo>
                      <a:pt x="388" y="122"/>
                    </a:lnTo>
                    <a:lnTo>
                      <a:pt x="396" y="121"/>
                    </a:lnTo>
                    <a:lnTo>
                      <a:pt x="402" y="120"/>
                    </a:lnTo>
                    <a:lnTo>
                      <a:pt x="408" y="119"/>
                    </a:lnTo>
                    <a:lnTo>
                      <a:pt x="417" y="113"/>
                    </a:lnTo>
                    <a:lnTo>
                      <a:pt x="424" y="106"/>
                    </a:lnTo>
                    <a:lnTo>
                      <a:pt x="432" y="91"/>
                    </a:lnTo>
                    <a:lnTo>
                      <a:pt x="439" y="75"/>
                    </a:lnTo>
                    <a:lnTo>
                      <a:pt x="442" y="69"/>
                    </a:lnTo>
                    <a:lnTo>
                      <a:pt x="446" y="65"/>
                    </a:lnTo>
                    <a:lnTo>
                      <a:pt x="448" y="62"/>
                    </a:lnTo>
                    <a:lnTo>
                      <a:pt x="451" y="62"/>
                    </a:lnTo>
                    <a:lnTo>
                      <a:pt x="454" y="61"/>
                    </a:lnTo>
                    <a:lnTo>
                      <a:pt x="458" y="62"/>
                    </a:lnTo>
                    <a:lnTo>
                      <a:pt x="467" y="65"/>
                    </a:lnTo>
                    <a:lnTo>
                      <a:pt x="478" y="72"/>
                    </a:lnTo>
                    <a:lnTo>
                      <a:pt x="492" y="82"/>
                    </a:lnTo>
                    <a:lnTo>
                      <a:pt x="510" y="98"/>
                    </a:lnTo>
                    <a:lnTo>
                      <a:pt x="514" y="100"/>
                    </a:lnTo>
                    <a:lnTo>
                      <a:pt x="522" y="104"/>
                    </a:lnTo>
                    <a:lnTo>
                      <a:pt x="529" y="106"/>
                    </a:lnTo>
                    <a:lnTo>
                      <a:pt x="539" y="109"/>
                    </a:lnTo>
                    <a:lnTo>
                      <a:pt x="560" y="113"/>
                    </a:lnTo>
                    <a:lnTo>
                      <a:pt x="583" y="115"/>
                    </a:lnTo>
                    <a:lnTo>
                      <a:pt x="606" y="116"/>
                    </a:lnTo>
                    <a:lnTo>
                      <a:pt x="628" y="115"/>
                    </a:lnTo>
                    <a:lnTo>
                      <a:pt x="647" y="114"/>
                    </a:lnTo>
                    <a:lnTo>
                      <a:pt x="661" y="111"/>
                    </a:lnTo>
                    <a:lnTo>
                      <a:pt x="670" y="109"/>
                    </a:lnTo>
                    <a:lnTo>
                      <a:pt x="677" y="104"/>
                    </a:lnTo>
                    <a:lnTo>
                      <a:pt x="682" y="100"/>
                    </a:lnTo>
                    <a:lnTo>
                      <a:pt x="686" y="95"/>
                    </a:lnTo>
                    <a:lnTo>
                      <a:pt x="688" y="89"/>
                    </a:lnTo>
                    <a:lnTo>
                      <a:pt x="688" y="84"/>
                    </a:lnTo>
                    <a:lnTo>
                      <a:pt x="687" y="78"/>
                    </a:lnTo>
                    <a:lnTo>
                      <a:pt x="686" y="71"/>
                    </a:lnTo>
                    <a:lnTo>
                      <a:pt x="682" y="58"/>
                    </a:lnTo>
                    <a:lnTo>
                      <a:pt x="678" y="44"/>
                    </a:lnTo>
                    <a:lnTo>
                      <a:pt x="677" y="37"/>
                    </a:lnTo>
                    <a:lnTo>
                      <a:pt x="676" y="29"/>
                    </a:lnTo>
                    <a:lnTo>
                      <a:pt x="677" y="23"/>
                    </a:lnTo>
                    <a:lnTo>
                      <a:pt x="678" y="16"/>
                    </a:lnTo>
                    <a:lnTo>
                      <a:pt x="681" y="15"/>
                    </a:lnTo>
                    <a:lnTo>
                      <a:pt x="686" y="13"/>
                    </a:lnTo>
                    <a:lnTo>
                      <a:pt x="693" y="12"/>
                    </a:lnTo>
                    <a:lnTo>
                      <a:pt x="702" y="12"/>
                    </a:lnTo>
                    <a:lnTo>
                      <a:pt x="724" y="12"/>
                    </a:lnTo>
                    <a:lnTo>
                      <a:pt x="749" y="15"/>
                    </a:lnTo>
                    <a:lnTo>
                      <a:pt x="774" y="18"/>
                    </a:lnTo>
                    <a:lnTo>
                      <a:pt x="797" y="22"/>
                    </a:lnTo>
                    <a:lnTo>
                      <a:pt x="813" y="26"/>
                    </a:lnTo>
                    <a:lnTo>
                      <a:pt x="822" y="31"/>
                    </a:lnTo>
                    <a:lnTo>
                      <a:pt x="831" y="39"/>
                    </a:lnTo>
                    <a:lnTo>
                      <a:pt x="841" y="47"/>
                    </a:lnTo>
                    <a:lnTo>
                      <a:pt x="852" y="53"/>
                    </a:lnTo>
                    <a:lnTo>
                      <a:pt x="865" y="58"/>
                    </a:lnTo>
                    <a:lnTo>
                      <a:pt x="878" y="60"/>
                    </a:lnTo>
                    <a:lnTo>
                      <a:pt x="891" y="62"/>
                    </a:lnTo>
                    <a:lnTo>
                      <a:pt x="905" y="62"/>
                    </a:lnTo>
                    <a:lnTo>
                      <a:pt x="920" y="62"/>
                    </a:lnTo>
                    <a:lnTo>
                      <a:pt x="933" y="61"/>
                    </a:lnTo>
                    <a:lnTo>
                      <a:pt x="948" y="59"/>
                    </a:lnTo>
                    <a:lnTo>
                      <a:pt x="962" y="56"/>
                    </a:lnTo>
                    <a:lnTo>
                      <a:pt x="976" y="53"/>
                    </a:lnTo>
                    <a:lnTo>
                      <a:pt x="1003" y="44"/>
                    </a:lnTo>
                    <a:lnTo>
                      <a:pt x="1026" y="34"/>
                    </a:lnTo>
                    <a:lnTo>
                      <a:pt x="1047" y="33"/>
                    </a:lnTo>
                    <a:lnTo>
                      <a:pt x="1069" y="31"/>
                    </a:lnTo>
                    <a:lnTo>
                      <a:pt x="1080" y="31"/>
                    </a:lnTo>
                    <a:lnTo>
                      <a:pt x="1091" y="31"/>
                    </a:lnTo>
                    <a:lnTo>
                      <a:pt x="1102" y="32"/>
                    </a:lnTo>
                    <a:lnTo>
                      <a:pt x="1112" y="33"/>
                    </a:lnTo>
                    <a:lnTo>
                      <a:pt x="1122" y="35"/>
                    </a:lnTo>
                    <a:lnTo>
                      <a:pt x="1130" y="39"/>
                    </a:lnTo>
                    <a:lnTo>
                      <a:pt x="1137" y="44"/>
                    </a:lnTo>
                    <a:lnTo>
                      <a:pt x="1144" y="50"/>
                    </a:lnTo>
                    <a:lnTo>
                      <a:pt x="1150" y="59"/>
                    </a:lnTo>
                    <a:lnTo>
                      <a:pt x="1153" y="67"/>
                    </a:lnTo>
                    <a:lnTo>
                      <a:pt x="1156" y="80"/>
                    </a:lnTo>
                    <a:lnTo>
                      <a:pt x="1157" y="92"/>
                    </a:lnTo>
                    <a:lnTo>
                      <a:pt x="1156" y="105"/>
                    </a:lnTo>
                    <a:lnTo>
                      <a:pt x="1153" y="118"/>
                    </a:lnTo>
                    <a:lnTo>
                      <a:pt x="1150" y="130"/>
                    </a:lnTo>
                    <a:lnTo>
                      <a:pt x="1145" y="141"/>
                    </a:lnTo>
                    <a:lnTo>
                      <a:pt x="1142" y="147"/>
                    </a:lnTo>
                    <a:lnTo>
                      <a:pt x="1142" y="152"/>
                    </a:lnTo>
                    <a:lnTo>
                      <a:pt x="1141" y="158"/>
                    </a:lnTo>
                    <a:lnTo>
                      <a:pt x="1141" y="164"/>
                    </a:lnTo>
                    <a:lnTo>
                      <a:pt x="1142" y="175"/>
                    </a:lnTo>
                    <a:lnTo>
                      <a:pt x="1145" y="187"/>
                    </a:lnTo>
                    <a:lnTo>
                      <a:pt x="1147" y="200"/>
                    </a:lnTo>
                    <a:lnTo>
                      <a:pt x="1149" y="211"/>
                    </a:lnTo>
                    <a:lnTo>
                      <a:pt x="1149" y="217"/>
                    </a:lnTo>
                    <a:lnTo>
                      <a:pt x="1147" y="223"/>
                    </a:lnTo>
                    <a:lnTo>
                      <a:pt x="1146" y="228"/>
                    </a:lnTo>
                    <a:lnTo>
                      <a:pt x="1144" y="234"/>
                    </a:lnTo>
                    <a:lnTo>
                      <a:pt x="1137" y="244"/>
                    </a:lnTo>
                    <a:lnTo>
                      <a:pt x="1131" y="250"/>
                    </a:lnTo>
                    <a:lnTo>
                      <a:pt x="1128" y="252"/>
                    </a:lnTo>
                    <a:lnTo>
                      <a:pt x="1125" y="253"/>
                    </a:lnTo>
                    <a:lnTo>
                      <a:pt x="1122" y="253"/>
                    </a:lnTo>
                    <a:lnTo>
                      <a:pt x="1119" y="253"/>
                    </a:lnTo>
                    <a:lnTo>
                      <a:pt x="1113" y="251"/>
                    </a:lnTo>
                    <a:lnTo>
                      <a:pt x="1106" y="246"/>
                    </a:lnTo>
                    <a:lnTo>
                      <a:pt x="1100" y="240"/>
                    </a:lnTo>
                    <a:lnTo>
                      <a:pt x="1093" y="233"/>
                    </a:lnTo>
                    <a:lnTo>
                      <a:pt x="1080" y="217"/>
                    </a:lnTo>
                    <a:lnTo>
                      <a:pt x="1066" y="201"/>
                    </a:lnTo>
                    <a:lnTo>
                      <a:pt x="1060" y="193"/>
                    </a:lnTo>
                    <a:lnTo>
                      <a:pt x="1053" y="189"/>
                    </a:lnTo>
                    <a:lnTo>
                      <a:pt x="1047" y="185"/>
                    </a:lnTo>
                    <a:lnTo>
                      <a:pt x="1040" y="184"/>
                    </a:lnTo>
                    <a:lnTo>
                      <a:pt x="1032" y="184"/>
                    </a:lnTo>
                    <a:lnTo>
                      <a:pt x="1025" y="185"/>
                    </a:lnTo>
                    <a:lnTo>
                      <a:pt x="1019" y="187"/>
                    </a:lnTo>
                    <a:lnTo>
                      <a:pt x="1013" y="190"/>
                    </a:lnTo>
                    <a:lnTo>
                      <a:pt x="1007" y="193"/>
                    </a:lnTo>
                    <a:lnTo>
                      <a:pt x="1000" y="198"/>
                    </a:lnTo>
                    <a:lnTo>
                      <a:pt x="996" y="203"/>
                    </a:lnTo>
                    <a:lnTo>
                      <a:pt x="991" y="208"/>
                    </a:lnTo>
                    <a:lnTo>
                      <a:pt x="986" y="214"/>
                    </a:lnTo>
                    <a:lnTo>
                      <a:pt x="981" y="218"/>
                    </a:lnTo>
                    <a:lnTo>
                      <a:pt x="975" y="223"/>
                    </a:lnTo>
                    <a:lnTo>
                      <a:pt x="969" y="226"/>
                    </a:lnTo>
                    <a:lnTo>
                      <a:pt x="955" y="234"/>
                    </a:lnTo>
                    <a:lnTo>
                      <a:pt x="943" y="242"/>
                    </a:lnTo>
                    <a:lnTo>
                      <a:pt x="926" y="2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Freeform 43"/>
              <p:cNvSpPr>
                <a:spLocks/>
              </p:cNvSpPr>
              <p:nvPr/>
            </p:nvSpPr>
            <p:spPr bwMode="auto">
              <a:xfrm>
                <a:off x="1712912" y="8040080"/>
                <a:ext cx="33338" cy="38100"/>
              </a:xfrm>
              <a:custGeom>
                <a:avLst/>
                <a:gdLst>
                  <a:gd name="T0" fmla="*/ 19 w 82"/>
                  <a:gd name="T1" fmla="*/ 71 h 93"/>
                  <a:gd name="T2" fmla="*/ 13 w 82"/>
                  <a:gd name="T3" fmla="*/ 60 h 93"/>
                  <a:gd name="T4" fmla="*/ 5 w 82"/>
                  <a:gd name="T5" fmla="*/ 47 h 93"/>
                  <a:gd name="T6" fmla="*/ 3 w 82"/>
                  <a:gd name="T7" fmla="*/ 40 h 93"/>
                  <a:gd name="T8" fmla="*/ 2 w 82"/>
                  <a:gd name="T9" fmla="*/ 33 h 93"/>
                  <a:gd name="T10" fmla="*/ 0 w 82"/>
                  <a:gd name="T11" fmla="*/ 27 h 93"/>
                  <a:gd name="T12" fmla="*/ 2 w 82"/>
                  <a:gd name="T13" fmla="*/ 21 h 93"/>
                  <a:gd name="T14" fmla="*/ 4 w 82"/>
                  <a:gd name="T15" fmla="*/ 16 h 93"/>
                  <a:gd name="T16" fmla="*/ 6 w 82"/>
                  <a:gd name="T17" fmla="*/ 11 h 93"/>
                  <a:gd name="T18" fmla="*/ 10 w 82"/>
                  <a:gd name="T19" fmla="*/ 7 h 93"/>
                  <a:gd name="T20" fmla="*/ 14 w 82"/>
                  <a:gd name="T21" fmla="*/ 4 h 93"/>
                  <a:gd name="T22" fmla="*/ 19 w 82"/>
                  <a:gd name="T23" fmla="*/ 1 h 93"/>
                  <a:gd name="T24" fmla="*/ 24 w 82"/>
                  <a:gd name="T25" fmla="*/ 0 h 93"/>
                  <a:gd name="T26" fmla="*/ 28 w 82"/>
                  <a:gd name="T27" fmla="*/ 0 h 93"/>
                  <a:gd name="T28" fmla="*/ 35 w 82"/>
                  <a:gd name="T29" fmla="*/ 0 h 93"/>
                  <a:gd name="T30" fmla="*/ 42 w 82"/>
                  <a:gd name="T31" fmla="*/ 3 h 93"/>
                  <a:gd name="T32" fmla="*/ 49 w 82"/>
                  <a:gd name="T33" fmla="*/ 9 h 93"/>
                  <a:gd name="T34" fmla="*/ 57 w 82"/>
                  <a:gd name="T35" fmla="*/ 16 h 93"/>
                  <a:gd name="T36" fmla="*/ 64 w 82"/>
                  <a:gd name="T37" fmla="*/ 25 h 93"/>
                  <a:gd name="T38" fmla="*/ 70 w 82"/>
                  <a:gd name="T39" fmla="*/ 34 h 93"/>
                  <a:gd name="T40" fmla="*/ 75 w 82"/>
                  <a:gd name="T41" fmla="*/ 44 h 93"/>
                  <a:gd name="T42" fmla="*/ 79 w 82"/>
                  <a:gd name="T43" fmla="*/ 53 h 93"/>
                  <a:gd name="T44" fmla="*/ 81 w 82"/>
                  <a:gd name="T45" fmla="*/ 60 h 93"/>
                  <a:gd name="T46" fmla="*/ 82 w 82"/>
                  <a:gd name="T47" fmla="*/ 65 h 93"/>
                  <a:gd name="T48" fmla="*/ 81 w 82"/>
                  <a:gd name="T49" fmla="*/ 69 h 93"/>
                  <a:gd name="T50" fmla="*/ 80 w 82"/>
                  <a:gd name="T51" fmla="*/ 72 h 93"/>
                  <a:gd name="T52" fmla="*/ 79 w 82"/>
                  <a:gd name="T53" fmla="*/ 76 h 93"/>
                  <a:gd name="T54" fmla="*/ 74 w 82"/>
                  <a:gd name="T55" fmla="*/ 82 h 93"/>
                  <a:gd name="T56" fmla="*/ 66 w 82"/>
                  <a:gd name="T57" fmla="*/ 86 h 93"/>
                  <a:gd name="T58" fmla="*/ 59 w 82"/>
                  <a:gd name="T59" fmla="*/ 91 h 93"/>
                  <a:gd name="T60" fmla="*/ 49 w 82"/>
                  <a:gd name="T61" fmla="*/ 93 h 93"/>
                  <a:gd name="T62" fmla="*/ 41 w 82"/>
                  <a:gd name="T63" fmla="*/ 92 h 93"/>
                  <a:gd name="T64" fmla="*/ 32 w 82"/>
                  <a:gd name="T65" fmla="*/ 91 h 93"/>
                  <a:gd name="T66" fmla="*/ 19 w 82"/>
                  <a:gd name="T67" fmla="*/ 7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" h="93">
                    <a:moveTo>
                      <a:pt x="19" y="71"/>
                    </a:moveTo>
                    <a:lnTo>
                      <a:pt x="13" y="60"/>
                    </a:lnTo>
                    <a:lnTo>
                      <a:pt x="5" y="47"/>
                    </a:lnTo>
                    <a:lnTo>
                      <a:pt x="3" y="40"/>
                    </a:lnTo>
                    <a:lnTo>
                      <a:pt x="2" y="33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4" y="16"/>
                    </a:lnTo>
                    <a:lnTo>
                      <a:pt x="6" y="11"/>
                    </a:lnTo>
                    <a:lnTo>
                      <a:pt x="10" y="7"/>
                    </a:lnTo>
                    <a:lnTo>
                      <a:pt x="14" y="4"/>
                    </a:lnTo>
                    <a:lnTo>
                      <a:pt x="19" y="1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42" y="3"/>
                    </a:lnTo>
                    <a:lnTo>
                      <a:pt x="49" y="9"/>
                    </a:lnTo>
                    <a:lnTo>
                      <a:pt x="57" y="16"/>
                    </a:lnTo>
                    <a:lnTo>
                      <a:pt x="64" y="25"/>
                    </a:lnTo>
                    <a:lnTo>
                      <a:pt x="70" y="34"/>
                    </a:lnTo>
                    <a:lnTo>
                      <a:pt x="75" y="44"/>
                    </a:lnTo>
                    <a:lnTo>
                      <a:pt x="79" y="53"/>
                    </a:lnTo>
                    <a:lnTo>
                      <a:pt x="81" y="60"/>
                    </a:lnTo>
                    <a:lnTo>
                      <a:pt x="82" y="65"/>
                    </a:lnTo>
                    <a:lnTo>
                      <a:pt x="81" y="69"/>
                    </a:lnTo>
                    <a:lnTo>
                      <a:pt x="80" y="72"/>
                    </a:lnTo>
                    <a:lnTo>
                      <a:pt x="79" y="76"/>
                    </a:lnTo>
                    <a:lnTo>
                      <a:pt x="74" y="82"/>
                    </a:lnTo>
                    <a:lnTo>
                      <a:pt x="66" y="86"/>
                    </a:lnTo>
                    <a:lnTo>
                      <a:pt x="59" y="91"/>
                    </a:lnTo>
                    <a:lnTo>
                      <a:pt x="49" y="93"/>
                    </a:lnTo>
                    <a:lnTo>
                      <a:pt x="41" y="92"/>
                    </a:lnTo>
                    <a:lnTo>
                      <a:pt x="32" y="91"/>
                    </a:lnTo>
                    <a:lnTo>
                      <a:pt x="19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3" name="Freeform 44"/>
              <p:cNvSpPr>
                <a:spLocks/>
              </p:cNvSpPr>
              <p:nvPr/>
            </p:nvSpPr>
            <p:spPr bwMode="auto">
              <a:xfrm>
                <a:off x="134937" y="7286018"/>
                <a:ext cx="360363" cy="136525"/>
              </a:xfrm>
              <a:custGeom>
                <a:avLst/>
                <a:gdLst>
                  <a:gd name="T0" fmla="*/ 12 w 911"/>
                  <a:gd name="T1" fmla="*/ 291 h 342"/>
                  <a:gd name="T2" fmla="*/ 3 w 911"/>
                  <a:gd name="T3" fmla="*/ 285 h 342"/>
                  <a:gd name="T4" fmla="*/ 0 w 911"/>
                  <a:gd name="T5" fmla="*/ 277 h 342"/>
                  <a:gd name="T6" fmla="*/ 3 w 911"/>
                  <a:gd name="T7" fmla="*/ 268 h 342"/>
                  <a:gd name="T8" fmla="*/ 14 w 911"/>
                  <a:gd name="T9" fmla="*/ 252 h 342"/>
                  <a:gd name="T10" fmla="*/ 39 w 911"/>
                  <a:gd name="T11" fmla="*/ 229 h 342"/>
                  <a:gd name="T12" fmla="*/ 92 w 911"/>
                  <a:gd name="T13" fmla="*/ 195 h 342"/>
                  <a:gd name="T14" fmla="*/ 157 w 911"/>
                  <a:gd name="T15" fmla="*/ 159 h 342"/>
                  <a:gd name="T16" fmla="*/ 217 w 911"/>
                  <a:gd name="T17" fmla="*/ 133 h 342"/>
                  <a:gd name="T18" fmla="*/ 285 w 911"/>
                  <a:gd name="T19" fmla="*/ 106 h 342"/>
                  <a:gd name="T20" fmla="*/ 332 w 911"/>
                  <a:gd name="T21" fmla="*/ 93 h 342"/>
                  <a:gd name="T22" fmla="*/ 364 w 911"/>
                  <a:gd name="T23" fmla="*/ 88 h 342"/>
                  <a:gd name="T24" fmla="*/ 400 w 911"/>
                  <a:gd name="T25" fmla="*/ 84 h 342"/>
                  <a:gd name="T26" fmla="*/ 441 w 911"/>
                  <a:gd name="T27" fmla="*/ 84 h 342"/>
                  <a:gd name="T28" fmla="*/ 498 w 911"/>
                  <a:gd name="T29" fmla="*/ 86 h 342"/>
                  <a:gd name="T30" fmla="*/ 568 w 911"/>
                  <a:gd name="T31" fmla="*/ 82 h 342"/>
                  <a:gd name="T32" fmla="*/ 635 w 911"/>
                  <a:gd name="T33" fmla="*/ 70 h 342"/>
                  <a:gd name="T34" fmla="*/ 701 w 911"/>
                  <a:gd name="T35" fmla="*/ 50 h 342"/>
                  <a:gd name="T36" fmla="*/ 752 w 911"/>
                  <a:gd name="T37" fmla="*/ 31 h 342"/>
                  <a:gd name="T38" fmla="*/ 796 w 911"/>
                  <a:gd name="T39" fmla="*/ 13 h 342"/>
                  <a:gd name="T40" fmla="*/ 832 w 911"/>
                  <a:gd name="T41" fmla="*/ 4 h 342"/>
                  <a:gd name="T42" fmla="*/ 856 w 911"/>
                  <a:gd name="T43" fmla="*/ 0 h 342"/>
                  <a:gd name="T44" fmla="*/ 878 w 911"/>
                  <a:gd name="T45" fmla="*/ 2 h 342"/>
                  <a:gd name="T46" fmla="*/ 895 w 911"/>
                  <a:gd name="T47" fmla="*/ 10 h 342"/>
                  <a:gd name="T48" fmla="*/ 907 w 911"/>
                  <a:gd name="T49" fmla="*/ 23 h 342"/>
                  <a:gd name="T50" fmla="*/ 911 w 911"/>
                  <a:gd name="T51" fmla="*/ 35 h 342"/>
                  <a:gd name="T52" fmla="*/ 909 w 911"/>
                  <a:gd name="T53" fmla="*/ 49 h 342"/>
                  <a:gd name="T54" fmla="*/ 901 w 911"/>
                  <a:gd name="T55" fmla="*/ 60 h 342"/>
                  <a:gd name="T56" fmla="*/ 887 w 911"/>
                  <a:gd name="T57" fmla="*/ 72 h 342"/>
                  <a:gd name="T58" fmla="*/ 870 w 911"/>
                  <a:gd name="T59" fmla="*/ 82 h 342"/>
                  <a:gd name="T60" fmla="*/ 839 w 911"/>
                  <a:gd name="T61" fmla="*/ 97 h 342"/>
                  <a:gd name="T62" fmla="*/ 791 w 911"/>
                  <a:gd name="T63" fmla="*/ 113 h 342"/>
                  <a:gd name="T64" fmla="*/ 739 w 911"/>
                  <a:gd name="T65" fmla="*/ 125 h 342"/>
                  <a:gd name="T66" fmla="*/ 694 w 911"/>
                  <a:gd name="T67" fmla="*/ 133 h 342"/>
                  <a:gd name="T68" fmla="*/ 661 w 911"/>
                  <a:gd name="T69" fmla="*/ 136 h 342"/>
                  <a:gd name="T70" fmla="*/ 633 w 911"/>
                  <a:gd name="T71" fmla="*/ 136 h 342"/>
                  <a:gd name="T72" fmla="*/ 583 w 911"/>
                  <a:gd name="T73" fmla="*/ 144 h 342"/>
                  <a:gd name="T74" fmla="*/ 541 w 911"/>
                  <a:gd name="T75" fmla="*/ 157 h 342"/>
                  <a:gd name="T76" fmla="*/ 515 w 911"/>
                  <a:gd name="T77" fmla="*/ 168 h 342"/>
                  <a:gd name="T78" fmla="*/ 496 w 911"/>
                  <a:gd name="T79" fmla="*/ 180 h 342"/>
                  <a:gd name="T80" fmla="*/ 482 w 911"/>
                  <a:gd name="T81" fmla="*/ 195 h 342"/>
                  <a:gd name="T82" fmla="*/ 479 w 911"/>
                  <a:gd name="T83" fmla="*/ 212 h 342"/>
                  <a:gd name="T84" fmla="*/ 482 w 911"/>
                  <a:gd name="T85" fmla="*/ 228 h 342"/>
                  <a:gd name="T86" fmla="*/ 496 w 911"/>
                  <a:gd name="T87" fmla="*/ 251 h 342"/>
                  <a:gd name="T88" fmla="*/ 509 w 911"/>
                  <a:gd name="T89" fmla="*/ 274 h 342"/>
                  <a:gd name="T90" fmla="*/ 513 w 911"/>
                  <a:gd name="T91" fmla="*/ 290 h 342"/>
                  <a:gd name="T92" fmla="*/ 509 w 911"/>
                  <a:gd name="T93" fmla="*/ 306 h 342"/>
                  <a:gd name="T94" fmla="*/ 496 w 911"/>
                  <a:gd name="T95" fmla="*/ 324 h 342"/>
                  <a:gd name="T96" fmla="*/ 474 w 911"/>
                  <a:gd name="T97" fmla="*/ 338 h 342"/>
                  <a:gd name="T98" fmla="*/ 458 w 911"/>
                  <a:gd name="T99" fmla="*/ 342 h 342"/>
                  <a:gd name="T100" fmla="*/ 442 w 911"/>
                  <a:gd name="T101" fmla="*/ 338 h 342"/>
                  <a:gd name="T102" fmla="*/ 427 w 911"/>
                  <a:gd name="T103" fmla="*/ 328 h 342"/>
                  <a:gd name="T104" fmla="*/ 409 w 911"/>
                  <a:gd name="T105" fmla="*/ 307 h 342"/>
                  <a:gd name="T106" fmla="*/ 388 w 911"/>
                  <a:gd name="T107" fmla="*/ 275 h 342"/>
                  <a:gd name="T108" fmla="*/ 377 w 911"/>
                  <a:gd name="T109" fmla="*/ 260 h 342"/>
                  <a:gd name="T110" fmla="*/ 368 w 911"/>
                  <a:gd name="T111" fmla="*/ 257 h 342"/>
                  <a:gd name="T112" fmla="*/ 345 w 911"/>
                  <a:gd name="T113" fmla="*/ 255 h 342"/>
                  <a:gd name="T114" fmla="*/ 277 w 911"/>
                  <a:gd name="T115" fmla="*/ 258 h 342"/>
                  <a:gd name="T116" fmla="*/ 163 w 911"/>
                  <a:gd name="T117" fmla="*/ 274 h 342"/>
                  <a:gd name="T118" fmla="*/ 64 w 911"/>
                  <a:gd name="T119" fmla="*/ 288 h 342"/>
                  <a:gd name="T120" fmla="*/ 18 w 911"/>
                  <a:gd name="T121" fmla="*/ 294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11" h="342">
                    <a:moveTo>
                      <a:pt x="18" y="294"/>
                    </a:moveTo>
                    <a:lnTo>
                      <a:pt x="12" y="291"/>
                    </a:lnTo>
                    <a:lnTo>
                      <a:pt x="6" y="289"/>
                    </a:lnTo>
                    <a:lnTo>
                      <a:pt x="3" y="285"/>
                    </a:lnTo>
                    <a:lnTo>
                      <a:pt x="1" y="282"/>
                    </a:lnTo>
                    <a:lnTo>
                      <a:pt x="0" y="277"/>
                    </a:lnTo>
                    <a:lnTo>
                      <a:pt x="0" y="273"/>
                    </a:lnTo>
                    <a:lnTo>
                      <a:pt x="3" y="268"/>
                    </a:lnTo>
                    <a:lnTo>
                      <a:pt x="5" y="263"/>
                    </a:lnTo>
                    <a:lnTo>
                      <a:pt x="14" y="252"/>
                    </a:lnTo>
                    <a:lnTo>
                      <a:pt x="25" y="241"/>
                    </a:lnTo>
                    <a:lnTo>
                      <a:pt x="39" y="229"/>
                    </a:lnTo>
                    <a:lnTo>
                      <a:pt x="56" y="217"/>
                    </a:lnTo>
                    <a:lnTo>
                      <a:pt x="92" y="195"/>
                    </a:lnTo>
                    <a:lnTo>
                      <a:pt x="127" y="174"/>
                    </a:lnTo>
                    <a:lnTo>
                      <a:pt x="157" y="159"/>
                    </a:lnTo>
                    <a:lnTo>
                      <a:pt x="175" y="151"/>
                    </a:lnTo>
                    <a:lnTo>
                      <a:pt x="217" y="133"/>
                    </a:lnTo>
                    <a:lnTo>
                      <a:pt x="252" y="119"/>
                    </a:lnTo>
                    <a:lnTo>
                      <a:pt x="285" y="106"/>
                    </a:lnTo>
                    <a:lnTo>
                      <a:pt x="316" y="97"/>
                    </a:lnTo>
                    <a:lnTo>
                      <a:pt x="332" y="93"/>
                    </a:lnTo>
                    <a:lnTo>
                      <a:pt x="348" y="91"/>
                    </a:lnTo>
                    <a:lnTo>
                      <a:pt x="364" y="88"/>
                    </a:lnTo>
                    <a:lnTo>
                      <a:pt x="382" y="86"/>
                    </a:lnTo>
                    <a:lnTo>
                      <a:pt x="400" y="84"/>
                    </a:lnTo>
                    <a:lnTo>
                      <a:pt x="420" y="84"/>
                    </a:lnTo>
                    <a:lnTo>
                      <a:pt x="441" y="84"/>
                    </a:lnTo>
                    <a:lnTo>
                      <a:pt x="464" y="86"/>
                    </a:lnTo>
                    <a:lnTo>
                      <a:pt x="498" y="86"/>
                    </a:lnTo>
                    <a:lnTo>
                      <a:pt x="534" y="84"/>
                    </a:lnTo>
                    <a:lnTo>
                      <a:pt x="568" y="82"/>
                    </a:lnTo>
                    <a:lnTo>
                      <a:pt x="601" y="76"/>
                    </a:lnTo>
                    <a:lnTo>
                      <a:pt x="635" y="70"/>
                    </a:lnTo>
                    <a:lnTo>
                      <a:pt x="668" y="60"/>
                    </a:lnTo>
                    <a:lnTo>
                      <a:pt x="701" y="50"/>
                    </a:lnTo>
                    <a:lnTo>
                      <a:pt x="734" y="38"/>
                    </a:lnTo>
                    <a:lnTo>
                      <a:pt x="752" y="31"/>
                    </a:lnTo>
                    <a:lnTo>
                      <a:pt x="772" y="22"/>
                    </a:lnTo>
                    <a:lnTo>
                      <a:pt x="796" y="13"/>
                    </a:lnTo>
                    <a:lnTo>
                      <a:pt x="820" y="6"/>
                    </a:lnTo>
                    <a:lnTo>
                      <a:pt x="832" y="4"/>
                    </a:lnTo>
                    <a:lnTo>
                      <a:pt x="845" y="1"/>
                    </a:lnTo>
                    <a:lnTo>
                      <a:pt x="856" y="0"/>
                    </a:lnTo>
                    <a:lnTo>
                      <a:pt x="867" y="1"/>
                    </a:lnTo>
                    <a:lnTo>
                      <a:pt x="878" y="2"/>
                    </a:lnTo>
                    <a:lnTo>
                      <a:pt x="886" y="5"/>
                    </a:lnTo>
                    <a:lnTo>
                      <a:pt x="895" y="10"/>
                    </a:lnTo>
                    <a:lnTo>
                      <a:pt x="902" y="16"/>
                    </a:lnTo>
                    <a:lnTo>
                      <a:pt x="907" y="23"/>
                    </a:lnTo>
                    <a:lnTo>
                      <a:pt x="909" y="29"/>
                    </a:lnTo>
                    <a:lnTo>
                      <a:pt x="911" y="35"/>
                    </a:lnTo>
                    <a:lnTo>
                      <a:pt x="911" y="43"/>
                    </a:lnTo>
                    <a:lnTo>
                      <a:pt x="909" y="49"/>
                    </a:lnTo>
                    <a:lnTo>
                      <a:pt x="906" y="55"/>
                    </a:lnTo>
                    <a:lnTo>
                      <a:pt x="901" y="60"/>
                    </a:lnTo>
                    <a:lnTo>
                      <a:pt x="895" y="66"/>
                    </a:lnTo>
                    <a:lnTo>
                      <a:pt x="887" y="72"/>
                    </a:lnTo>
                    <a:lnTo>
                      <a:pt x="880" y="77"/>
                    </a:lnTo>
                    <a:lnTo>
                      <a:pt x="870" y="82"/>
                    </a:lnTo>
                    <a:lnTo>
                      <a:pt x="861" y="87"/>
                    </a:lnTo>
                    <a:lnTo>
                      <a:pt x="839" y="97"/>
                    </a:lnTo>
                    <a:lnTo>
                      <a:pt x="815" y="105"/>
                    </a:lnTo>
                    <a:lnTo>
                      <a:pt x="791" y="113"/>
                    </a:lnTo>
                    <a:lnTo>
                      <a:pt x="765" y="120"/>
                    </a:lnTo>
                    <a:lnTo>
                      <a:pt x="739" y="125"/>
                    </a:lnTo>
                    <a:lnTo>
                      <a:pt x="716" y="130"/>
                    </a:lnTo>
                    <a:lnTo>
                      <a:pt x="694" y="133"/>
                    </a:lnTo>
                    <a:lnTo>
                      <a:pt x="676" y="135"/>
                    </a:lnTo>
                    <a:lnTo>
                      <a:pt x="661" y="136"/>
                    </a:lnTo>
                    <a:lnTo>
                      <a:pt x="650" y="136"/>
                    </a:lnTo>
                    <a:lnTo>
                      <a:pt x="633" y="136"/>
                    </a:lnTo>
                    <a:lnTo>
                      <a:pt x="610" y="138"/>
                    </a:lnTo>
                    <a:lnTo>
                      <a:pt x="583" y="144"/>
                    </a:lnTo>
                    <a:lnTo>
                      <a:pt x="555" y="152"/>
                    </a:lnTo>
                    <a:lnTo>
                      <a:pt x="541" y="157"/>
                    </a:lnTo>
                    <a:lnTo>
                      <a:pt x="528" y="162"/>
                    </a:lnTo>
                    <a:lnTo>
                      <a:pt x="515" y="168"/>
                    </a:lnTo>
                    <a:lnTo>
                      <a:pt x="506" y="174"/>
                    </a:lnTo>
                    <a:lnTo>
                      <a:pt x="496" y="180"/>
                    </a:lnTo>
                    <a:lnTo>
                      <a:pt x="488" y="187"/>
                    </a:lnTo>
                    <a:lnTo>
                      <a:pt x="482" y="195"/>
                    </a:lnTo>
                    <a:lnTo>
                      <a:pt x="479" y="203"/>
                    </a:lnTo>
                    <a:lnTo>
                      <a:pt x="479" y="212"/>
                    </a:lnTo>
                    <a:lnTo>
                      <a:pt x="479" y="219"/>
                    </a:lnTo>
                    <a:lnTo>
                      <a:pt x="482" y="228"/>
                    </a:lnTo>
                    <a:lnTo>
                      <a:pt x="486" y="236"/>
                    </a:lnTo>
                    <a:lnTo>
                      <a:pt x="496" y="251"/>
                    </a:lnTo>
                    <a:lnTo>
                      <a:pt x="506" y="267"/>
                    </a:lnTo>
                    <a:lnTo>
                      <a:pt x="509" y="274"/>
                    </a:lnTo>
                    <a:lnTo>
                      <a:pt x="512" y="282"/>
                    </a:lnTo>
                    <a:lnTo>
                      <a:pt x="513" y="290"/>
                    </a:lnTo>
                    <a:lnTo>
                      <a:pt x="513" y="299"/>
                    </a:lnTo>
                    <a:lnTo>
                      <a:pt x="509" y="306"/>
                    </a:lnTo>
                    <a:lnTo>
                      <a:pt x="504" y="316"/>
                    </a:lnTo>
                    <a:lnTo>
                      <a:pt x="496" y="324"/>
                    </a:lnTo>
                    <a:lnTo>
                      <a:pt x="482" y="333"/>
                    </a:lnTo>
                    <a:lnTo>
                      <a:pt x="474" y="338"/>
                    </a:lnTo>
                    <a:lnTo>
                      <a:pt x="465" y="340"/>
                    </a:lnTo>
                    <a:lnTo>
                      <a:pt x="458" y="342"/>
                    </a:lnTo>
                    <a:lnTo>
                      <a:pt x="449" y="340"/>
                    </a:lnTo>
                    <a:lnTo>
                      <a:pt x="442" y="338"/>
                    </a:lnTo>
                    <a:lnTo>
                      <a:pt x="435" y="333"/>
                    </a:lnTo>
                    <a:lnTo>
                      <a:pt x="427" y="328"/>
                    </a:lnTo>
                    <a:lnTo>
                      <a:pt x="421" y="322"/>
                    </a:lnTo>
                    <a:lnTo>
                      <a:pt x="409" y="307"/>
                    </a:lnTo>
                    <a:lnTo>
                      <a:pt x="398" y="291"/>
                    </a:lnTo>
                    <a:lnTo>
                      <a:pt x="388" y="275"/>
                    </a:lnTo>
                    <a:lnTo>
                      <a:pt x="380" y="262"/>
                    </a:lnTo>
                    <a:lnTo>
                      <a:pt x="377" y="260"/>
                    </a:lnTo>
                    <a:lnTo>
                      <a:pt x="373" y="258"/>
                    </a:lnTo>
                    <a:lnTo>
                      <a:pt x="368" y="257"/>
                    </a:lnTo>
                    <a:lnTo>
                      <a:pt x="361" y="256"/>
                    </a:lnTo>
                    <a:lnTo>
                      <a:pt x="345" y="255"/>
                    </a:lnTo>
                    <a:lnTo>
                      <a:pt x="326" y="255"/>
                    </a:lnTo>
                    <a:lnTo>
                      <a:pt x="277" y="258"/>
                    </a:lnTo>
                    <a:lnTo>
                      <a:pt x="220" y="266"/>
                    </a:lnTo>
                    <a:lnTo>
                      <a:pt x="163" y="274"/>
                    </a:lnTo>
                    <a:lnTo>
                      <a:pt x="109" y="282"/>
                    </a:lnTo>
                    <a:lnTo>
                      <a:pt x="64" y="288"/>
                    </a:lnTo>
                    <a:lnTo>
                      <a:pt x="34" y="290"/>
                    </a:lnTo>
                    <a:lnTo>
                      <a:pt x="18" y="2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Freeform 45"/>
              <p:cNvSpPr>
                <a:spLocks/>
              </p:cNvSpPr>
              <p:nvPr/>
            </p:nvSpPr>
            <p:spPr bwMode="auto">
              <a:xfrm>
                <a:off x="539750" y="7389205"/>
                <a:ext cx="119063" cy="42863"/>
              </a:xfrm>
              <a:custGeom>
                <a:avLst/>
                <a:gdLst>
                  <a:gd name="T0" fmla="*/ 10 w 299"/>
                  <a:gd name="T1" fmla="*/ 107 h 109"/>
                  <a:gd name="T2" fmla="*/ 5 w 299"/>
                  <a:gd name="T3" fmla="*/ 102 h 109"/>
                  <a:gd name="T4" fmla="*/ 3 w 299"/>
                  <a:gd name="T5" fmla="*/ 97 h 109"/>
                  <a:gd name="T6" fmla="*/ 0 w 299"/>
                  <a:gd name="T7" fmla="*/ 92 h 109"/>
                  <a:gd name="T8" fmla="*/ 0 w 299"/>
                  <a:gd name="T9" fmla="*/ 86 h 109"/>
                  <a:gd name="T10" fmla="*/ 2 w 299"/>
                  <a:gd name="T11" fmla="*/ 81 h 109"/>
                  <a:gd name="T12" fmla="*/ 5 w 299"/>
                  <a:gd name="T13" fmla="*/ 76 h 109"/>
                  <a:gd name="T14" fmla="*/ 9 w 299"/>
                  <a:gd name="T15" fmla="*/ 73 h 109"/>
                  <a:gd name="T16" fmla="*/ 15 w 299"/>
                  <a:gd name="T17" fmla="*/ 69 h 109"/>
                  <a:gd name="T18" fmla="*/ 30 w 299"/>
                  <a:gd name="T19" fmla="*/ 63 h 109"/>
                  <a:gd name="T20" fmla="*/ 43 w 299"/>
                  <a:gd name="T21" fmla="*/ 57 h 109"/>
                  <a:gd name="T22" fmla="*/ 51 w 299"/>
                  <a:gd name="T23" fmla="*/ 54 h 109"/>
                  <a:gd name="T24" fmla="*/ 57 w 299"/>
                  <a:gd name="T25" fmla="*/ 50 h 109"/>
                  <a:gd name="T26" fmla="*/ 63 w 299"/>
                  <a:gd name="T27" fmla="*/ 46 h 109"/>
                  <a:gd name="T28" fmla="*/ 69 w 299"/>
                  <a:gd name="T29" fmla="*/ 39 h 109"/>
                  <a:gd name="T30" fmla="*/ 80 w 299"/>
                  <a:gd name="T31" fmla="*/ 28 h 109"/>
                  <a:gd name="T32" fmla="*/ 91 w 299"/>
                  <a:gd name="T33" fmla="*/ 20 h 109"/>
                  <a:gd name="T34" fmla="*/ 101 w 299"/>
                  <a:gd name="T35" fmla="*/ 15 h 109"/>
                  <a:gd name="T36" fmla="*/ 112 w 299"/>
                  <a:gd name="T37" fmla="*/ 11 h 109"/>
                  <a:gd name="T38" fmla="*/ 123 w 299"/>
                  <a:gd name="T39" fmla="*/ 10 h 109"/>
                  <a:gd name="T40" fmla="*/ 134 w 299"/>
                  <a:gd name="T41" fmla="*/ 11 h 109"/>
                  <a:gd name="T42" fmla="*/ 147 w 299"/>
                  <a:gd name="T43" fmla="*/ 13 h 109"/>
                  <a:gd name="T44" fmla="*/ 162 w 299"/>
                  <a:gd name="T45" fmla="*/ 15 h 109"/>
                  <a:gd name="T46" fmla="*/ 168 w 299"/>
                  <a:gd name="T47" fmla="*/ 16 h 109"/>
                  <a:gd name="T48" fmla="*/ 175 w 299"/>
                  <a:gd name="T49" fmla="*/ 15 h 109"/>
                  <a:gd name="T50" fmla="*/ 181 w 299"/>
                  <a:gd name="T51" fmla="*/ 15 h 109"/>
                  <a:gd name="T52" fmla="*/ 188 w 299"/>
                  <a:gd name="T53" fmla="*/ 14 h 109"/>
                  <a:gd name="T54" fmla="*/ 201 w 299"/>
                  <a:gd name="T55" fmla="*/ 10 h 109"/>
                  <a:gd name="T56" fmla="*/ 216 w 299"/>
                  <a:gd name="T57" fmla="*/ 6 h 109"/>
                  <a:gd name="T58" fmla="*/ 229 w 299"/>
                  <a:gd name="T59" fmla="*/ 3 h 109"/>
                  <a:gd name="T60" fmla="*/ 243 w 299"/>
                  <a:gd name="T61" fmla="*/ 0 h 109"/>
                  <a:gd name="T62" fmla="*/ 249 w 299"/>
                  <a:gd name="T63" fmla="*/ 0 h 109"/>
                  <a:gd name="T64" fmla="*/ 255 w 299"/>
                  <a:gd name="T65" fmla="*/ 0 h 109"/>
                  <a:gd name="T66" fmla="*/ 261 w 299"/>
                  <a:gd name="T67" fmla="*/ 2 h 109"/>
                  <a:gd name="T68" fmla="*/ 267 w 299"/>
                  <a:gd name="T69" fmla="*/ 4 h 109"/>
                  <a:gd name="T70" fmla="*/ 272 w 299"/>
                  <a:gd name="T71" fmla="*/ 8 h 109"/>
                  <a:gd name="T72" fmla="*/ 278 w 299"/>
                  <a:gd name="T73" fmla="*/ 11 h 109"/>
                  <a:gd name="T74" fmla="*/ 283 w 299"/>
                  <a:gd name="T75" fmla="*/ 16 h 109"/>
                  <a:gd name="T76" fmla="*/ 287 w 299"/>
                  <a:gd name="T77" fmla="*/ 22 h 109"/>
                  <a:gd name="T78" fmla="*/ 290 w 299"/>
                  <a:gd name="T79" fmla="*/ 27 h 109"/>
                  <a:gd name="T80" fmla="*/ 294 w 299"/>
                  <a:gd name="T81" fmla="*/ 33 h 109"/>
                  <a:gd name="T82" fmla="*/ 297 w 299"/>
                  <a:gd name="T83" fmla="*/ 39 h 109"/>
                  <a:gd name="T84" fmla="*/ 298 w 299"/>
                  <a:gd name="T85" fmla="*/ 47 h 109"/>
                  <a:gd name="T86" fmla="*/ 299 w 299"/>
                  <a:gd name="T87" fmla="*/ 53 h 109"/>
                  <a:gd name="T88" fmla="*/ 299 w 299"/>
                  <a:gd name="T89" fmla="*/ 59 h 109"/>
                  <a:gd name="T90" fmla="*/ 299 w 299"/>
                  <a:gd name="T91" fmla="*/ 66 h 109"/>
                  <a:gd name="T92" fmla="*/ 297 w 299"/>
                  <a:gd name="T93" fmla="*/ 73 h 109"/>
                  <a:gd name="T94" fmla="*/ 294 w 299"/>
                  <a:gd name="T95" fmla="*/ 77 h 109"/>
                  <a:gd name="T96" fmla="*/ 290 w 299"/>
                  <a:gd name="T97" fmla="*/ 82 h 109"/>
                  <a:gd name="T98" fmla="*/ 286 w 299"/>
                  <a:gd name="T99" fmla="*/ 87 h 109"/>
                  <a:gd name="T100" fmla="*/ 279 w 299"/>
                  <a:gd name="T101" fmla="*/ 91 h 109"/>
                  <a:gd name="T102" fmla="*/ 268 w 299"/>
                  <a:gd name="T103" fmla="*/ 96 h 109"/>
                  <a:gd name="T104" fmla="*/ 256 w 299"/>
                  <a:gd name="T105" fmla="*/ 101 h 109"/>
                  <a:gd name="T106" fmla="*/ 244 w 299"/>
                  <a:gd name="T107" fmla="*/ 103 h 109"/>
                  <a:gd name="T108" fmla="*/ 230 w 299"/>
                  <a:gd name="T109" fmla="*/ 106 h 109"/>
                  <a:gd name="T110" fmla="*/ 204 w 299"/>
                  <a:gd name="T111" fmla="*/ 109 h 109"/>
                  <a:gd name="T112" fmla="*/ 175 w 299"/>
                  <a:gd name="T113" fmla="*/ 109 h 109"/>
                  <a:gd name="T114" fmla="*/ 147 w 299"/>
                  <a:gd name="T115" fmla="*/ 109 h 109"/>
                  <a:gd name="T116" fmla="*/ 120 w 299"/>
                  <a:gd name="T117" fmla="*/ 108 h 109"/>
                  <a:gd name="T118" fmla="*/ 93 w 299"/>
                  <a:gd name="T119" fmla="*/ 108 h 109"/>
                  <a:gd name="T120" fmla="*/ 69 w 299"/>
                  <a:gd name="T121" fmla="*/ 108 h 109"/>
                  <a:gd name="T122" fmla="*/ 10 w 299"/>
                  <a:gd name="T123" fmla="*/ 10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9" h="109">
                    <a:moveTo>
                      <a:pt x="10" y="107"/>
                    </a:moveTo>
                    <a:lnTo>
                      <a:pt x="5" y="102"/>
                    </a:lnTo>
                    <a:lnTo>
                      <a:pt x="3" y="97"/>
                    </a:lnTo>
                    <a:lnTo>
                      <a:pt x="0" y="92"/>
                    </a:lnTo>
                    <a:lnTo>
                      <a:pt x="0" y="86"/>
                    </a:lnTo>
                    <a:lnTo>
                      <a:pt x="2" y="81"/>
                    </a:lnTo>
                    <a:lnTo>
                      <a:pt x="5" y="76"/>
                    </a:lnTo>
                    <a:lnTo>
                      <a:pt x="9" y="73"/>
                    </a:lnTo>
                    <a:lnTo>
                      <a:pt x="15" y="69"/>
                    </a:lnTo>
                    <a:lnTo>
                      <a:pt x="30" y="63"/>
                    </a:lnTo>
                    <a:lnTo>
                      <a:pt x="43" y="57"/>
                    </a:lnTo>
                    <a:lnTo>
                      <a:pt x="51" y="54"/>
                    </a:lnTo>
                    <a:lnTo>
                      <a:pt x="57" y="50"/>
                    </a:lnTo>
                    <a:lnTo>
                      <a:pt x="63" y="46"/>
                    </a:lnTo>
                    <a:lnTo>
                      <a:pt x="69" y="39"/>
                    </a:lnTo>
                    <a:lnTo>
                      <a:pt x="80" y="28"/>
                    </a:lnTo>
                    <a:lnTo>
                      <a:pt x="91" y="20"/>
                    </a:lnTo>
                    <a:lnTo>
                      <a:pt x="101" y="15"/>
                    </a:lnTo>
                    <a:lnTo>
                      <a:pt x="112" y="11"/>
                    </a:lnTo>
                    <a:lnTo>
                      <a:pt x="123" y="10"/>
                    </a:lnTo>
                    <a:lnTo>
                      <a:pt x="134" y="11"/>
                    </a:lnTo>
                    <a:lnTo>
                      <a:pt x="147" y="13"/>
                    </a:lnTo>
                    <a:lnTo>
                      <a:pt x="162" y="15"/>
                    </a:lnTo>
                    <a:lnTo>
                      <a:pt x="168" y="16"/>
                    </a:lnTo>
                    <a:lnTo>
                      <a:pt x="175" y="15"/>
                    </a:lnTo>
                    <a:lnTo>
                      <a:pt x="181" y="15"/>
                    </a:lnTo>
                    <a:lnTo>
                      <a:pt x="188" y="14"/>
                    </a:lnTo>
                    <a:lnTo>
                      <a:pt x="201" y="10"/>
                    </a:lnTo>
                    <a:lnTo>
                      <a:pt x="216" y="6"/>
                    </a:lnTo>
                    <a:lnTo>
                      <a:pt x="229" y="3"/>
                    </a:lnTo>
                    <a:lnTo>
                      <a:pt x="243" y="0"/>
                    </a:lnTo>
                    <a:lnTo>
                      <a:pt x="249" y="0"/>
                    </a:lnTo>
                    <a:lnTo>
                      <a:pt x="255" y="0"/>
                    </a:lnTo>
                    <a:lnTo>
                      <a:pt x="261" y="2"/>
                    </a:lnTo>
                    <a:lnTo>
                      <a:pt x="267" y="4"/>
                    </a:lnTo>
                    <a:lnTo>
                      <a:pt x="272" y="8"/>
                    </a:lnTo>
                    <a:lnTo>
                      <a:pt x="278" y="11"/>
                    </a:lnTo>
                    <a:lnTo>
                      <a:pt x="283" y="16"/>
                    </a:lnTo>
                    <a:lnTo>
                      <a:pt x="287" y="22"/>
                    </a:lnTo>
                    <a:lnTo>
                      <a:pt x="290" y="27"/>
                    </a:lnTo>
                    <a:lnTo>
                      <a:pt x="294" y="33"/>
                    </a:lnTo>
                    <a:lnTo>
                      <a:pt x="297" y="39"/>
                    </a:lnTo>
                    <a:lnTo>
                      <a:pt x="298" y="47"/>
                    </a:lnTo>
                    <a:lnTo>
                      <a:pt x="299" y="53"/>
                    </a:lnTo>
                    <a:lnTo>
                      <a:pt x="299" y="59"/>
                    </a:lnTo>
                    <a:lnTo>
                      <a:pt x="299" y="66"/>
                    </a:lnTo>
                    <a:lnTo>
                      <a:pt x="297" y="73"/>
                    </a:lnTo>
                    <a:lnTo>
                      <a:pt x="294" y="77"/>
                    </a:lnTo>
                    <a:lnTo>
                      <a:pt x="290" y="82"/>
                    </a:lnTo>
                    <a:lnTo>
                      <a:pt x="286" y="87"/>
                    </a:lnTo>
                    <a:lnTo>
                      <a:pt x="279" y="91"/>
                    </a:lnTo>
                    <a:lnTo>
                      <a:pt x="268" y="96"/>
                    </a:lnTo>
                    <a:lnTo>
                      <a:pt x="256" y="101"/>
                    </a:lnTo>
                    <a:lnTo>
                      <a:pt x="244" y="103"/>
                    </a:lnTo>
                    <a:lnTo>
                      <a:pt x="230" y="106"/>
                    </a:lnTo>
                    <a:lnTo>
                      <a:pt x="204" y="109"/>
                    </a:lnTo>
                    <a:lnTo>
                      <a:pt x="175" y="109"/>
                    </a:lnTo>
                    <a:lnTo>
                      <a:pt x="147" y="109"/>
                    </a:lnTo>
                    <a:lnTo>
                      <a:pt x="120" y="108"/>
                    </a:lnTo>
                    <a:lnTo>
                      <a:pt x="93" y="108"/>
                    </a:lnTo>
                    <a:lnTo>
                      <a:pt x="69" y="108"/>
                    </a:lnTo>
                    <a:lnTo>
                      <a:pt x="10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5" name="Freeform 46"/>
              <p:cNvSpPr>
                <a:spLocks/>
              </p:cNvSpPr>
              <p:nvPr/>
            </p:nvSpPr>
            <p:spPr bwMode="auto">
              <a:xfrm>
                <a:off x="595312" y="6381143"/>
                <a:ext cx="2033588" cy="1042988"/>
              </a:xfrm>
              <a:custGeom>
                <a:avLst/>
                <a:gdLst>
                  <a:gd name="T0" fmla="*/ 5084 w 5126"/>
                  <a:gd name="T1" fmla="*/ 689 h 2627"/>
                  <a:gd name="T2" fmla="*/ 5049 w 5126"/>
                  <a:gd name="T3" fmla="*/ 411 h 2627"/>
                  <a:gd name="T4" fmla="*/ 4974 w 5126"/>
                  <a:gd name="T5" fmla="*/ 196 h 2627"/>
                  <a:gd name="T6" fmla="*/ 4866 w 5126"/>
                  <a:gd name="T7" fmla="*/ 16 h 2627"/>
                  <a:gd name="T8" fmla="*/ 4585 w 5126"/>
                  <a:gd name="T9" fmla="*/ 79 h 2627"/>
                  <a:gd name="T10" fmla="*/ 4404 w 5126"/>
                  <a:gd name="T11" fmla="*/ 221 h 2627"/>
                  <a:gd name="T12" fmla="*/ 4027 w 5126"/>
                  <a:gd name="T13" fmla="*/ 281 h 2627"/>
                  <a:gd name="T14" fmla="*/ 3874 w 5126"/>
                  <a:gd name="T15" fmla="*/ 442 h 2627"/>
                  <a:gd name="T16" fmla="*/ 3588 w 5126"/>
                  <a:gd name="T17" fmla="*/ 283 h 2627"/>
                  <a:gd name="T18" fmla="*/ 3483 w 5126"/>
                  <a:gd name="T19" fmla="*/ 258 h 2627"/>
                  <a:gd name="T20" fmla="*/ 3176 w 5126"/>
                  <a:gd name="T21" fmla="*/ 321 h 2627"/>
                  <a:gd name="T22" fmla="*/ 2979 w 5126"/>
                  <a:gd name="T23" fmla="*/ 325 h 2627"/>
                  <a:gd name="T24" fmla="*/ 2760 w 5126"/>
                  <a:gd name="T25" fmla="*/ 343 h 2627"/>
                  <a:gd name="T26" fmla="*/ 2515 w 5126"/>
                  <a:gd name="T27" fmla="*/ 277 h 2627"/>
                  <a:gd name="T28" fmla="*/ 2304 w 5126"/>
                  <a:gd name="T29" fmla="*/ 190 h 2627"/>
                  <a:gd name="T30" fmla="*/ 2230 w 5126"/>
                  <a:gd name="T31" fmla="*/ 382 h 2627"/>
                  <a:gd name="T32" fmla="*/ 2007 w 5126"/>
                  <a:gd name="T33" fmla="*/ 377 h 2627"/>
                  <a:gd name="T34" fmla="*/ 2158 w 5126"/>
                  <a:gd name="T35" fmla="*/ 606 h 2627"/>
                  <a:gd name="T36" fmla="*/ 1855 w 5126"/>
                  <a:gd name="T37" fmla="*/ 559 h 2627"/>
                  <a:gd name="T38" fmla="*/ 1732 w 5126"/>
                  <a:gd name="T39" fmla="*/ 682 h 2627"/>
                  <a:gd name="T40" fmla="*/ 1639 w 5126"/>
                  <a:gd name="T41" fmla="*/ 909 h 2627"/>
                  <a:gd name="T42" fmla="*/ 1837 w 5126"/>
                  <a:gd name="T43" fmla="*/ 1067 h 2627"/>
                  <a:gd name="T44" fmla="*/ 1629 w 5126"/>
                  <a:gd name="T45" fmla="*/ 1309 h 2627"/>
                  <a:gd name="T46" fmla="*/ 1394 w 5126"/>
                  <a:gd name="T47" fmla="*/ 1410 h 2627"/>
                  <a:gd name="T48" fmla="*/ 1353 w 5126"/>
                  <a:gd name="T49" fmla="*/ 1703 h 2627"/>
                  <a:gd name="T50" fmla="*/ 1006 w 5126"/>
                  <a:gd name="T51" fmla="*/ 2064 h 2627"/>
                  <a:gd name="T52" fmla="*/ 623 w 5126"/>
                  <a:gd name="T53" fmla="*/ 2043 h 2627"/>
                  <a:gd name="T54" fmla="*/ 460 w 5126"/>
                  <a:gd name="T55" fmla="*/ 2161 h 2627"/>
                  <a:gd name="T56" fmla="*/ 91 w 5126"/>
                  <a:gd name="T57" fmla="*/ 2297 h 2627"/>
                  <a:gd name="T58" fmla="*/ 231 w 5126"/>
                  <a:gd name="T59" fmla="*/ 2402 h 2627"/>
                  <a:gd name="T60" fmla="*/ 519 w 5126"/>
                  <a:gd name="T61" fmla="*/ 2428 h 2627"/>
                  <a:gd name="T62" fmla="*/ 293 w 5126"/>
                  <a:gd name="T63" fmla="*/ 2600 h 2627"/>
                  <a:gd name="T64" fmla="*/ 672 w 5126"/>
                  <a:gd name="T65" fmla="*/ 2566 h 2627"/>
                  <a:gd name="T66" fmla="*/ 774 w 5126"/>
                  <a:gd name="T67" fmla="*/ 2357 h 2627"/>
                  <a:gd name="T68" fmla="*/ 1091 w 5126"/>
                  <a:gd name="T69" fmla="*/ 2317 h 2627"/>
                  <a:gd name="T70" fmla="*/ 1388 w 5126"/>
                  <a:gd name="T71" fmla="*/ 2548 h 2627"/>
                  <a:gd name="T72" fmla="*/ 1695 w 5126"/>
                  <a:gd name="T73" fmla="*/ 2462 h 2627"/>
                  <a:gd name="T74" fmla="*/ 2030 w 5126"/>
                  <a:gd name="T75" fmla="*/ 2224 h 2627"/>
                  <a:gd name="T76" fmla="*/ 2400 w 5126"/>
                  <a:gd name="T77" fmla="*/ 2193 h 2627"/>
                  <a:gd name="T78" fmla="*/ 2549 w 5126"/>
                  <a:gd name="T79" fmla="*/ 2017 h 2627"/>
                  <a:gd name="T80" fmla="*/ 2645 w 5126"/>
                  <a:gd name="T81" fmla="*/ 2009 h 2627"/>
                  <a:gd name="T82" fmla="*/ 2569 w 5126"/>
                  <a:gd name="T83" fmla="*/ 1725 h 2627"/>
                  <a:gd name="T84" fmla="*/ 2669 w 5126"/>
                  <a:gd name="T85" fmla="*/ 1774 h 2627"/>
                  <a:gd name="T86" fmla="*/ 2996 w 5126"/>
                  <a:gd name="T87" fmla="*/ 1776 h 2627"/>
                  <a:gd name="T88" fmla="*/ 3292 w 5126"/>
                  <a:gd name="T89" fmla="*/ 1538 h 2627"/>
                  <a:gd name="T90" fmla="*/ 3145 w 5126"/>
                  <a:gd name="T91" fmla="*/ 1468 h 2627"/>
                  <a:gd name="T92" fmla="*/ 3198 w 5126"/>
                  <a:gd name="T93" fmla="*/ 1272 h 2627"/>
                  <a:gd name="T94" fmla="*/ 3094 w 5126"/>
                  <a:gd name="T95" fmla="*/ 1195 h 2627"/>
                  <a:gd name="T96" fmla="*/ 3214 w 5126"/>
                  <a:gd name="T97" fmla="*/ 1118 h 2627"/>
                  <a:gd name="T98" fmla="*/ 3296 w 5126"/>
                  <a:gd name="T99" fmla="*/ 1028 h 2627"/>
                  <a:gd name="T100" fmla="*/ 3516 w 5126"/>
                  <a:gd name="T101" fmla="*/ 1207 h 2627"/>
                  <a:gd name="T102" fmla="*/ 3608 w 5126"/>
                  <a:gd name="T103" fmla="*/ 1377 h 2627"/>
                  <a:gd name="T104" fmla="*/ 3757 w 5126"/>
                  <a:gd name="T105" fmla="*/ 1481 h 2627"/>
                  <a:gd name="T106" fmla="*/ 4057 w 5126"/>
                  <a:gd name="T107" fmla="*/ 1512 h 2627"/>
                  <a:gd name="T108" fmla="*/ 4216 w 5126"/>
                  <a:gd name="T109" fmla="*/ 1558 h 2627"/>
                  <a:gd name="T110" fmla="*/ 4399 w 5126"/>
                  <a:gd name="T111" fmla="*/ 1464 h 2627"/>
                  <a:gd name="T112" fmla="*/ 4407 w 5126"/>
                  <a:gd name="T113" fmla="*/ 1318 h 2627"/>
                  <a:gd name="T114" fmla="*/ 4494 w 5126"/>
                  <a:gd name="T115" fmla="*/ 1345 h 2627"/>
                  <a:gd name="T116" fmla="*/ 4471 w 5126"/>
                  <a:gd name="T117" fmla="*/ 1431 h 2627"/>
                  <a:gd name="T118" fmla="*/ 4643 w 5126"/>
                  <a:gd name="T119" fmla="*/ 1285 h 2627"/>
                  <a:gd name="T120" fmla="*/ 4743 w 5126"/>
                  <a:gd name="T121" fmla="*/ 1145 h 2627"/>
                  <a:gd name="T122" fmla="*/ 4717 w 5126"/>
                  <a:gd name="T123" fmla="*/ 938 h 2627"/>
                  <a:gd name="T124" fmla="*/ 4691 w 5126"/>
                  <a:gd name="T125" fmla="*/ 783 h 2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26" h="2627">
                    <a:moveTo>
                      <a:pt x="4860" y="639"/>
                    </a:moveTo>
                    <a:lnTo>
                      <a:pt x="4872" y="643"/>
                    </a:lnTo>
                    <a:lnTo>
                      <a:pt x="4885" y="644"/>
                    </a:lnTo>
                    <a:lnTo>
                      <a:pt x="4897" y="645"/>
                    </a:lnTo>
                    <a:lnTo>
                      <a:pt x="4909" y="645"/>
                    </a:lnTo>
                    <a:lnTo>
                      <a:pt x="4935" y="645"/>
                    </a:lnTo>
                    <a:lnTo>
                      <a:pt x="4961" y="647"/>
                    </a:lnTo>
                    <a:lnTo>
                      <a:pt x="4972" y="651"/>
                    </a:lnTo>
                    <a:lnTo>
                      <a:pt x="4980" y="654"/>
                    </a:lnTo>
                    <a:lnTo>
                      <a:pt x="4985" y="657"/>
                    </a:lnTo>
                    <a:lnTo>
                      <a:pt x="4989" y="661"/>
                    </a:lnTo>
                    <a:lnTo>
                      <a:pt x="4992" y="666"/>
                    </a:lnTo>
                    <a:lnTo>
                      <a:pt x="4997" y="671"/>
                    </a:lnTo>
                    <a:lnTo>
                      <a:pt x="5003" y="676"/>
                    </a:lnTo>
                    <a:lnTo>
                      <a:pt x="5011" y="682"/>
                    </a:lnTo>
                    <a:lnTo>
                      <a:pt x="5020" y="687"/>
                    </a:lnTo>
                    <a:lnTo>
                      <a:pt x="5030" y="692"/>
                    </a:lnTo>
                    <a:lnTo>
                      <a:pt x="5040" y="694"/>
                    </a:lnTo>
                    <a:lnTo>
                      <a:pt x="5050" y="695"/>
                    </a:lnTo>
                    <a:lnTo>
                      <a:pt x="5058" y="695"/>
                    </a:lnTo>
                    <a:lnTo>
                      <a:pt x="5067" y="694"/>
                    </a:lnTo>
                    <a:lnTo>
                      <a:pt x="5076" y="693"/>
                    </a:lnTo>
                    <a:lnTo>
                      <a:pt x="5084" y="689"/>
                    </a:lnTo>
                    <a:lnTo>
                      <a:pt x="5091" y="684"/>
                    </a:lnTo>
                    <a:lnTo>
                      <a:pt x="5098" y="679"/>
                    </a:lnTo>
                    <a:lnTo>
                      <a:pt x="5104" y="673"/>
                    </a:lnTo>
                    <a:lnTo>
                      <a:pt x="5110" y="666"/>
                    </a:lnTo>
                    <a:lnTo>
                      <a:pt x="5115" y="657"/>
                    </a:lnTo>
                    <a:lnTo>
                      <a:pt x="5118" y="649"/>
                    </a:lnTo>
                    <a:lnTo>
                      <a:pt x="5122" y="639"/>
                    </a:lnTo>
                    <a:lnTo>
                      <a:pt x="5125" y="628"/>
                    </a:lnTo>
                    <a:lnTo>
                      <a:pt x="5126" y="614"/>
                    </a:lnTo>
                    <a:lnTo>
                      <a:pt x="5126" y="601"/>
                    </a:lnTo>
                    <a:lnTo>
                      <a:pt x="5125" y="590"/>
                    </a:lnTo>
                    <a:lnTo>
                      <a:pt x="5122" y="580"/>
                    </a:lnTo>
                    <a:lnTo>
                      <a:pt x="5115" y="558"/>
                    </a:lnTo>
                    <a:lnTo>
                      <a:pt x="5105" y="534"/>
                    </a:lnTo>
                    <a:lnTo>
                      <a:pt x="5095" y="498"/>
                    </a:lnTo>
                    <a:lnTo>
                      <a:pt x="5087" y="461"/>
                    </a:lnTo>
                    <a:lnTo>
                      <a:pt x="5084" y="452"/>
                    </a:lnTo>
                    <a:lnTo>
                      <a:pt x="5080" y="444"/>
                    </a:lnTo>
                    <a:lnTo>
                      <a:pt x="5077" y="436"/>
                    </a:lnTo>
                    <a:lnTo>
                      <a:pt x="5071" y="428"/>
                    </a:lnTo>
                    <a:lnTo>
                      <a:pt x="5065" y="422"/>
                    </a:lnTo>
                    <a:lnTo>
                      <a:pt x="5057" y="416"/>
                    </a:lnTo>
                    <a:lnTo>
                      <a:pt x="5049" y="411"/>
                    </a:lnTo>
                    <a:lnTo>
                      <a:pt x="5039" y="408"/>
                    </a:lnTo>
                    <a:lnTo>
                      <a:pt x="5033" y="403"/>
                    </a:lnTo>
                    <a:lnTo>
                      <a:pt x="5028" y="398"/>
                    </a:lnTo>
                    <a:lnTo>
                      <a:pt x="5023" y="392"/>
                    </a:lnTo>
                    <a:lnTo>
                      <a:pt x="5018" y="385"/>
                    </a:lnTo>
                    <a:lnTo>
                      <a:pt x="5009" y="371"/>
                    </a:lnTo>
                    <a:lnTo>
                      <a:pt x="5003" y="356"/>
                    </a:lnTo>
                    <a:lnTo>
                      <a:pt x="5000" y="340"/>
                    </a:lnTo>
                    <a:lnTo>
                      <a:pt x="4997" y="324"/>
                    </a:lnTo>
                    <a:lnTo>
                      <a:pt x="4997" y="316"/>
                    </a:lnTo>
                    <a:lnTo>
                      <a:pt x="4997" y="308"/>
                    </a:lnTo>
                    <a:lnTo>
                      <a:pt x="4998" y="301"/>
                    </a:lnTo>
                    <a:lnTo>
                      <a:pt x="5001" y="294"/>
                    </a:lnTo>
                    <a:lnTo>
                      <a:pt x="5005" y="279"/>
                    </a:lnTo>
                    <a:lnTo>
                      <a:pt x="5007" y="267"/>
                    </a:lnTo>
                    <a:lnTo>
                      <a:pt x="5008" y="257"/>
                    </a:lnTo>
                    <a:lnTo>
                      <a:pt x="5008" y="247"/>
                    </a:lnTo>
                    <a:lnTo>
                      <a:pt x="5005" y="239"/>
                    </a:lnTo>
                    <a:lnTo>
                      <a:pt x="5001" y="229"/>
                    </a:lnTo>
                    <a:lnTo>
                      <a:pt x="4994" y="219"/>
                    </a:lnTo>
                    <a:lnTo>
                      <a:pt x="4983" y="208"/>
                    </a:lnTo>
                    <a:lnTo>
                      <a:pt x="4978" y="202"/>
                    </a:lnTo>
                    <a:lnTo>
                      <a:pt x="4974" y="196"/>
                    </a:lnTo>
                    <a:lnTo>
                      <a:pt x="4972" y="190"/>
                    </a:lnTo>
                    <a:lnTo>
                      <a:pt x="4969" y="183"/>
                    </a:lnTo>
                    <a:lnTo>
                      <a:pt x="4967" y="171"/>
                    </a:lnTo>
                    <a:lnTo>
                      <a:pt x="4967" y="158"/>
                    </a:lnTo>
                    <a:lnTo>
                      <a:pt x="4972" y="132"/>
                    </a:lnTo>
                    <a:lnTo>
                      <a:pt x="4978" y="108"/>
                    </a:lnTo>
                    <a:lnTo>
                      <a:pt x="4981" y="95"/>
                    </a:lnTo>
                    <a:lnTo>
                      <a:pt x="4983" y="84"/>
                    </a:lnTo>
                    <a:lnTo>
                      <a:pt x="4983" y="78"/>
                    </a:lnTo>
                    <a:lnTo>
                      <a:pt x="4981" y="73"/>
                    </a:lnTo>
                    <a:lnTo>
                      <a:pt x="4981" y="68"/>
                    </a:lnTo>
                    <a:lnTo>
                      <a:pt x="4979" y="63"/>
                    </a:lnTo>
                    <a:lnTo>
                      <a:pt x="4976" y="59"/>
                    </a:lnTo>
                    <a:lnTo>
                      <a:pt x="4973" y="54"/>
                    </a:lnTo>
                    <a:lnTo>
                      <a:pt x="4969" y="49"/>
                    </a:lnTo>
                    <a:lnTo>
                      <a:pt x="4963" y="45"/>
                    </a:lnTo>
                    <a:lnTo>
                      <a:pt x="4957" y="40"/>
                    </a:lnTo>
                    <a:lnTo>
                      <a:pt x="4949" y="37"/>
                    </a:lnTo>
                    <a:lnTo>
                      <a:pt x="4941" y="33"/>
                    </a:lnTo>
                    <a:lnTo>
                      <a:pt x="4930" y="30"/>
                    </a:lnTo>
                    <a:lnTo>
                      <a:pt x="4910" y="27"/>
                    </a:lnTo>
                    <a:lnTo>
                      <a:pt x="4888" y="22"/>
                    </a:lnTo>
                    <a:lnTo>
                      <a:pt x="4866" y="16"/>
                    </a:lnTo>
                    <a:lnTo>
                      <a:pt x="4843" y="10"/>
                    </a:lnTo>
                    <a:lnTo>
                      <a:pt x="4820" y="3"/>
                    </a:lnTo>
                    <a:lnTo>
                      <a:pt x="4799" y="0"/>
                    </a:lnTo>
                    <a:lnTo>
                      <a:pt x="4788" y="0"/>
                    </a:lnTo>
                    <a:lnTo>
                      <a:pt x="4778" y="1"/>
                    </a:lnTo>
                    <a:lnTo>
                      <a:pt x="4770" y="2"/>
                    </a:lnTo>
                    <a:lnTo>
                      <a:pt x="4761" y="5"/>
                    </a:lnTo>
                    <a:lnTo>
                      <a:pt x="4745" y="11"/>
                    </a:lnTo>
                    <a:lnTo>
                      <a:pt x="4726" y="15"/>
                    </a:lnTo>
                    <a:lnTo>
                      <a:pt x="4706" y="18"/>
                    </a:lnTo>
                    <a:lnTo>
                      <a:pt x="4685" y="19"/>
                    </a:lnTo>
                    <a:lnTo>
                      <a:pt x="4666" y="22"/>
                    </a:lnTo>
                    <a:lnTo>
                      <a:pt x="4648" y="24"/>
                    </a:lnTo>
                    <a:lnTo>
                      <a:pt x="4640" y="26"/>
                    </a:lnTo>
                    <a:lnTo>
                      <a:pt x="4632" y="28"/>
                    </a:lnTo>
                    <a:lnTo>
                      <a:pt x="4626" y="29"/>
                    </a:lnTo>
                    <a:lnTo>
                      <a:pt x="4621" y="33"/>
                    </a:lnTo>
                    <a:lnTo>
                      <a:pt x="4613" y="39"/>
                    </a:lnTo>
                    <a:lnTo>
                      <a:pt x="4606" y="46"/>
                    </a:lnTo>
                    <a:lnTo>
                      <a:pt x="4601" y="55"/>
                    </a:lnTo>
                    <a:lnTo>
                      <a:pt x="4596" y="63"/>
                    </a:lnTo>
                    <a:lnTo>
                      <a:pt x="4591" y="72"/>
                    </a:lnTo>
                    <a:lnTo>
                      <a:pt x="4585" y="79"/>
                    </a:lnTo>
                    <a:lnTo>
                      <a:pt x="4580" y="83"/>
                    </a:lnTo>
                    <a:lnTo>
                      <a:pt x="4575" y="86"/>
                    </a:lnTo>
                    <a:lnTo>
                      <a:pt x="4569" y="89"/>
                    </a:lnTo>
                    <a:lnTo>
                      <a:pt x="4563" y="92"/>
                    </a:lnTo>
                    <a:lnTo>
                      <a:pt x="4533" y="99"/>
                    </a:lnTo>
                    <a:lnTo>
                      <a:pt x="4506" y="104"/>
                    </a:lnTo>
                    <a:lnTo>
                      <a:pt x="4493" y="106"/>
                    </a:lnTo>
                    <a:lnTo>
                      <a:pt x="4478" y="110"/>
                    </a:lnTo>
                    <a:lnTo>
                      <a:pt x="4464" y="116"/>
                    </a:lnTo>
                    <a:lnTo>
                      <a:pt x="4446" y="123"/>
                    </a:lnTo>
                    <a:lnTo>
                      <a:pt x="4442" y="126"/>
                    </a:lnTo>
                    <a:lnTo>
                      <a:pt x="4437" y="131"/>
                    </a:lnTo>
                    <a:lnTo>
                      <a:pt x="4434" y="136"/>
                    </a:lnTo>
                    <a:lnTo>
                      <a:pt x="4433" y="141"/>
                    </a:lnTo>
                    <a:lnTo>
                      <a:pt x="4431" y="154"/>
                    </a:lnTo>
                    <a:lnTo>
                      <a:pt x="4429" y="169"/>
                    </a:lnTo>
                    <a:lnTo>
                      <a:pt x="4429" y="176"/>
                    </a:lnTo>
                    <a:lnTo>
                      <a:pt x="4427" y="185"/>
                    </a:lnTo>
                    <a:lnTo>
                      <a:pt x="4426" y="192"/>
                    </a:lnTo>
                    <a:lnTo>
                      <a:pt x="4422" y="199"/>
                    </a:lnTo>
                    <a:lnTo>
                      <a:pt x="4417" y="208"/>
                    </a:lnTo>
                    <a:lnTo>
                      <a:pt x="4411" y="215"/>
                    </a:lnTo>
                    <a:lnTo>
                      <a:pt x="4404" y="221"/>
                    </a:lnTo>
                    <a:lnTo>
                      <a:pt x="4394" y="229"/>
                    </a:lnTo>
                    <a:lnTo>
                      <a:pt x="4369" y="243"/>
                    </a:lnTo>
                    <a:lnTo>
                      <a:pt x="4340" y="262"/>
                    </a:lnTo>
                    <a:lnTo>
                      <a:pt x="4308" y="280"/>
                    </a:lnTo>
                    <a:lnTo>
                      <a:pt x="4275" y="299"/>
                    </a:lnTo>
                    <a:lnTo>
                      <a:pt x="4258" y="306"/>
                    </a:lnTo>
                    <a:lnTo>
                      <a:pt x="4241" y="313"/>
                    </a:lnTo>
                    <a:lnTo>
                      <a:pt x="4225" y="319"/>
                    </a:lnTo>
                    <a:lnTo>
                      <a:pt x="4209" y="324"/>
                    </a:lnTo>
                    <a:lnTo>
                      <a:pt x="4193" y="327"/>
                    </a:lnTo>
                    <a:lnTo>
                      <a:pt x="4178" y="328"/>
                    </a:lnTo>
                    <a:lnTo>
                      <a:pt x="4171" y="327"/>
                    </a:lnTo>
                    <a:lnTo>
                      <a:pt x="4165" y="327"/>
                    </a:lnTo>
                    <a:lnTo>
                      <a:pt x="4158" y="325"/>
                    </a:lnTo>
                    <a:lnTo>
                      <a:pt x="4151" y="323"/>
                    </a:lnTo>
                    <a:lnTo>
                      <a:pt x="4121" y="308"/>
                    </a:lnTo>
                    <a:lnTo>
                      <a:pt x="4089" y="291"/>
                    </a:lnTo>
                    <a:lnTo>
                      <a:pt x="4073" y="285"/>
                    </a:lnTo>
                    <a:lnTo>
                      <a:pt x="4057" y="281"/>
                    </a:lnTo>
                    <a:lnTo>
                      <a:pt x="4050" y="280"/>
                    </a:lnTo>
                    <a:lnTo>
                      <a:pt x="4043" y="279"/>
                    </a:lnTo>
                    <a:lnTo>
                      <a:pt x="4035" y="280"/>
                    </a:lnTo>
                    <a:lnTo>
                      <a:pt x="4027" y="281"/>
                    </a:lnTo>
                    <a:lnTo>
                      <a:pt x="4022" y="291"/>
                    </a:lnTo>
                    <a:lnTo>
                      <a:pt x="4018" y="301"/>
                    </a:lnTo>
                    <a:lnTo>
                      <a:pt x="4014" y="312"/>
                    </a:lnTo>
                    <a:lnTo>
                      <a:pt x="4011" y="322"/>
                    </a:lnTo>
                    <a:lnTo>
                      <a:pt x="4006" y="344"/>
                    </a:lnTo>
                    <a:lnTo>
                      <a:pt x="4002" y="366"/>
                    </a:lnTo>
                    <a:lnTo>
                      <a:pt x="3998" y="388"/>
                    </a:lnTo>
                    <a:lnTo>
                      <a:pt x="3994" y="409"/>
                    </a:lnTo>
                    <a:lnTo>
                      <a:pt x="3991" y="420"/>
                    </a:lnTo>
                    <a:lnTo>
                      <a:pt x="3986" y="430"/>
                    </a:lnTo>
                    <a:lnTo>
                      <a:pt x="3983" y="438"/>
                    </a:lnTo>
                    <a:lnTo>
                      <a:pt x="3976" y="448"/>
                    </a:lnTo>
                    <a:lnTo>
                      <a:pt x="3973" y="452"/>
                    </a:lnTo>
                    <a:lnTo>
                      <a:pt x="3969" y="455"/>
                    </a:lnTo>
                    <a:lnTo>
                      <a:pt x="3965" y="459"/>
                    </a:lnTo>
                    <a:lnTo>
                      <a:pt x="3962" y="461"/>
                    </a:lnTo>
                    <a:lnTo>
                      <a:pt x="3952" y="464"/>
                    </a:lnTo>
                    <a:lnTo>
                      <a:pt x="3942" y="464"/>
                    </a:lnTo>
                    <a:lnTo>
                      <a:pt x="3931" y="464"/>
                    </a:lnTo>
                    <a:lnTo>
                      <a:pt x="3920" y="460"/>
                    </a:lnTo>
                    <a:lnTo>
                      <a:pt x="3909" y="456"/>
                    </a:lnTo>
                    <a:lnTo>
                      <a:pt x="3897" y="452"/>
                    </a:lnTo>
                    <a:lnTo>
                      <a:pt x="3874" y="442"/>
                    </a:lnTo>
                    <a:lnTo>
                      <a:pt x="3850" y="432"/>
                    </a:lnTo>
                    <a:lnTo>
                      <a:pt x="3839" y="427"/>
                    </a:lnTo>
                    <a:lnTo>
                      <a:pt x="3830" y="425"/>
                    </a:lnTo>
                    <a:lnTo>
                      <a:pt x="3820" y="423"/>
                    </a:lnTo>
                    <a:lnTo>
                      <a:pt x="3810" y="423"/>
                    </a:lnTo>
                    <a:lnTo>
                      <a:pt x="3784" y="427"/>
                    </a:lnTo>
                    <a:lnTo>
                      <a:pt x="3765" y="431"/>
                    </a:lnTo>
                    <a:lnTo>
                      <a:pt x="3757" y="431"/>
                    </a:lnTo>
                    <a:lnTo>
                      <a:pt x="3750" y="431"/>
                    </a:lnTo>
                    <a:lnTo>
                      <a:pt x="3743" y="431"/>
                    </a:lnTo>
                    <a:lnTo>
                      <a:pt x="3737" y="428"/>
                    </a:lnTo>
                    <a:lnTo>
                      <a:pt x="3732" y="426"/>
                    </a:lnTo>
                    <a:lnTo>
                      <a:pt x="3725" y="422"/>
                    </a:lnTo>
                    <a:lnTo>
                      <a:pt x="3721" y="419"/>
                    </a:lnTo>
                    <a:lnTo>
                      <a:pt x="3714" y="412"/>
                    </a:lnTo>
                    <a:lnTo>
                      <a:pt x="3701" y="396"/>
                    </a:lnTo>
                    <a:lnTo>
                      <a:pt x="3685" y="374"/>
                    </a:lnTo>
                    <a:lnTo>
                      <a:pt x="3672" y="359"/>
                    </a:lnTo>
                    <a:lnTo>
                      <a:pt x="3656" y="343"/>
                    </a:lnTo>
                    <a:lnTo>
                      <a:pt x="3637" y="328"/>
                    </a:lnTo>
                    <a:lnTo>
                      <a:pt x="3619" y="312"/>
                    </a:lnTo>
                    <a:lnTo>
                      <a:pt x="3602" y="297"/>
                    </a:lnTo>
                    <a:lnTo>
                      <a:pt x="3588" y="283"/>
                    </a:lnTo>
                    <a:lnTo>
                      <a:pt x="3582" y="275"/>
                    </a:lnTo>
                    <a:lnTo>
                      <a:pt x="3577" y="268"/>
                    </a:lnTo>
                    <a:lnTo>
                      <a:pt x="3574" y="261"/>
                    </a:lnTo>
                    <a:lnTo>
                      <a:pt x="3571" y="252"/>
                    </a:lnTo>
                    <a:lnTo>
                      <a:pt x="3564" y="209"/>
                    </a:lnTo>
                    <a:lnTo>
                      <a:pt x="3557" y="182"/>
                    </a:lnTo>
                    <a:lnTo>
                      <a:pt x="3554" y="175"/>
                    </a:lnTo>
                    <a:lnTo>
                      <a:pt x="3550" y="170"/>
                    </a:lnTo>
                    <a:lnTo>
                      <a:pt x="3548" y="169"/>
                    </a:lnTo>
                    <a:lnTo>
                      <a:pt x="3546" y="168"/>
                    </a:lnTo>
                    <a:lnTo>
                      <a:pt x="3544" y="168"/>
                    </a:lnTo>
                    <a:lnTo>
                      <a:pt x="3542" y="169"/>
                    </a:lnTo>
                    <a:lnTo>
                      <a:pt x="3537" y="171"/>
                    </a:lnTo>
                    <a:lnTo>
                      <a:pt x="3532" y="177"/>
                    </a:lnTo>
                    <a:lnTo>
                      <a:pt x="3526" y="185"/>
                    </a:lnTo>
                    <a:lnTo>
                      <a:pt x="3519" y="193"/>
                    </a:lnTo>
                    <a:lnTo>
                      <a:pt x="3502" y="214"/>
                    </a:lnTo>
                    <a:lnTo>
                      <a:pt x="3479" y="239"/>
                    </a:lnTo>
                    <a:lnTo>
                      <a:pt x="3479" y="240"/>
                    </a:lnTo>
                    <a:lnTo>
                      <a:pt x="3479" y="242"/>
                    </a:lnTo>
                    <a:lnTo>
                      <a:pt x="3482" y="247"/>
                    </a:lnTo>
                    <a:lnTo>
                      <a:pt x="3483" y="252"/>
                    </a:lnTo>
                    <a:lnTo>
                      <a:pt x="3483" y="258"/>
                    </a:lnTo>
                    <a:lnTo>
                      <a:pt x="3481" y="264"/>
                    </a:lnTo>
                    <a:lnTo>
                      <a:pt x="3477" y="269"/>
                    </a:lnTo>
                    <a:lnTo>
                      <a:pt x="3472" y="275"/>
                    </a:lnTo>
                    <a:lnTo>
                      <a:pt x="3466" y="281"/>
                    </a:lnTo>
                    <a:lnTo>
                      <a:pt x="3460" y="288"/>
                    </a:lnTo>
                    <a:lnTo>
                      <a:pt x="3442" y="299"/>
                    </a:lnTo>
                    <a:lnTo>
                      <a:pt x="3421" y="310"/>
                    </a:lnTo>
                    <a:lnTo>
                      <a:pt x="3397" y="319"/>
                    </a:lnTo>
                    <a:lnTo>
                      <a:pt x="3372" y="328"/>
                    </a:lnTo>
                    <a:lnTo>
                      <a:pt x="3345" y="337"/>
                    </a:lnTo>
                    <a:lnTo>
                      <a:pt x="3318" y="343"/>
                    </a:lnTo>
                    <a:lnTo>
                      <a:pt x="3291" y="346"/>
                    </a:lnTo>
                    <a:lnTo>
                      <a:pt x="3265" y="349"/>
                    </a:lnTo>
                    <a:lnTo>
                      <a:pt x="3253" y="349"/>
                    </a:lnTo>
                    <a:lnTo>
                      <a:pt x="3241" y="349"/>
                    </a:lnTo>
                    <a:lnTo>
                      <a:pt x="3230" y="348"/>
                    </a:lnTo>
                    <a:lnTo>
                      <a:pt x="3220" y="346"/>
                    </a:lnTo>
                    <a:lnTo>
                      <a:pt x="3210" y="344"/>
                    </a:lnTo>
                    <a:lnTo>
                      <a:pt x="3203" y="340"/>
                    </a:lnTo>
                    <a:lnTo>
                      <a:pt x="3196" y="337"/>
                    </a:lnTo>
                    <a:lnTo>
                      <a:pt x="3189" y="332"/>
                    </a:lnTo>
                    <a:lnTo>
                      <a:pt x="3182" y="325"/>
                    </a:lnTo>
                    <a:lnTo>
                      <a:pt x="3176" y="321"/>
                    </a:lnTo>
                    <a:lnTo>
                      <a:pt x="3170" y="317"/>
                    </a:lnTo>
                    <a:lnTo>
                      <a:pt x="3164" y="316"/>
                    </a:lnTo>
                    <a:lnTo>
                      <a:pt x="3159" y="314"/>
                    </a:lnTo>
                    <a:lnTo>
                      <a:pt x="3153" y="316"/>
                    </a:lnTo>
                    <a:lnTo>
                      <a:pt x="3148" y="317"/>
                    </a:lnTo>
                    <a:lnTo>
                      <a:pt x="3143" y="319"/>
                    </a:lnTo>
                    <a:lnTo>
                      <a:pt x="3132" y="325"/>
                    </a:lnTo>
                    <a:lnTo>
                      <a:pt x="3122" y="335"/>
                    </a:lnTo>
                    <a:lnTo>
                      <a:pt x="3111" y="345"/>
                    </a:lnTo>
                    <a:lnTo>
                      <a:pt x="3099" y="357"/>
                    </a:lnTo>
                    <a:lnTo>
                      <a:pt x="3085" y="362"/>
                    </a:lnTo>
                    <a:lnTo>
                      <a:pt x="3072" y="366"/>
                    </a:lnTo>
                    <a:lnTo>
                      <a:pt x="3061" y="368"/>
                    </a:lnTo>
                    <a:lnTo>
                      <a:pt x="3050" y="371"/>
                    </a:lnTo>
                    <a:lnTo>
                      <a:pt x="3040" y="371"/>
                    </a:lnTo>
                    <a:lnTo>
                      <a:pt x="3031" y="370"/>
                    </a:lnTo>
                    <a:lnTo>
                      <a:pt x="3024" y="367"/>
                    </a:lnTo>
                    <a:lnTo>
                      <a:pt x="3017" y="363"/>
                    </a:lnTo>
                    <a:lnTo>
                      <a:pt x="3011" y="360"/>
                    </a:lnTo>
                    <a:lnTo>
                      <a:pt x="3003" y="355"/>
                    </a:lnTo>
                    <a:lnTo>
                      <a:pt x="2997" y="349"/>
                    </a:lnTo>
                    <a:lnTo>
                      <a:pt x="2991" y="341"/>
                    </a:lnTo>
                    <a:lnTo>
                      <a:pt x="2979" y="325"/>
                    </a:lnTo>
                    <a:lnTo>
                      <a:pt x="2964" y="307"/>
                    </a:lnTo>
                    <a:lnTo>
                      <a:pt x="2960" y="303"/>
                    </a:lnTo>
                    <a:lnTo>
                      <a:pt x="2956" y="300"/>
                    </a:lnTo>
                    <a:lnTo>
                      <a:pt x="2952" y="296"/>
                    </a:lnTo>
                    <a:lnTo>
                      <a:pt x="2947" y="294"/>
                    </a:lnTo>
                    <a:lnTo>
                      <a:pt x="2937" y="291"/>
                    </a:lnTo>
                    <a:lnTo>
                      <a:pt x="2929" y="291"/>
                    </a:lnTo>
                    <a:lnTo>
                      <a:pt x="2919" y="292"/>
                    </a:lnTo>
                    <a:lnTo>
                      <a:pt x="2909" y="296"/>
                    </a:lnTo>
                    <a:lnTo>
                      <a:pt x="2898" y="300"/>
                    </a:lnTo>
                    <a:lnTo>
                      <a:pt x="2888" y="306"/>
                    </a:lnTo>
                    <a:lnTo>
                      <a:pt x="2869" y="319"/>
                    </a:lnTo>
                    <a:lnTo>
                      <a:pt x="2849" y="333"/>
                    </a:lnTo>
                    <a:lnTo>
                      <a:pt x="2839" y="339"/>
                    </a:lnTo>
                    <a:lnTo>
                      <a:pt x="2831" y="345"/>
                    </a:lnTo>
                    <a:lnTo>
                      <a:pt x="2822" y="349"/>
                    </a:lnTo>
                    <a:lnTo>
                      <a:pt x="2814" y="351"/>
                    </a:lnTo>
                    <a:lnTo>
                      <a:pt x="2807" y="352"/>
                    </a:lnTo>
                    <a:lnTo>
                      <a:pt x="2800" y="352"/>
                    </a:lnTo>
                    <a:lnTo>
                      <a:pt x="2794" y="352"/>
                    </a:lnTo>
                    <a:lnTo>
                      <a:pt x="2788" y="351"/>
                    </a:lnTo>
                    <a:lnTo>
                      <a:pt x="2774" y="348"/>
                    </a:lnTo>
                    <a:lnTo>
                      <a:pt x="2760" y="343"/>
                    </a:lnTo>
                    <a:lnTo>
                      <a:pt x="2746" y="338"/>
                    </a:lnTo>
                    <a:lnTo>
                      <a:pt x="2733" y="332"/>
                    </a:lnTo>
                    <a:lnTo>
                      <a:pt x="2719" y="328"/>
                    </a:lnTo>
                    <a:lnTo>
                      <a:pt x="2706" y="325"/>
                    </a:lnTo>
                    <a:lnTo>
                      <a:pt x="2689" y="322"/>
                    </a:lnTo>
                    <a:lnTo>
                      <a:pt x="2672" y="316"/>
                    </a:lnTo>
                    <a:lnTo>
                      <a:pt x="2654" y="310"/>
                    </a:lnTo>
                    <a:lnTo>
                      <a:pt x="2639" y="302"/>
                    </a:lnTo>
                    <a:lnTo>
                      <a:pt x="2623" y="295"/>
                    </a:lnTo>
                    <a:lnTo>
                      <a:pt x="2608" y="288"/>
                    </a:lnTo>
                    <a:lnTo>
                      <a:pt x="2595" y="284"/>
                    </a:lnTo>
                    <a:lnTo>
                      <a:pt x="2582" y="281"/>
                    </a:lnTo>
                    <a:lnTo>
                      <a:pt x="2574" y="283"/>
                    </a:lnTo>
                    <a:lnTo>
                      <a:pt x="2566" y="285"/>
                    </a:lnTo>
                    <a:lnTo>
                      <a:pt x="2559" y="288"/>
                    </a:lnTo>
                    <a:lnTo>
                      <a:pt x="2552" y="290"/>
                    </a:lnTo>
                    <a:lnTo>
                      <a:pt x="2544" y="292"/>
                    </a:lnTo>
                    <a:lnTo>
                      <a:pt x="2537" y="292"/>
                    </a:lnTo>
                    <a:lnTo>
                      <a:pt x="2533" y="291"/>
                    </a:lnTo>
                    <a:lnTo>
                      <a:pt x="2530" y="290"/>
                    </a:lnTo>
                    <a:lnTo>
                      <a:pt x="2526" y="288"/>
                    </a:lnTo>
                    <a:lnTo>
                      <a:pt x="2521" y="284"/>
                    </a:lnTo>
                    <a:lnTo>
                      <a:pt x="2515" y="277"/>
                    </a:lnTo>
                    <a:lnTo>
                      <a:pt x="2509" y="267"/>
                    </a:lnTo>
                    <a:lnTo>
                      <a:pt x="2503" y="257"/>
                    </a:lnTo>
                    <a:lnTo>
                      <a:pt x="2498" y="247"/>
                    </a:lnTo>
                    <a:lnTo>
                      <a:pt x="2492" y="239"/>
                    </a:lnTo>
                    <a:lnTo>
                      <a:pt x="2484" y="231"/>
                    </a:lnTo>
                    <a:lnTo>
                      <a:pt x="2481" y="228"/>
                    </a:lnTo>
                    <a:lnTo>
                      <a:pt x="2477" y="225"/>
                    </a:lnTo>
                    <a:lnTo>
                      <a:pt x="2472" y="223"/>
                    </a:lnTo>
                    <a:lnTo>
                      <a:pt x="2467" y="220"/>
                    </a:lnTo>
                    <a:lnTo>
                      <a:pt x="2453" y="218"/>
                    </a:lnTo>
                    <a:lnTo>
                      <a:pt x="2439" y="217"/>
                    </a:lnTo>
                    <a:lnTo>
                      <a:pt x="2424" y="217"/>
                    </a:lnTo>
                    <a:lnTo>
                      <a:pt x="2411" y="218"/>
                    </a:lnTo>
                    <a:lnTo>
                      <a:pt x="2397" y="218"/>
                    </a:lnTo>
                    <a:lnTo>
                      <a:pt x="2383" y="218"/>
                    </a:lnTo>
                    <a:lnTo>
                      <a:pt x="2369" y="217"/>
                    </a:lnTo>
                    <a:lnTo>
                      <a:pt x="2356" y="214"/>
                    </a:lnTo>
                    <a:lnTo>
                      <a:pt x="2344" y="210"/>
                    </a:lnTo>
                    <a:lnTo>
                      <a:pt x="2333" y="204"/>
                    </a:lnTo>
                    <a:lnTo>
                      <a:pt x="2323" y="198"/>
                    </a:lnTo>
                    <a:lnTo>
                      <a:pt x="2313" y="192"/>
                    </a:lnTo>
                    <a:lnTo>
                      <a:pt x="2309" y="191"/>
                    </a:lnTo>
                    <a:lnTo>
                      <a:pt x="2304" y="190"/>
                    </a:lnTo>
                    <a:lnTo>
                      <a:pt x="2301" y="190"/>
                    </a:lnTo>
                    <a:lnTo>
                      <a:pt x="2296" y="191"/>
                    </a:lnTo>
                    <a:lnTo>
                      <a:pt x="2292" y="194"/>
                    </a:lnTo>
                    <a:lnTo>
                      <a:pt x="2287" y="198"/>
                    </a:lnTo>
                    <a:lnTo>
                      <a:pt x="2284" y="204"/>
                    </a:lnTo>
                    <a:lnTo>
                      <a:pt x="2279" y="213"/>
                    </a:lnTo>
                    <a:lnTo>
                      <a:pt x="2276" y="220"/>
                    </a:lnTo>
                    <a:lnTo>
                      <a:pt x="2275" y="228"/>
                    </a:lnTo>
                    <a:lnTo>
                      <a:pt x="2274" y="235"/>
                    </a:lnTo>
                    <a:lnTo>
                      <a:pt x="2273" y="242"/>
                    </a:lnTo>
                    <a:lnTo>
                      <a:pt x="2274" y="256"/>
                    </a:lnTo>
                    <a:lnTo>
                      <a:pt x="2275" y="270"/>
                    </a:lnTo>
                    <a:lnTo>
                      <a:pt x="2278" y="285"/>
                    </a:lnTo>
                    <a:lnTo>
                      <a:pt x="2279" y="300"/>
                    </a:lnTo>
                    <a:lnTo>
                      <a:pt x="2279" y="307"/>
                    </a:lnTo>
                    <a:lnTo>
                      <a:pt x="2278" y="314"/>
                    </a:lnTo>
                    <a:lnTo>
                      <a:pt x="2276" y="322"/>
                    </a:lnTo>
                    <a:lnTo>
                      <a:pt x="2273" y="330"/>
                    </a:lnTo>
                    <a:lnTo>
                      <a:pt x="2263" y="349"/>
                    </a:lnTo>
                    <a:lnTo>
                      <a:pt x="2253" y="362"/>
                    </a:lnTo>
                    <a:lnTo>
                      <a:pt x="2244" y="372"/>
                    </a:lnTo>
                    <a:lnTo>
                      <a:pt x="2235" y="379"/>
                    </a:lnTo>
                    <a:lnTo>
                      <a:pt x="2230" y="382"/>
                    </a:lnTo>
                    <a:lnTo>
                      <a:pt x="2225" y="383"/>
                    </a:lnTo>
                    <a:lnTo>
                      <a:pt x="2220" y="384"/>
                    </a:lnTo>
                    <a:lnTo>
                      <a:pt x="2215" y="384"/>
                    </a:lnTo>
                    <a:lnTo>
                      <a:pt x="2207" y="383"/>
                    </a:lnTo>
                    <a:lnTo>
                      <a:pt x="2197" y="381"/>
                    </a:lnTo>
                    <a:lnTo>
                      <a:pt x="2176" y="371"/>
                    </a:lnTo>
                    <a:lnTo>
                      <a:pt x="2155" y="360"/>
                    </a:lnTo>
                    <a:lnTo>
                      <a:pt x="2143" y="354"/>
                    </a:lnTo>
                    <a:lnTo>
                      <a:pt x="2132" y="349"/>
                    </a:lnTo>
                    <a:lnTo>
                      <a:pt x="2118" y="344"/>
                    </a:lnTo>
                    <a:lnTo>
                      <a:pt x="2105" y="341"/>
                    </a:lnTo>
                    <a:lnTo>
                      <a:pt x="2093" y="339"/>
                    </a:lnTo>
                    <a:lnTo>
                      <a:pt x="2079" y="339"/>
                    </a:lnTo>
                    <a:lnTo>
                      <a:pt x="2066" y="340"/>
                    </a:lnTo>
                    <a:lnTo>
                      <a:pt x="2054" y="341"/>
                    </a:lnTo>
                    <a:lnTo>
                      <a:pt x="2041" y="345"/>
                    </a:lnTo>
                    <a:lnTo>
                      <a:pt x="2030" y="349"/>
                    </a:lnTo>
                    <a:lnTo>
                      <a:pt x="2022" y="354"/>
                    </a:lnTo>
                    <a:lnTo>
                      <a:pt x="2014" y="359"/>
                    </a:lnTo>
                    <a:lnTo>
                      <a:pt x="2009" y="365"/>
                    </a:lnTo>
                    <a:lnTo>
                      <a:pt x="2007" y="371"/>
                    </a:lnTo>
                    <a:lnTo>
                      <a:pt x="2007" y="374"/>
                    </a:lnTo>
                    <a:lnTo>
                      <a:pt x="2007" y="377"/>
                    </a:lnTo>
                    <a:lnTo>
                      <a:pt x="2008" y="381"/>
                    </a:lnTo>
                    <a:lnTo>
                      <a:pt x="2011" y="384"/>
                    </a:lnTo>
                    <a:lnTo>
                      <a:pt x="2018" y="392"/>
                    </a:lnTo>
                    <a:lnTo>
                      <a:pt x="2028" y="399"/>
                    </a:lnTo>
                    <a:lnTo>
                      <a:pt x="2044" y="406"/>
                    </a:lnTo>
                    <a:lnTo>
                      <a:pt x="2062" y="414"/>
                    </a:lnTo>
                    <a:lnTo>
                      <a:pt x="2083" y="420"/>
                    </a:lnTo>
                    <a:lnTo>
                      <a:pt x="2099" y="426"/>
                    </a:lnTo>
                    <a:lnTo>
                      <a:pt x="2111" y="431"/>
                    </a:lnTo>
                    <a:lnTo>
                      <a:pt x="2121" y="437"/>
                    </a:lnTo>
                    <a:lnTo>
                      <a:pt x="2128" y="445"/>
                    </a:lnTo>
                    <a:lnTo>
                      <a:pt x="2137" y="456"/>
                    </a:lnTo>
                    <a:lnTo>
                      <a:pt x="2144" y="471"/>
                    </a:lnTo>
                    <a:lnTo>
                      <a:pt x="2154" y="492"/>
                    </a:lnTo>
                    <a:lnTo>
                      <a:pt x="2159" y="504"/>
                    </a:lnTo>
                    <a:lnTo>
                      <a:pt x="2162" y="516"/>
                    </a:lnTo>
                    <a:lnTo>
                      <a:pt x="2166" y="530"/>
                    </a:lnTo>
                    <a:lnTo>
                      <a:pt x="2167" y="543"/>
                    </a:lnTo>
                    <a:lnTo>
                      <a:pt x="2169" y="556"/>
                    </a:lnTo>
                    <a:lnTo>
                      <a:pt x="2167" y="569"/>
                    </a:lnTo>
                    <a:lnTo>
                      <a:pt x="2166" y="581"/>
                    </a:lnTo>
                    <a:lnTo>
                      <a:pt x="2162" y="595"/>
                    </a:lnTo>
                    <a:lnTo>
                      <a:pt x="2158" y="606"/>
                    </a:lnTo>
                    <a:lnTo>
                      <a:pt x="2153" y="617"/>
                    </a:lnTo>
                    <a:lnTo>
                      <a:pt x="2145" y="628"/>
                    </a:lnTo>
                    <a:lnTo>
                      <a:pt x="2137" y="636"/>
                    </a:lnTo>
                    <a:lnTo>
                      <a:pt x="2127" y="645"/>
                    </a:lnTo>
                    <a:lnTo>
                      <a:pt x="2116" y="652"/>
                    </a:lnTo>
                    <a:lnTo>
                      <a:pt x="2104" y="659"/>
                    </a:lnTo>
                    <a:lnTo>
                      <a:pt x="2089" y="662"/>
                    </a:lnTo>
                    <a:lnTo>
                      <a:pt x="2076" y="665"/>
                    </a:lnTo>
                    <a:lnTo>
                      <a:pt x="2060" y="665"/>
                    </a:lnTo>
                    <a:lnTo>
                      <a:pt x="2045" y="663"/>
                    </a:lnTo>
                    <a:lnTo>
                      <a:pt x="2028" y="661"/>
                    </a:lnTo>
                    <a:lnTo>
                      <a:pt x="2012" y="657"/>
                    </a:lnTo>
                    <a:lnTo>
                      <a:pt x="1995" y="652"/>
                    </a:lnTo>
                    <a:lnTo>
                      <a:pt x="1978" y="646"/>
                    </a:lnTo>
                    <a:lnTo>
                      <a:pt x="1960" y="639"/>
                    </a:lnTo>
                    <a:lnTo>
                      <a:pt x="1945" y="630"/>
                    </a:lnTo>
                    <a:lnTo>
                      <a:pt x="1929" y="622"/>
                    </a:lnTo>
                    <a:lnTo>
                      <a:pt x="1914" y="612"/>
                    </a:lnTo>
                    <a:lnTo>
                      <a:pt x="1899" y="602"/>
                    </a:lnTo>
                    <a:lnTo>
                      <a:pt x="1886" y="591"/>
                    </a:lnTo>
                    <a:lnTo>
                      <a:pt x="1874" y="581"/>
                    </a:lnTo>
                    <a:lnTo>
                      <a:pt x="1864" y="570"/>
                    </a:lnTo>
                    <a:lnTo>
                      <a:pt x="1855" y="559"/>
                    </a:lnTo>
                    <a:lnTo>
                      <a:pt x="1844" y="547"/>
                    </a:lnTo>
                    <a:lnTo>
                      <a:pt x="1833" y="535"/>
                    </a:lnTo>
                    <a:lnTo>
                      <a:pt x="1827" y="530"/>
                    </a:lnTo>
                    <a:lnTo>
                      <a:pt x="1821" y="525"/>
                    </a:lnTo>
                    <a:lnTo>
                      <a:pt x="1815" y="521"/>
                    </a:lnTo>
                    <a:lnTo>
                      <a:pt x="1809" y="519"/>
                    </a:lnTo>
                    <a:lnTo>
                      <a:pt x="1803" y="516"/>
                    </a:lnTo>
                    <a:lnTo>
                      <a:pt x="1798" y="516"/>
                    </a:lnTo>
                    <a:lnTo>
                      <a:pt x="1792" y="519"/>
                    </a:lnTo>
                    <a:lnTo>
                      <a:pt x="1787" y="521"/>
                    </a:lnTo>
                    <a:lnTo>
                      <a:pt x="1783" y="526"/>
                    </a:lnTo>
                    <a:lnTo>
                      <a:pt x="1779" y="534"/>
                    </a:lnTo>
                    <a:lnTo>
                      <a:pt x="1776" y="542"/>
                    </a:lnTo>
                    <a:lnTo>
                      <a:pt x="1774" y="554"/>
                    </a:lnTo>
                    <a:lnTo>
                      <a:pt x="1771" y="579"/>
                    </a:lnTo>
                    <a:lnTo>
                      <a:pt x="1768" y="602"/>
                    </a:lnTo>
                    <a:lnTo>
                      <a:pt x="1766" y="623"/>
                    </a:lnTo>
                    <a:lnTo>
                      <a:pt x="1761" y="643"/>
                    </a:lnTo>
                    <a:lnTo>
                      <a:pt x="1757" y="651"/>
                    </a:lnTo>
                    <a:lnTo>
                      <a:pt x="1752" y="660"/>
                    </a:lnTo>
                    <a:lnTo>
                      <a:pt x="1748" y="667"/>
                    </a:lnTo>
                    <a:lnTo>
                      <a:pt x="1740" y="674"/>
                    </a:lnTo>
                    <a:lnTo>
                      <a:pt x="1732" y="682"/>
                    </a:lnTo>
                    <a:lnTo>
                      <a:pt x="1721" y="687"/>
                    </a:lnTo>
                    <a:lnTo>
                      <a:pt x="1708" y="693"/>
                    </a:lnTo>
                    <a:lnTo>
                      <a:pt x="1695" y="698"/>
                    </a:lnTo>
                    <a:lnTo>
                      <a:pt x="1675" y="704"/>
                    </a:lnTo>
                    <a:lnTo>
                      <a:pt x="1661" y="710"/>
                    </a:lnTo>
                    <a:lnTo>
                      <a:pt x="1650" y="716"/>
                    </a:lnTo>
                    <a:lnTo>
                      <a:pt x="1641" y="722"/>
                    </a:lnTo>
                    <a:lnTo>
                      <a:pt x="1636" y="730"/>
                    </a:lnTo>
                    <a:lnTo>
                      <a:pt x="1634" y="737"/>
                    </a:lnTo>
                    <a:lnTo>
                      <a:pt x="1632" y="744"/>
                    </a:lnTo>
                    <a:lnTo>
                      <a:pt x="1632" y="752"/>
                    </a:lnTo>
                    <a:lnTo>
                      <a:pt x="1637" y="769"/>
                    </a:lnTo>
                    <a:lnTo>
                      <a:pt x="1641" y="788"/>
                    </a:lnTo>
                    <a:lnTo>
                      <a:pt x="1643" y="798"/>
                    </a:lnTo>
                    <a:lnTo>
                      <a:pt x="1643" y="809"/>
                    </a:lnTo>
                    <a:lnTo>
                      <a:pt x="1642" y="820"/>
                    </a:lnTo>
                    <a:lnTo>
                      <a:pt x="1639" y="832"/>
                    </a:lnTo>
                    <a:lnTo>
                      <a:pt x="1636" y="843"/>
                    </a:lnTo>
                    <a:lnTo>
                      <a:pt x="1635" y="856"/>
                    </a:lnTo>
                    <a:lnTo>
                      <a:pt x="1635" y="869"/>
                    </a:lnTo>
                    <a:lnTo>
                      <a:pt x="1635" y="883"/>
                    </a:lnTo>
                    <a:lnTo>
                      <a:pt x="1636" y="896"/>
                    </a:lnTo>
                    <a:lnTo>
                      <a:pt x="1639" y="909"/>
                    </a:lnTo>
                    <a:lnTo>
                      <a:pt x="1641" y="924"/>
                    </a:lnTo>
                    <a:lnTo>
                      <a:pt x="1645" y="938"/>
                    </a:lnTo>
                    <a:lnTo>
                      <a:pt x="1648" y="951"/>
                    </a:lnTo>
                    <a:lnTo>
                      <a:pt x="1653" y="963"/>
                    </a:lnTo>
                    <a:lnTo>
                      <a:pt x="1661" y="976"/>
                    </a:lnTo>
                    <a:lnTo>
                      <a:pt x="1667" y="987"/>
                    </a:lnTo>
                    <a:lnTo>
                      <a:pt x="1675" y="996"/>
                    </a:lnTo>
                    <a:lnTo>
                      <a:pt x="1685" y="1006"/>
                    </a:lnTo>
                    <a:lnTo>
                      <a:pt x="1695" y="1014"/>
                    </a:lnTo>
                    <a:lnTo>
                      <a:pt x="1706" y="1018"/>
                    </a:lnTo>
                    <a:lnTo>
                      <a:pt x="1718" y="1022"/>
                    </a:lnTo>
                    <a:lnTo>
                      <a:pt x="1729" y="1025"/>
                    </a:lnTo>
                    <a:lnTo>
                      <a:pt x="1741" y="1026"/>
                    </a:lnTo>
                    <a:lnTo>
                      <a:pt x="1752" y="1026"/>
                    </a:lnTo>
                    <a:lnTo>
                      <a:pt x="1774" y="1025"/>
                    </a:lnTo>
                    <a:lnTo>
                      <a:pt x="1795" y="1025"/>
                    </a:lnTo>
                    <a:lnTo>
                      <a:pt x="1804" y="1026"/>
                    </a:lnTo>
                    <a:lnTo>
                      <a:pt x="1812" y="1027"/>
                    </a:lnTo>
                    <a:lnTo>
                      <a:pt x="1820" y="1031"/>
                    </a:lnTo>
                    <a:lnTo>
                      <a:pt x="1826" y="1037"/>
                    </a:lnTo>
                    <a:lnTo>
                      <a:pt x="1831" y="1044"/>
                    </a:lnTo>
                    <a:lnTo>
                      <a:pt x="1834" y="1055"/>
                    </a:lnTo>
                    <a:lnTo>
                      <a:pt x="1837" y="1067"/>
                    </a:lnTo>
                    <a:lnTo>
                      <a:pt x="1837" y="1085"/>
                    </a:lnTo>
                    <a:lnTo>
                      <a:pt x="1837" y="1102"/>
                    </a:lnTo>
                    <a:lnTo>
                      <a:pt x="1834" y="1119"/>
                    </a:lnTo>
                    <a:lnTo>
                      <a:pt x="1831" y="1134"/>
                    </a:lnTo>
                    <a:lnTo>
                      <a:pt x="1827" y="1148"/>
                    </a:lnTo>
                    <a:lnTo>
                      <a:pt x="1815" y="1178"/>
                    </a:lnTo>
                    <a:lnTo>
                      <a:pt x="1803" y="1209"/>
                    </a:lnTo>
                    <a:lnTo>
                      <a:pt x="1796" y="1219"/>
                    </a:lnTo>
                    <a:lnTo>
                      <a:pt x="1790" y="1228"/>
                    </a:lnTo>
                    <a:lnTo>
                      <a:pt x="1783" y="1235"/>
                    </a:lnTo>
                    <a:lnTo>
                      <a:pt x="1776" y="1243"/>
                    </a:lnTo>
                    <a:lnTo>
                      <a:pt x="1766" y="1247"/>
                    </a:lnTo>
                    <a:lnTo>
                      <a:pt x="1756" y="1252"/>
                    </a:lnTo>
                    <a:lnTo>
                      <a:pt x="1746" y="1256"/>
                    </a:lnTo>
                    <a:lnTo>
                      <a:pt x="1736" y="1260"/>
                    </a:lnTo>
                    <a:lnTo>
                      <a:pt x="1714" y="1266"/>
                    </a:lnTo>
                    <a:lnTo>
                      <a:pt x="1692" y="1272"/>
                    </a:lnTo>
                    <a:lnTo>
                      <a:pt x="1683" y="1276"/>
                    </a:lnTo>
                    <a:lnTo>
                      <a:pt x="1672" y="1279"/>
                    </a:lnTo>
                    <a:lnTo>
                      <a:pt x="1662" y="1283"/>
                    </a:lnTo>
                    <a:lnTo>
                      <a:pt x="1652" y="1289"/>
                    </a:lnTo>
                    <a:lnTo>
                      <a:pt x="1640" y="1298"/>
                    </a:lnTo>
                    <a:lnTo>
                      <a:pt x="1629" y="1309"/>
                    </a:lnTo>
                    <a:lnTo>
                      <a:pt x="1618" y="1320"/>
                    </a:lnTo>
                    <a:lnTo>
                      <a:pt x="1607" y="1332"/>
                    </a:lnTo>
                    <a:lnTo>
                      <a:pt x="1596" y="1343"/>
                    </a:lnTo>
                    <a:lnTo>
                      <a:pt x="1585" y="1353"/>
                    </a:lnTo>
                    <a:lnTo>
                      <a:pt x="1572" y="1362"/>
                    </a:lnTo>
                    <a:lnTo>
                      <a:pt x="1558" y="1370"/>
                    </a:lnTo>
                    <a:lnTo>
                      <a:pt x="1550" y="1372"/>
                    </a:lnTo>
                    <a:lnTo>
                      <a:pt x="1544" y="1374"/>
                    </a:lnTo>
                    <a:lnTo>
                      <a:pt x="1537" y="1375"/>
                    </a:lnTo>
                    <a:lnTo>
                      <a:pt x="1531" y="1375"/>
                    </a:lnTo>
                    <a:lnTo>
                      <a:pt x="1517" y="1374"/>
                    </a:lnTo>
                    <a:lnTo>
                      <a:pt x="1504" y="1370"/>
                    </a:lnTo>
                    <a:lnTo>
                      <a:pt x="1477" y="1362"/>
                    </a:lnTo>
                    <a:lnTo>
                      <a:pt x="1450" y="1356"/>
                    </a:lnTo>
                    <a:lnTo>
                      <a:pt x="1439" y="1362"/>
                    </a:lnTo>
                    <a:lnTo>
                      <a:pt x="1429" y="1369"/>
                    </a:lnTo>
                    <a:lnTo>
                      <a:pt x="1421" y="1375"/>
                    </a:lnTo>
                    <a:lnTo>
                      <a:pt x="1415" y="1381"/>
                    </a:lnTo>
                    <a:lnTo>
                      <a:pt x="1408" y="1387"/>
                    </a:lnTo>
                    <a:lnTo>
                      <a:pt x="1404" y="1392"/>
                    </a:lnTo>
                    <a:lnTo>
                      <a:pt x="1399" y="1398"/>
                    </a:lnTo>
                    <a:lnTo>
                      <a:pt x="1396" y="1404"/>
                    </a:lnTo>
                    <a:lnTo>
                      <a:pt x="1394" y="1410"/>
                    </a:lnTo>
                    <a:lnTo>
                      <a:pt x="1393" y="1416"/>
                    </a:lnTo>
                    <a:lnTo>
                      <a:pt x="1391" y="1422"/>
                    </a:lnTo>
                    <a:lnTo>
                      <a:pt x="1391" y="1427"/>
                    </a:lnTo>
                    <a:lnTo>
                      <a:pt x="1393" y="1440"/>
                    </a:lnTo>
                    <a:lnTo>
                      <a:pt x="1395" y="1452"/>
                    </a:lnTo>
                    <a:lnTo>
                      <a:pt x="1402" y="1476"/>
                    </a:lnTo>
                    <a:lnTo>
                      <a:pt x="1408" y="1502"/>
                    </a:lnTo>
                    <a:lnTo>
                      <a:pt x="1411" y="1516"/>
                    </a:lnTo>
                    <a:lnTo>
                      <a:pt x="1410" y="1529"/>
                    </a:lnTo>
                    <a:lnTo>
                      <a:pt x="1408" y="1536"/>
                    </a:lnTo>
                    <a:lnTo>
                      <a:pt x="1406" y="1544"/>
                    </a:lnTo>
                    <a:lnTo>
                      <a:pt x="1404" y="1551"/>
                    </a:lnTo>
                    <a:lnTo>
                      <a:pt x="1400" y="1558"/>
                    </a:lnTo>
                    <a:lnTo>
                      <a:pt x="1394" y="1569"/>
                    </a:lnTo>
                    <a:lnTo>
                      <a:pt x="1389" y="1580"/>
                    </a:lnTo>
                    <a:lnTo>
                      <a:pt x="1385" y="1593"/>
                    </a:lnTo>
                    <a:lnTo>
                      <a:pt x="1382" y="1605"/>
                    </a:lnTo>
                    <a:lnTo>
                      <a:pt x="1375" y="1631"/>
                    </a:lnTo>
                    <a:lnTo>
                      <a:pt x="1369" y="1655"/>
                    </a:lnTo>
                    <a:lnTo>
                      <a:pt x="1367" y="1667"/>
                    </a:lnTo>
                    <a:lnTo>
                      <a:pt x="1363" y="1680"/>
                    </a:lnTo>
                    <a:lnTo>
                      <a:pt x="1358" y="1692"/>
                    </a:lnTo>
                    <a:lnTo>
                      <a:pt x="1353" y="1703"/>
                    </a:lnTo>
                    <a:lnTo>
                      <a:pt x="1347" y="1714"/>
                    </a:lnTo>
                    <a:lnTo>
                      <a:pt x="1341" y="1724"/>
                    </a:lnTo>
                    <a:lnTo>
                      <a:pt x="1333" y="1732"/>
                    </a:lnTo>
                    <a:lnTo>
                      <a:pt x="1323" y="1741"/>
                    </a:lnTo>
                    <a:lnTo>
                      <a:pt x="1322" y="1744"/>
                    </a:lnTo>
                    <a:lnTo>
                      <a:pt x="1319" y="1749"/>
                    </a:lnTo>
                    <a:lnTo>
                      <a:pt x="1298" y="1780"/>
                    </a:lnTo>
                    <a:lnTo>
                      <a:pt x="1279" y="1809"/>
                    </a:lnTo>
                    <a:lnTo>
                      <a:pt x="1260" y="1840"/>
                    </a:lnTo>
                    <a:lnTo>
                      <a:pt x="1242" y="1869"/>
                    </a:lnTo>
                    <a:lnTo>
                      <a:pt x="1222" y="1899"/>
                    </a:lnTo>
                    <a:lnTo>
                      <a:pt x="1202" y="1927"/>
                    </a:lnTo>
                    <a:lnTo>
                      <a:pt x="1191" y="1940"/>
                    </a:lnTo>
                    <a:lnTo>
                      <a:pt x="1178" y="1955"/>
                    </a:lnTo>
                    <a:lnTo>
                      <a:pt x="1166" y="1969"/>
                    </a:lnTo>
                    <a:lnTo>
                      <a:pt x="1153" y="1982"/>
                    </a:lnTo>
                    <a:lnTo>
                      <a:pt x="1144" y="1989"/>
                    </a:lnTo>
                    <a:lnTo>
                      <a:pt x="1133" y="1997"/>
                    </a:lnTo>
                    <a:lnTo>
                      <a:pt x="1121" y="2005"/>
                    </a:lnTo>
                    <a:lnTo>
                      <a:pt x="1107" y="2014"/>
                    </a:lnTo>
                    <a:lnTo>
                      <a:pt x="1076" y="2031"/>
                    </a:lnTo>
                    <a:lnTo>
                      <a:pt x="1041" y="2048"/>
                    </a:lnTo>
                    <a:lnTo>
                      <a:pt x="1006" y="2064"/>
                    </a:lnTo>
                    <a:lnTo>
                      <a:pt x="973" y="2076"/>
                    </a:lnTo>
                    <a:lnTo>
                      <a:pt x="958" y="2081"/>
                    </a:lnTo>
                    <a:lnTo>
                      <a:pt x="943" y="2084"/>
                    </a:lnTo>
                    <a:lnTo>
                      <a:pt x="931" y="2086"/>
                    </a:lnTo>
                    <a:lnTo>
                      <a:pt x="921" y="2087"/>
                    </a:lnTo>
                    <a:lnTo>
                      <a:pt x="896" y="2086"/>
                    </a:lnTo>
                    <a:lnTo>
                      <a:pt x="871" y="2085"/>
                    </a:lnTo>
                    <a:lnTo>
                      <a:pt x="849" y="2084"/>
                    </a:lnTo>
                    <a:lnTo>
                      <a:pt x="827" y="2084"/>
                    </a:lnTo>
                    <a:lnTo>
                      <a:pt x="805" y="2084"/>
                    </a:lnTo>
                    <a:lnTo>
                      <a:pt x="782" y="2085"/>
                    </a:lnTo>
                    <a:lnTo>
                      <a:pt x="759" y="2086"/>
                    </a:lnTo>
                    <a:lnTo>
                      <a:pt x="732" y="2090"/>
                    </a:lnTo>
                    <a:lnTo>
                      <a:pt x="725" y="2091"/>
                    </a:lnTo>
                    <a:lnTo>
                      <a:pt x="718" y="2091"/>
                    </a:lnTo>
                    <a:lnTo>
                      <a:pt x="711" y="2090"/>
                    </a:lnTo>
                    <a:lnTo>
                      <a:pt x="703" y="2089"/>
                    </a:lnTo>
                    <a:lnTo>
                      <a:pt x="690" y="2085"/>
                    </a:lnTo>
                    <a:lnTo>
                      <a:pt x="675" y="2079"/>
                    </a:lnTo>
                    <a:lnTo>
                      <a:pt x="662" y="2070"/>
                    </a:lnTo>
                    <a:lnTo>
                      <a:pt x="648" y="2062"/>
                    </a:lnTo>
                    <a:lnTo>
                      <a:pt x="635" y="2053"/>
                    </a:lnTo>
                    <a:lnTo>
                      <a:pt x="623" y="2043"/>
                    </a:lnTo>
                    <a:lnTo>
                      <a:pt x="598" y="2024"/>
                    </a:lnTo>
                    <a:lnTo>
                      <a:pt x="577" y="2009"/>
                    </a:lnTo>
                    <a:lnTo>
                      <a:pt x="568" y="2003"/>
                    </a:lnTo>
                    <a:lnTo>
                      <a:pt x="559" y="1999"/>
                    </a:lnTo>
                    <a:lnTo>
                      <a:pt x="555" y="1998"/>
                    </a:lnTo>
                    <a:lnTo>
                      <a:pt x="552" y="1998"/>
                    </a:lnTo>
                    <a:lnTo>
                      <a:pt x="548" y="1999"/>
                    </a:lnTo>
                    <a:lnTo>
                      <a:pt x="546" y="2000"/>
                    </a:lnTo>
                    <a:lnTo>
                      <a:pt x="533" y="2006"/>
                    </a:lnTo>
                    <a:lnTo>
                      <a:pt x="519" y="2016"/>
                    </a:lnTo>
                    <a:lnTo>
                      <a:pt x="504" y="2027"/>
                    </a:lnTo>
                    <a:lnTo>
                      <a:pt x="489" y="2040"/>
                    </a:lnTo>
                    <a:lnTo>
                      <a:pt x="476" y="2053"/>
                    </a:lnTo>
                    <a:lnTo>
                      <a:pt x="465" y="2066"/>
                    </a:lnTo>
                    <a:lnTo>
                      <a:pt x="460" y="2073"/>
                    </a:lnTo>
                    <a:lnTo>
                      <a:pt x="457" y="2080"/>
                    </a:lnTo>
                    <a:lnTo>
                      <a:pt x="454" y="2087"/>
                    </a:lnTo>
                    <a:lnTo>
                      <a:pt x="453" y="2093"/>
                    </a:lnTo>
                    <a:lnTo>
                      <a:pt x="453" y="2108"/>
                    </a:lnTo>
                    <a:lnTo>
                      <a:pt x="455" y="2123"/>
                    </a:lnTo>
                    <a:lnTo>
                      <a:pt x="457" y="2137"/>
                    </a:lnTo>
                    <a:lnTo>
                      <a:pt x="460" y="2153"/>
                    </a:lnTo>
                    <a:lnTo>
                      <a:pt x="460" y="2161"/>
                    </a:lnTo>
                    <a:lnTo>
                      <a:pt x="460" y="2168"/>
                    </a:lnTo>
                    <a:lnTo>
                      <a:pt x="460" y="2175"/>
                    </a:lnTo>
                    <a:lnTo>
                      <a:pt x="457" y="2183"/>
                    </a:lnTo>
                    <a:lnTo>
                      <a:pt x="455" y="2189"/>
                    </a:lnTo>
                    <a:lnTo>
                      <a:pt x="450" y="2195"/>
                    </a:lnTo>
                    <a:lnTo>
                      <a:pt x="445" y="2200"/>
                    </a:lnTo>
                    <a:lnTo>
                      <a:pt x="438" y="2206"/>
                    </a:lnTo>
                    <a:lnTo>
                      <a:pt x="430" y="2207"/>
                    </a:lnTo>
                    <a:lnTo>
                      <a:pt x="424" y="2208"/>
                    </a:lnTo>
                    <a:lnTo>
                      <a:pt x="418" y="2208"/>
                    </a:lnTo>
                    <a:lnTo>
                      <a:pt x="412" y="2207"/>
                    </a:lnTo>
                    <a:lnTo>
                      <a:pt x="401" y="2202"/>
                    </a:lnTo>
                    <a:lnTo>
                      <a:pt x="389" y="2196"/>
                    </a:lnTo>
                    <a:lnTo>
                      <a:pt x="378" y="2190"/>
                    </a:lnTo>
                    <a:lnTo>
                      <a:pt x="367" y="2185"/>
                    </a:lnTo>
                    <a:lnTo>
                      <a:pt x="361" y="2184"/>
                    </a:lnTo>
                    <a:lnTo>
                      <a:pt x="356" y="2184"/>
                    </a:lnTo>
                    <a:lnTo>
                      <a:pt x="350" y="2184"/>
                    </a:lnTo>
                    <a:lnTo>
                      <a:pt x="344" y="2186"/>
                    </a:lnTo>
                    <a:lnTo>
                      <a:pt x="139" y="2283"/>
                    </a:lnTo>
                    <a:lnTo>
                      <a:pt x="123" y="2291"/>
                    </a:lnTo>
                    <a:lnTo>
                      <a:pt x="106" y="2294"/>
                    </a:lnTo>
                    <a:lnTo>
                      <a:pt x="91" y="2297"/>
                    </a:lnTo>
                    <a:lnTo>
                      <a:pt x="76" y="2298"/>
                    </a:lnTo>
                    <a:lnTo>
                      <a:pt x="61" y="2298"/>
                    </a:lnTo>
                    <a:lnTo>
                      <a:pt x="45" y="2299"/>
                    </a:lnTo>
                    <a:lnTo>
                      <a:pt x="29" y="2302"/>
                    </a:lnTo>
                    <a:lnTo>
                      <a:pt x="13" y="2305"/>
                    </a:lnTo>
                    <a:lnTo>
                      <a:pt x="7" y="2308"/>
                    </a:lnTo>
                    <a:lnTo>
                      <a:pt x="3" y="2310"/>
                    </a:lnTo>
                    <a:lnTo>
                      <a:pt x="1" y="2313"/>
                    </a:lnTo>
                    <a:lnTo>
                      <a:pt x="0" y="2315"/>
                    </a:lnTo>
                    <a:lnTo>
                      <a:pt x="1" y="2317"/>
                    </a:lnTo>
                    <a:lnTo>
                      <a:pt x="2" y="2320"/>
                    </a:lnTo>
                    <a:lnTo>
                      <a:pt x="6" y="2324"/>
                    </a:lnTo>
                    <a:lnTo>
                      <a:pt x="9" y="2326"/>
                    </a:lnTo>
                    <a:lnTo>
                      <a:pt x="22" y="2332"/>
                    </a:lnTo>
                    <a:lnTo>
                      <a:pt x="36" y="2339"/>
                    </a:lnTo>
                    <a:lnTo>
                      <a:pt x="53" y="2346"/>
                    </a:lnTo>
                    <a:lnTo>
                      <a:pt x="73" y="2352"/>
                    </a:lnTo>
                    <a:lnTo>
                      <a:pt x="115" y="2365"/>
                    </a:lnTo>
                    <a:lnTo>
                      <a:pt x="154" y="2376"/>
                    </a:lnTo>
                    <a:lnTo>
                      <a:pt x="184" y="2385"/>
                    </a:lnTo>
                    <a:lnTo>
                      <a:pt x="202" y="2391"/>
                    </a:lnTo>
                    <a:lnTo>
                      <a:pt x="216" y="2397"/>
                    </a:lnTo>
                    <a:lnTo>
                      <a:pt x="231" y="2402"/>
                    </a:lnTo>
                    <a:lnTo>
                      <a:pt x="244" y="2407"/>
                    </a:lnTo>
                    <a:lnTo>
                      <a:pt x="257" y="2411"/>
                    </a:lnTo>
                    <a:lnTo>
                      <a:pt x="270" y="2413"/>
                    </a:lnTo>
                    <a:lnTo>
                      <a:pt x="282" y="2415"/>
                    </a:lnTo>
                    <a:lnTo>
                      <a:pt x="295" y="2415"/>
                    </a:lnTo>
                    <a:lnTo>
                      <a:pt x="307" y="2417"/>
                    </a:lnTo>
                    <a:lnTo>
                      <a:pt x="331" y="2415"/>
                    </a:lnTo>
                    <a:lnTo>
                      <a:pt x="356" y="2414"/>
                    </a:lnTo>
                    <a:lnTo>
                      <a:pt x="383" y="2411"/>
                    </a:lnTo>
                    <a:lnTo>
                      <a:pt x="412" y="2406"/>
                    </a:lnTo>
                    <a:lnTo>
                      <a:pt x="429" y="2404"/>
                    </a:lnTo>
                    <a:lnTo>
                      <a:pt x="444" y="2403"/>
                    </a:lnTo>
                    <a:lnTo>
                      <a:pt x="456" y="2402"/>
                    </a:lnTo>
                    <a:lnTo>
                      <a:pt x="468" y="2402"/>
                    </a:lnTo>
                    <a:lnTo>
                      <a:pt x="479" y="2403"/>
                    </a:lnTo>
                    <a:lnTo>
                      <a:pt x="488" y="2404"/>
                    </a:lnTo>
                    <a:lnTo>
                      <a:pt x="495" y="2407"/>
                    </a:lnTo>
                    <a:lnTo>
                      <a:pt x="503" y="2409"/>
                    </a:lnTo>
                    <a:lnTo>
                      <a:pt x="508" y="2412"/>
                    </a:lnTo>
                    <a:lnTo>
                      <a:pt x="512" y="2415"/>
                    </a:lnTo>
                    <a:lnTo>
                      <a:pt x="515" y="2419"/>
                    </a:lnTo>
                    <a:lnTo>
                      <a:pt x="517" y="2423"/>
                    </a:lnTo>
                    <a:lnTo>
                      <a:pt x="519" y="2428"/>
                    </a:lnTo>
                    <a:lnTo>
                      <a:pt x="519" y="2433"/>
                    </a:lnTo>
                    <a:lnTo>
                      <a:pt x="519" y="2437"/>
                    </a:lnTo>
                    <a:lnTo>
                      <a:pt x="516" y="2442"/>
                    </a:lnTo>
                    <a:lnTo>
                      <a:pt x="510" y="2453"/>
                    </a:lnTo>
                    <a:lnTo>
                      <a:pt x="501" y="2463"/>
                    </a:lnTo>
                    <a:lnTo>
                      <a:pt x="490" y="2474"/>
                    </a:lnTo>
                    <a:lnTo>
                      <a:pt x="476" y="2484"/>
                    </a:lnTo>
                    <a:lnTo>
                      <a:pt x="460" y="2494"/>
                    </a:lnTo>
                    <a:lnTo>
                      <a:pt x="442" y="2501"/>
                    </a:lnTo>
                    <a:lnTo>
                      <a:pt x="422" y="2508"/>
                    </a:lnTo>
                    <a:lnTo>
                      <a:pt x="401" y="2512"/>
                    </a:lnTo>
                    <a:lnTo>
                      <a:pt x="383" y="2517"/>
                    </a:lnTo>
                    <a:lnTo>
                      <a:pt x="364" y="2523"/>
                    </a:lnTo>
                    <a:lnTo>
                      <a:pt x="347" y="2530"/>
                    </a:lnTo>
                    <a:lnTo>
                      <a:pt x="333" y="2539"/>
                    </a:lnTo>
                    <a:lnTo>
                      <a:pt x="319" y="2549"/>
                    </a:lnTo>
                    <a:lnTo>
                      <a:pt x="308" y="2560"/>
                    </a:lnTo>
                    <a:lnTo>
                      <a:pt x="300" y="2570"/>
                    </a:lnTo>
                    <a:lnTo>
                      <a:pt x="295" y="2581"/>
                    </a:lnTo>
                    <a:lnTo>
                      <a:pt x="293" y="2586"/>
                    </a:lnTo>
                    <a:lnTo>
                      <a:pt x="292" y="2590"/>
                    </a:lnTo>
                    <a:lnTo>
                      <a:pt x="292" y="2595"/>
                    </a:lnTo>
                    <a:lnTo>
                      <a:pt x="293" y="2600"/>
                    </a:lnTo>
                    <a:lnTo>
                      <a:pt x="295" y="2604"/>
                    </a:lnTo>
                    <a:lnTo>
                      <a:pt x="297" y="2609"/>
                    </a:lnTo>
                    <a:lnTo>
                      <a:pt x="301" y="2613"/>
                    </a:lnTo>
                    <a:lnTo>
                      <a:pt x="306" y="2616"/>
                    </a:lnTo>
                    <a:lnTo>
                      <a:pt x="312" y="2619"/>
                    </a:lnTo>
                    <a:lnTo>
                      <a:pt x="319" y="2621"/>
                    </a:lnTo>
                    <a:lnTo>
                      <a:pt x="326" y="2624"/>
                    </a:lnTo>
                    <a:lnTo>
                      <a:pt x="336" y="2626"/>
                    </a:lnTo>
                    <a:lnTo>
                      <a:pt x="346" y="2627"/>
                    </a:lnTo>
                    <a:lnTo>
                      <a:pt x="358" y="2627"/>
                    </a:lnTo>
                    <a:lnTo>
                      <a:pt x="372" y="2627"/>
                    </a:lnTo>
                    <a:lnTo>
                      <a:pt x="385" y="2627"/>
                    </a:lnTo>
                    <a:lnTo>
                      <a:pt x="637" y="2611"/>
                    </a:lnTo>
                    <a:lnTo>
                      <a:pt x="648" y="2610"/>
                    </a:lnTo>
                    <a:lnTo>
                      <a:pt x="658" y="2609"/>
                    </a:lnTo>
                    <a:lnTo>
                      <a:pt x="665" y="2605"/>
                    </a:lnTo>
                    <a:lnTo>
                      <a:pt x="672" y="2601"/>
                    </a:lnTo>
                    <a:lnTo>
                      <a:pt x="675" y="2597"/>
                    </a:lnTo>
                    <a:lnTo>
                      <a:pt x="677" y="2592"/>
                    </a:lnTo>
                    <a:lnTo>
                      <a:pt x="678" y="2587"/>
                    </a:lnTo>
                    <a:lnTo>
                      <a:pt x="677" y="2579"/>
                    </a:lnTo>
                    <a:lnTo>
                      <a:pt x="674" y="2573"/>
                    </a:lnTo>
                    <a:lnTo>
                      <a:pt x="672" y="2566"/>
                    </a:lnTo>
                    <a:lnTo>
                      <a:pt x="667" y="2559"/>
                    </a:lnTo>
                    <a:lnTo>
                      <a:pt x="662" y="2550"/>
                    </a:lnTo>
                    <a:lnTo>
                      <a:pt x="651" y="2533"/>
                    </a:lnTo>
                    <a:lnTo>
                      <a:pt x="639" y="2516"/>
                    </a:lnTo>
                    <a:lnTo>
                      <a:pt x="625" y="2497"/>
                    </a:lnTo>
                    <a:lnTo>
                      <a:pt x="614" y="2480"/>
                    </a:lnTo>
                    <a:lnTo>
                      <a:pt x="609" y="2472"/>
                    </a:lnTo>
                    <a:lnTo>
                      <a:pt x="604" y="2463"/>
                    </a:lnTo>
                    <a:lnTo>
                      <a:pt x="601" y="2456"/>
                    </a:lnTo>
                    <a:lnTo>
                      <a:pt x="599" y="2447"/>
                    </a:lnTo>
                    <a:lnTo>
                      <a:pt x="598" y="2440"/>
                    </a:lnTo>
                    <a:lnTo>
                      <a:pt x="598" y="2434"/>
                    </a:lnTo>
                    <a:lnTo>
                      <a:pt x="599" y="2426"/>
                    </a:lnTo>
                    <a:lnTo>
                      <a:pt x="603" y="2420"/>
                    </a:lnTo>
                    <a:lnTo>
                      <a:pt x="608" y="2415"/>
                    </a:lnTo>
                    <a:lnTo>
                      <a:pt x="615" y="2411"/>
                    </a:lnTo>
                    <a:lnTo>
                      <a:pt x="625" y="2407"/>
                    </a:lnTo>
                    <a:lnTo>
                      <a:pt x="636" y="2403"/>
                    </a:lnTo>
                    <a:lnTo>
                      <a:pt x="674" y="2391"/>
                    </a:lnTo>
                    <a:lnTo>
                      <a:pt x="719" y="2373"/>
                    </a:lnTo>
                    <a:lnTo>
                      <a:pt x="743" y="2365"/>
                    </a:lnTo>
                    <a:lnTo>
                      <a:pt x="765" y="2359"/>
                    </a:lnTo>
                    <a:lnTo>
                      <a:pt x="774" y="2357"/>
                    </a:lnTo>
                    <a:lnTo>
                      <a:pt x="783" y="2355"/>
                    </a:lnTo>
                    <a:lnTo>
                      <a:pt x="792" y="2357"/>
                    </a:lnTo>
                    <a:lnTo>
                      <a:pt x="799" y="2358"/>
                    </a:lnTo>
                    <a:lnTo>
                      <a:pt x="822" y="2364"/>
                    </a:lnTo>
                    <a:lnTo>
                      <a:pt x="844" y="2370"/>
                    </a:lnTo>
                    <a:lnTo>
                      <a:pt x="855" y="2371"/>
                    </a:lnTo>
                    <a:lnTo>
                      <a:pt x="866" y="2373"/>
                    </a:lnTo>
                    <a:lnTo>
                      <a:pt x="877" y="2373"/>
                    </a:lnTo>
                    <a:lnTo>
                      <a:pt x="888" y="2373"/>
                    </a:lnTo>
                    <a:lnTo>
                      <a:pt x="898" y="2371"/>
                    </a:lnTo>
                    <a:lnTo>
                      <a:pt x="909" y="2370"/>
                    </a:lnTo>
                    <a:lnTo>
                      <a:pt x="920" y="2366"/>
                    </a:lnTo>
                    <a:lnTo>
                      <a:pt x="930" y="2363"/>
                    </a:lnTo>
                    <a:lnTo>
                      <a:pt x="941" y="2358"/>
                    </a:lnTo>
                    <a:lnTo>
                      <a:pt x="952" y="2352"/>
                    </a:lnTo>
                    <a:lnTo>
                      <a:pt x="962" y="2344"/>
                    </a:lnTo>
                    <a:lnTo>
                      <a:pt x="973" y="2336"/>
                    </a:lnTo>
                    <a:lnTo>
                      <a:pt x="980" y="2332"/>
                    </a:lnTo>
                    <a:lnTo>
                      <a:pt x="991" y="2330"/>
                    </a:lnTo>
                    <a:lnTo>
                      <a:pt x="1005" y="2326"/>
                    </a:lnTo>
                    <a:lnTo>
                      <a:pt x="1019" y="2324"/>
                    </a:lnTo>
                    <a:lnTo>
                      <a:pt x="1055" y="2320"/>
                    </a:lnTo>
                    <a:lnTo>
                      <a:pt x="1091" y="2317"/>
                    </a:lnTo>
                    <a:lnTo>
                      <a:pt x="1111" y="2317"/>
                    </a:lnTo>
                    <a:lnTo>
                      <a:pt x="1129" y="2317"/>
                    </a:lnTo>
                    <a:lnTo>
                      <a:pt x="1145" y="2319"/>
                    </a:lnTo>
                    <a:lnTo>
                      <a:pt x="1161" y="2321"/>
                    </a:lnTo>
                    <a:lnTo>
                      <a:pt x="1175" y="2325"/>
                    </a:lnTo>
                    <a:lnTo>
                      <a:pt x="1186" y="2328"/>
                    </a:lnTo>
                    <a:lnTo>
                      <a:pt x="1191" y="2331"/>
                    </a:lnTo>
                    <a:lnTo>
                      <a:pt x="1194" y="2335"/>
                    </a:lnTo>
                    <a:lnTo>
                      <a:pt x="1197" y="2337"/>
                    </a:lnTo>
                    <a:lnTo>
                      <a:pt x="1199" y="2341"/>
                    </a:lnTo>
                    <a:lnTo>
                      <a:pt x="1207" y="2359"/>
                    </a:lnTo>
                    <a:lnTo>
                      <a:pt x="1216" y="2377"/>
                    </a:lnTo>
                    <a:lnTo>
                      <a:pt x="1226" y="2396"/>
                    </a:lnTo>
                    <a:lnTo>
                      <a:pt x="1238" y="2414"/>
                    </a:lnTo>
                    <a:lnTo>
                      <a:pt x="1251" y="2433"/>
                    </a:lnTo>
                    <a:lnTo>
                      <a:pt x="1265" y="2451"/>
                    </a:lnTo>
                    <a:lnTo>
                      <a:pt x="1280" y="2468"/>
                    </a:lnTo>
                    <a:lnTo>
                      <a:pt x="1296" y="2484"/>
                    </a:lnTo>
                    <a:lnTo>
                      <a:pt x="1313" y="2499"/>
                    </a:lnTo>
                    <a:lnTo>
                      <a:pt x="1330" y="2513"/>
                    </a:lnTo>
                    <a:lnTo>
                      <a:pt x="1348" y="2527"/>
                    </a:lnTo>
                    <a:lnTo>
                      <a:pt x="1368" y="2538"/>
                    </a:lnTo>
                    <a:lnTo>
                      <a:pt x="1388" y="2548"/>
                    </a:lnTo>
                    <a:lnTo>
                      <a:pt x="1407" y="2555"/>
                    </a:lnTo>
                    <a:lnTo>
                      <a:pt x="1428" y="2561"/>
                    </a:lnTo>
                    <a:lnTo>
                      <a:pt x="1449" y="2564"/>
                    </a:lnTo>
                    <a:lnTo>
                      <a:pt x="1467" y="2565"/>
                    </a:lnTo>
                    <a:lnTo>
                      <a:pt x="1492" y="2565"/>
                    </a:lnTo>
                    <a:lnTo>
                      <a:pt x="1519" y="2564"/>
                    </a:lnTo>
                    <a:lnTo>
                      <a:pt x="1548" y="2561"/>
                    </a:lnTo>
                    <a:lnTo>
                      <a:pt x="1577" y="2559"/>
                    </a:lnTo>
                    <a:lnTo>
                      <a:pt x="1604" y="2555"/>
                    </a:lnTo>
                    <a:lnTo>
                      <a:pt x="1628" y="2551"/>
                    </a:lnTo>
                    <a:lnTo>
                      <a:pt x="1645" y="2546"/>
                    </a:lnTo>
                    <a:lnTo>
                      <a:pt x="1652" y="2543"/>
                    </a:lnTo>
                    <a:lnTo>
                      <a:pt x="1658" y="2539"/>
                    </a:lnTo>
                    <a:lnTo>
                      <a:pt x="1663" y="2537"/>
                    </a:lnTo>
                    <a:lnTo>
                      <a:pt x="1667" y="2532"/>
                    </a:lnTo>
                    <a:lnTo>
                      <a:pt x="1673" y="2524"/>
                    </a:lnTo>
                    <a:lnTo>
                      <a:pt x="1675" y="2515"/>
                    </a:lnTo>
                    <a:lnTo>
                      <a:pt x="1678" y="2505"/>
                    </a:lnTo>
                    <a:lnTo>
                      <a:pt x="1680" y="2495"/>
                    </a:lnTo>
                    <a:lnTo>
                      <a:pt x="1683" y="2484"/>
                    </a:lnTo>
                    <a:lnTo>
                      <a:pt x="1688" y="2473"/>
                    </a:lnTo>
                    <a:lnTo>
                      <a:pt x="1691" y="2467"/>
                    </a:lnTo>
                    <a:lnTo>
                      <a:pt x="1695" y="2462"/>
                    </a:lnTo>
                    <a:lnTo>
                      <a:pt x="1700" y="2457"/>
                    </a:lnTo>
                    <a:lnTo>
                      <a:pt x="1705" y="2453"/>
                    </a:lnTo>
                    <a:lnTo>
                      <a:pt x="1716" y="2447"/>
                    </a:lnTo>
                    <a:lnTo>
                      <a:pt x="1728" y="2442"/>
                    </a:lnTo>
                    <a:lnTo>
                      <a:pt x="1755" y="2436"/>
                    </a:lnTo>
                    <a:lnTo>
                      <a:pt x="1781" y="2431"/>
                    </a:lnTo>
                    <a:lnTo>
                      <a:pt x="1822" y="2413"/>
                    </a:lnTo>
                    <a:lnTo>
                      <a:pt x="1872" y="2390"/>
                    </a:lnTo>
                    <a:lnTo>
                      <a:pt x="1897" y="2376"/>
                    </a:lnTo>
                    <a:lnTo>
                      <a:pt x="1919" y="2363"/>
                    </a:lnTo>
                    <a:lnTo>
                      <a:pt x="1927" y="2355"/>
                    </a:lnTo>
                    <a:lnTo>
                      <a:pt x="1936" y="2348"/>
                    </a:lnTo>
                    <a:lnTo>
                      <a:pt x="1942" y="2341"/>
                    </a:lnTo>
                    <a:lnTo>
                      <a:pt x="1948" y="2332"/>
                    </a:lnTo>
                    <a:lnTo>
                      <a:pt x="1963" y="2303"/>
                    </a:lnTo>
                    <a:lnTo>
                      <a:pt x="1985" y="2261"/>
                    </a:lnTo>
                    <a:lnTo>
                      <a:pt x="1991" y="2253"/>
                    </a:lnTo>
                    <a:lnTo>
                      <a:pt x="1998" y="2244"/>
                    </a:lnTo>
                    <a:lnTo>
                      <a:pt x="2006" y="2237"/>
                    </a:lnTo>
                    <a:lnTo>
                      <a:pt x="2013" y="2231"/>
                    </a:lnTo>
                    <a:lnTo>
                      <a:pt x="2019" y="2227"/>
                    </a:lnTo>
                    <a:lnTo>
                      <a:pt x="2027" y="2224"/>
                    </a:lnTo>
                    <a:lnTo>
                      <a:pt x="2030" y="2224"/>
                    </a:lnTo>
                    <a:lnTo>
                      <a:pt x="2034" y="2226"/>
                    </a:lnTo>
                    <a:lnTo>
                      <a:pt x="2038" y="2227"/>
                    </a:lnTo>
                    <a:lnTo>
                      <a:pt x="2041" y="2229"/>
                    </a:lnTo>
                    <a:lnTo>
                      <a:pt x="2060" y="2240"/>
                    </a:lnTo>
                    <a:lnTo>
                      <a:pt x="2076" y="2249"/>
                    </a:lnTo>
                    <a:lnTo>
                      <a:pt x="2091" y="2256"/>
                    </a:lnTo>
                    <a:lnTo>
                      <a:pt x="2106" y="2260"/>
                    </a:lnTo>
                    <a:lnTo>
                      <a:pt x="2121" y="2262"/>
                    </a:lnTo>
                    <a:lnTo>
                      <a:pt x="2134" y="2264"/>
                    </a:lnTo>
                    <a:lnTo>
                      <a:pt x="2148" y="2264"/>
                    </a:lnTo>
                    <a:lnTo>
                      <a:pt x="2161" y="2262"/>
                    </a:lnTo>
                    <a:lnTo>
                      <a:pt x="2189" y="2256"/>
                    </a:lnTo>
                    <a:lnTo>
                      <a:pt x="2219" y="2248"/>
                    </a:lnTo>
                    <a:lnTo>
                      <a:pt x="2251" y="2240"/>
                    </a:lnTo>
                    <a:lnTo>
                      <a:pt x="2287" y="2233"/>
                    </a:lnTo>
                    <a:lnTo>
                      <a:pt x="2309" y="2231"/>
                    </a:lnTo>
                    <a:lnTo>
                      <a:pt x="2329" y="2227"/>
                    </a:lnTo>
                    <a:lnTo>
                      <a:pt x="2346" y="2222"/>
                    </a:lnTo>
                    <a:lnTo>
                      <a:pt x="2361" y="2217"/>
                    </a:lnTo>
                    <a:lnTo>
                      <a:pt x="2373" y="2212"/>
                    </a:lnTo>
                    <a:lnTo>
                      <a:pt x="2383" y="2206"/>
                    </a:lnTo>
                    <a:lnTo>
                      <a:pt x="2391" y="2200"/>
                    </a:lnTo>
                    <a:lnTo>
                      <a:pt x="2400" y="2193"/>
                    </a:lnTo>
                    <a:lnTo>
                      <a:pt x="2407" y="2184"/>
                    </a:lnTo>
                    <a:lnTo>
                      <a:pt x="2413" y="2174"/>
                    </a:lnTo>
                    <a:lnTo>
                      <a:pt x="2421" y="2164"/>
                    </a:lnTo>
                    <a:lnTo>
                      <a:pt x="2428" y="2152"/>
                    </a:lnTo>
                    <a:lnTo>
                      <a:pt x="2445" y="2125"/>
                    </a:lnTo>
                    <a:lnTo>
                      <a:pt x="2468" y="2092"/>
                    </a:lnTo>
                    <a:lnTo>
                      <a:pt x="2477" y="2074"/>
                    </a:lnTo>
                    <a:lnTo>
                      <a:pt x="2489" y="2057"/>
                    </a:lnTo>
                    <a:lnTo>
                      <a:pt x="2503" y="2038"/>
                    </a:lnTo>
                    <a:lnTo>
                      <a:pt x="2516" y="2021"/>
                    </a:lnTo>
                    <a:lnTo>
                      <a:pt x="2531" y="2004"/>
                    </a:lnTo>
                    <a:lnTo>
                      <a:pt x="2543" y="1987"/>
                    </a:lnTo>
                    <a:lnTo>
                      <a:pt x="2548" y="1978"/>
                    </a:lnTo>
                    <a:lnTo>
                      <a:pt x="2553" y="1970"/>
                    </a:lnTo>
                    <a:lnTo>
                      <a:pt x="2558" y="1961"/>
                    </a:lnTo>
                    <a:lnTo>
                      <a:pt x="2560" y="1953"/>
                    </a:lnTo>
                    <a:lnTo>
                      <a:pt x="2563" y="1954"/>
                    </a:lnTo>
                    <a:lnTo>
                      <a:pt x="2563" y="1956"/>
                    </a:lnTo>
                    <a:lnTo>
                      <a:pt x="2564" y="1960"/>
                    </a:lnTo>
                    <a:lnTo>
                      <a:pt x="2563" y="1965"/>
                    </a:lnTo>
                    <a:lnTo>
                      <a:pt x="2560" y="1977"/>
                    </a:lnTo>
                    <a:lnTo>
                      <a:pt x="2558" y="1991"/>
                    </a:lnTo>
                    <a:lnTo>
                      <a:pt x="2549" y="2017"/>
                    </a:lnTo>
                    <a:lnTo>
                      <a:pt x="2543" y="2036"/>
                    </a:lnTo>
                    <a:lnTo>
                      <a:pt x="2541" y="2052"/>
                    </a:lnTo>
                    <a:lnTo>
                      <a:pt x="2539" y="2065"/>
                    </a:lnTo>
                    <a:lnTo>
                      <a:pt x="2539" y="2076"/>
                    </a:lnTo>
                    <a:lnTo>
                      <a:pt x="2542" y="2085"/>
                    </a:lnTo>
                    <a:lnTo>
                      <a:pt x="2546" y="2091"/>
                    </a:lnTo>
                    <a:lnTo>
                      <a:pt x="2550" y="2096"/>
                    </a:lnTo>
                    <a:lnTo>
                      <a:pt x="2557" y="2100"/>
                    </a:lnTo>
                    <a:lnTo>
                      <a:pt x="2563" y="2100"/>
                    </a:lnTo>
                    <a:lnTo>
                      <a:pt x="2571" y="2100"/>
                    </a:lnTo>
                    <a:lnTo>
                      <a:pt x="2580" y="2097"/>
                    </a:lnTo>
                    <a:lnTo>
                      <a:pt x="2588" y="2093"/>
                    </a:lnTo>
                    <a:lnTo>
                      <a:pt x="2598" y="2089"/>
                    </a:lnTo>
                    <a:lnTo>
                      <a:pt x="2607" y="2084"/>
                    </a:lnTo>
                    <a:lnTo>
                      <a:pt x="2617" y="2076"/>
                    </a:lnTo>
                    <a:lnTo>
                      <a:pt x="2626" y="2068"/>
                    </a:lnTo>
                    <a:lnTo>
                      <a:pt x="2636" y="2059"/>
                    </a:lnTo>
                    <a:lnTo>
                      <a:pt x="2641" y="2052"/>
                    </a:lnTo>
                    <a:lnTo>
                      <a:pt x="2645" y="2043"/>
                    </a:lnTo>
                    <a:lnTo>
                      <a:pt x="2647" y="2036"/>
                    </a:lnTo>
                    <a:lnTo>
                      <a:pt x="2647" y="2027"/>
                    </a:lnTo>
                    <a:lnTo>
                      <a:pt x="2647" y="2019"/>
                    </a:lnTo>
                    <a:lnTo>
                      <a:pt x="2645" y="2009"/>
                    </a:lnTo>
                    <a:lnTo>
                      <a:pt x="2642" y="2000"/>
                    </a:lnTo>
                    <a:lnTo>
                      <a:pt x="2639" y="1991"/>
                    </a:lnTo>
                    <a:lnTo>
                      <a:pt x="2631" y="1972"/>
                    </a:lnTo>
                    <a:lnTo>
                      <a:pt x="2623" y="1953"/>
                    </a:lnTo>
                    <a:lnTo>
                      <a:pt x="2619" y="1943"/>
                    </a:lnTo>
                    <a:lnTo>
                      <a:pt x="2617" y="1933"/>
                    </a:lnTo>
                    <a:lnTo>
                      <a:pt x="2615" y="1923"/>
                    </a:lnTo>
                    <a:lnTo>
                      <a:pt x="2614" y="1913"/>
                    </a:lnTo>
                    <a:lnTo>
                      <a:pt x="2613" y="1890"/>
                    </a:lnTo>
                    <a:lnTo>
                      <a:pt x="2609" y="1858"/>
                    </a:lnTo>
                    <a:lnTo>
                      <a:pt x="2607" y="1841"/>
                    </a:lnTo>
                    <a:lnTo>
                      <a:pt x="2603" y="1827"/>
                    </a:lnTo>
                    <a:lnTo>
                      <a:pt x="2599" y="1815"/>
                    </a:lnTo>
                    <a:lnTo>
                      <a:pt x="2596" y="1807"/>
                    </a:lnTo>
                    <a:lnTo>
                      <a:pt x="2584" y="1790"/>
                    </a:lnTo>
                    <a:lnTo>
                      <a:pt x="2570" y="1764"/>
                    </a:lnTo>
                    <a:lnTo>
                      <a:pt x="2566" y="1758"/>
                    </a:lnTo>
                    <a:lnTo>
                      <a:pt x="2564" y="1751"/>
                    </a:lnTo>
                    <a:lnTo>
                      <a:pt x="2563" y="1744"/>
                    </a:lnTo>
                    <a:lnTo>
                      <a:pt x="2563" y="1738"/>
                    </a:lnTo>
                    <a:lnTo>
                      <a:pt x="2564" y="1733"/>
                    </a:lnTo>
                    <a:lnTo>
                      <a:pt x="2565" y="1729"/>
                    </a:lnTo>
                    <a:lnTo>
                      <a:pt x="2569" y="1725"/>
                    </a:lnTo>
                    <a:lnTo>
                      <a:pt x="2574" y="1722"/>
                    </a:lnTo>
                    <a:lnTo>
                      <a:pt x="2581" y="1720"/>
                    </a:lnTo>
                    <a:lnTo>
                      <a:pt x="2590" y="1715"/>
                    </a:lnTo>
                    <a:lnTo>
                      <a:pt x="2598" y="1709"/>
                    </a:lnTo>
                    <a:lnTo>
                      <a:pt x="2607" y="1703"/>
                    </a:lnTo>
                    <a:lnTo>
                      <a:pt x="2623" y="1691"/>
                    </a:lnTo>
                    <a:lnTo>
                      <a:pt x="2637" y="1681"/>
                    </a:lnTo>
                    <a:lnTo>
                      <a:pt x="2643" y="1677"/>
                    </a:lnTo>
                    <a:lnTo>
                      <a:pt x="2650" y="1676"/>
                    </a:lnTo>
                    <a:lnTo>
                      <a:pt x="2652" y="1676"/>
                    </a:lnTo>
                    <a:lnTo>
                      <a:pt x="2654" y="1676"/>
                    </a:lnTo>
                    <a:lnTo>
                      <a:pt x="2656" y="1678"/>
                    </a:lnTo>
                    <a:lnTo>
                      <a:pt x="2658" y="1680"/>
                    </a:lnTo>
                    <a:lnTo>
                      <a:pt x="2661" y="1686"/>
                    </a:lnTo>
                    <a:lnTo>
                      <a:pt x="2662" y="1695"/>
                    </a:lnTo>
                    <a:lnTo>
                      <a:pt x="2662" y="1709"/>
                    </a:lnTo>
                    <a:lnTo>
                      <a:pt x="2661" y="1726"/>
                    </a:lnTo>
                    <a:lnTo>
                      <a:pt x="2659" y="1742"/>
                    </a:lnTo>
                    <a:lnTo>
                      <a:pt x="2661" y="1754"/>
                    </a:lnTo>
                    <a:lnTo>
                      <a:pt x="2662" y="1760"/>
                    </a:lnTo>
                    <a:lnTo>
                      <a:pt x="2664" y="1765"/>
                    </a:lnTo>
                    <a:lnTo>
                      <a:pt x="2667" y="1770"/>
                    </a:lnTo>
                    <a:lnTo>
                      <a:pt x="2669" y="1774"/>
                    </a:lnTo>
                    <a:lnTo>
                      <a:pt x="2675" y="1780"/>
                    </a:lnTo>
                    <a:lnTo>
                      <a:pt x="2683" y="1784"/>
                    </a:lnTo>
                    <a:lnTo>
                      <a:pt x="2692" y="1786"/>
                    </a:lnTo>
                    <a:lnTo>
                      <a:pt x="2702" y="1787"/>
                    </a:lnTo>
                    <a:lnTo>
                      <a:pt x="2712" y="1787"/>
                    </a:lnTo>
                    <a:lnTo>
                      <a:pt x="2723" y="1787"/>
                    </a:lnTo>
                    <a:lnTo>
                      <a:pt x="2734" y="1785"/>
                    </a:lnTo>
                    <a:lnTo>
                      <a:pt x="2745" y="1782"/>
                    </a:lnTo>
                    <a:lnTo>
                      <a:pt x="2767" y="1778"/>
                    </a:lnTo>
                    <a:lnTo>
                      <a:pt x="2785" y="1773"/>
                    </a:lnTo>
                    <a:lnTo>
                      <a:pt x="2800" y="1769"/>
                    </a:lnTo>
                    <a:lnTo>
                      <a:pt x="2814" y="1768"/>
                    </a:lnTo>
                    <a:lnTo>
                      <a:pt x="2825" y="1769"/>
                    </a:lnTo>
                    <a:lnTo>
                      <a:pt x="2836" y="1771"/>
                    </a:lnTo>
                    <a:lnTo>
                      <a:pt x="2858" y="1779"/>
                    </a:lnTo>
                    <a:lnTo>
                      <a:pt x="2882" y="1789"/>
                    </a:lnTo>
                    <a:lnTo>
                      <a:pt x="2892" y="1790"/>
                    </a:lnTo>
                    <a:lnTo>
                      <a:pt x="2903" y="1790"/>
                    </a:lnTo>
                    <a:lnTo>
                      <a:pt x="2915" y="1789"/>
                    </a:lnTo>
                    <a:lnTo>
                      <a:pt x="2927" y="1786"/>
                    </a:lnTo>
                    <a:lnTo>
                      <a:pt x="2953" y="1780"/>
                    </a:lnTo>
                    <a:lnTo>
                      <a:pt x="2975" y="1776"/>
                    </a:lnTo>
                    <a:lnTo>
                      <a:pt x="2996" y="1776"/>
                    </a:lnTo>
                    <a:lnTo>
                      <a:pt x="3016" y="1776"/>
                    </a:lnTo>
                    <a:lnTo>
                      <a:pt x="3031" y="1779"/>
                    </a:lnTo>
                    <a:lnTo>
                      <a:pt x="3047" y="1780"/>
                    </a:lnTo>
                    <a:lnTo>
                      <a:pt x="3073" y="1785"/>
                    </a:lnTo>
                    <a:lnTo>
                      <a:pt x="3095" y="1786"/>
                    </a:lnTo>
                    <a:lnTo>
                      <a:pt x="3106" y="1785"/>
                    </a:lnTo>
                    <a:lnTo>
                      <a:pt x="3116" y="1781"/>
                    </a:lnTo>
                    <a:lnTo>
                      <a:pt x="3127" y="1776"/>
                    </a:lnTo>
                    <a:lnTo>
                      <a:pt x="3138" y="1769"/>
                    </a:lnTo>
                    <a:lnTo>
                      <a:pt x="3150" y="1759"/>
                    </a:lnTo>
                    <a:lnTo>
                      <a:pt x="3162" y="1747"/>
                    </a:lnTo>
                    <a:lnTo>
                      <a:pt x="3176" y="1730"/>
                    </a:lnTo>
                    <a:lnTo>
                      <a:pt x="3192" y="1710"/>
                    </a:lnTo>
                    <a:lnTo>
                      <a:pt x="3218" y="1676"/>
                    </a:lnTo>
                    <a:lnTo>
                      <a:pt x="3254" y="1623"/>
                    </a:lnTo>
                    <a:lnTo>
                      <a:pt x="3271" y="1596"/>
                    </a:lnTo>
                    <a:lnTo>
                      <a:pt x="3285" y="1572"/>
                    </a:lnTo>
                    <a:lnTo>
                      <a:pt x="3290" y="1561"/>
                    </a:lnTo>
                    <a:lnTo>
                      <a:pt x="3292" y="1551"/>
                    </a:lnTo>
                    <a:lnTo>
                      <a:pt x="3293" y="1547"/>
                    </a:lnTo>
                    <a:lnTo>
                      <a:pt x="3293" y="1544"/>
                    </a:lnTo>
                    <a:lnTo>
                      <a:pt x="3293" y="1540"/>
                    </a:lnTo>
                    <a:lnTo>
                      <a:pt x="3292" y="1538"/>
                    </a:lnTo>
                    <a:lnTo>
                      <a:pt x="3285" y="1539"/>
                    </a:lnTo>
                    <a:lnTo>
                      <a:pt x="3270" y="1545"/>
                    </a:lnTo>
                    <a:lnTo>
                      <a:pt x="3253" y="1552"/>
                    </a:lnTo>
                    <a:lnTo>
                      <a:pt x="3241" y="1556"/>
                    </a:lnTo>
                    <a:lnTo>
                      <a:pt x="3233" y="1556"/>
                    </a:lnTo>
                    <a:lnTo>
                      <a:pt x="3229" y="1556"/>
                    </a:lnTo>
                    <a:lnTo>
                      <a:pt x="3224" y="1555"/>
                    </a:lnTo>
                    <a:lnTo>
                      <a:pt x="3219" y="1553"/>
                    </a:lnTo>
                    <a:lnTo>
                      <a:pt x="3213" y="1547"/>
                    </a:lnTo>
                    <a:lnTo>
                      <a:pt x="3209" y="1540"/>
                    </a:lnTo>
                    <a:lnTo>
                      <a:pt x="3204" y="1531"/>
                    </a:lnTo>
                    <a:lnTo>
                      <a:pt x="3200" y="1524"/>
                    </a:lnTo>
                    <a:lnTo>
                      <a:pt x="3198" y="1520"/>
                    </a:lnTo>
                    <a:lnTo>
                      <a:pt x="3194" y="1517"/>
                    </a:lnTo>
                    <a:lnTo>
                      <a:pt x="3191" y="1513"/>
                    </a:lnTo>
                    <a:lnTo>
                      <a:pt x="3186" y="1511"/>
                    </a:lnTo>
                    <a:lnTo>
                      <a:pt x="3180" y="1508"/>
                    </a:lnTo>
                    <a:lnTo>
                      <a:pt x="3172" y="1503"/>
                    </a:lnTo>
                    <a:lnTo>
                      <a:pt x="3166" y="1497"/>
                    </a:lnTo>
                    <a:lnTo>
                      <a:pt x="3159" y="1490"/>
                    </a:lnTo>
                    <a:lnTo>
                      <a:pt x="3154" y="1482"/>
                    </a:lnTo>
                    <a:lnTo>
                      <a:pt x="3149" y="1475"/>
                    </a:lnTo>
                    <a:lnTo>
                      <a:pt x="3145" y="1468"/>
                    </a:lnTo>
                    <a:lnTo>
                      <a:pt x="3143" y="1460"/>
                    </a:lnTo>
                    <a:lnTo>
                      <a:pt x="3142" y="1452"/>
                    </a:lnTo>
                    <a:lnTo>
                      <a:pt x="3138" y="1443"/>
                    </a:lnTo>
                    <a:lnTo>
                      <a:pt x="3136" y="1435"/>
                    </a:lnTo>
                    <a:lnTo>
                      <a:pt x="3132" y="1426"/>
                    </a:lnTo>
                    <a:lnTo>
                      <a:pt x="3123" y="1411"/>
                    </a:lnTo>
                    <a:lnTo>
                      <a:pt x="3116" y="1397"/>
                    </a:lnTo>
                    <a:lnTo>
                      <a:pt x="3109" y="1381"/>
                    </a:lnTo>
                    <a:lnTo>
                      <a:pt x="3104" y="1365"/>
                    </a:lnTo>
                    <a:lnTo>
                      <a:pt x="3102" y="1356"/>
                    </a:lnTo>
                    <a:lnTo>
                      <a:pt x="3102" y="1348"/>
                    </a:lnTo>
                    <a:lnTo>
                      <a:pt x="3102" y="1338"/>
                    </a:lnTo>
                    <a:lnTo>
                      <a:pt x="3105" y="1328"/>
                    </a:lnTo>
                    <a:lnTo>
                      <a:pt x="3109" y="1320"/>
                    </a:lnTo>
                    <a:lnTo>
                      <a:pt x="3112" y="1314"/>
                    </a:lnTo>
                    <a:lnTo>
                      <a:pt x="3117" y="1309"/>
                    </a:lnTo>
                    <a:lnTo>
                      <a:pt x="3123" y="1305"/>
                    </a:lnTo>
                    <a:lnTo>
                      <a:pt x="3138" y="1299"/>
                    </a:lnTo>
                    <a:lnTo>
                      <a:pt x="3154" y="1294"/>
                    </a:lnTo>
                    <a:lnTo>
                      <a:pt x="3170" y="1289"/>
                    </a:lnTo>
                    <a:lnTo>
                      <a:pt x="3186" y="1283"/>
                    </a:lnTo>
                    <a:lnTo>
                      <a:pt x="3192" y="1278"/>
                    </a:lnTo>
                    <a:lnTo>
                      <a:pt x="3198" y="1272"/>
                    </a:lnTo>
                    <a:lnTo>
                      <a:pt x="3204" y="1266"/>
                    </a:lnTo>
                    <a:lnTo>
                      <a:pt x="3209" y="1257"/>
                    </a:lnTo>
                    <a:lnTo>
                      <a:pt x="3209" y="1244"/>
                    </a:lnTo>
                    <a:lnTo>
                      <a:pt x="3210" y="1230"/>
                    </a:lnTo>
                    <a:lnTo>
                      <a:pt x="3210" y="1218"/>
                    </a:lnTo>
                    <a:lnTo>
                      <a:pt x="3209" y="1206"/>
                    </a:lnTo>
                    <a:lnTo>
                      <a:pt x="3208" y="1201"/>
                    </a:lnTo>
                    <a:lnTo>
                      <a:pt x="3205" y="1197"/>
                    </a:lnTo>
                    <a:lnTo>
                      <a:pt x="3203" y="1194"/>
                    </a:lnTo>
                    <a:lnTo>
                      <a:pt x="3198" y="1191"/>
                    </a:lnTo>
                    <a:lnTo>
                      <a:pt x="3193" y="1190"/>
                    </a:lnTo>
                    <a:lnTo>
                      <a:pt x="3187" y="1189"/>
                    </a:lnTo>
                    <a:lnTo>
                      <a:pt x="3180" y="1190"/>
                    </a:lnTo>
                    <a:lnTo>
                      <a:pt x="3170" y="1192"/>
                    </a:lnTo>
                    <a:lnTo>
                      <a:pt x="3156" y="1198"/>
                    </a:lnTo>
                    <a:lnTo>
                      <a:pt x="3140" y="1203"/>
                    </a:lnTo>
                    <a:lnTo>
                      <a:pt x="3133" y="1206"/>
                    </a:lnTo>
                    <a:lnTo>
                      <a:pt x="3126" y="1206"/>
                    </a:lnTo>
                    <a:lnTo>
                      <a:pt x="3117" y="1206"/>
                    </a:lnTo>
                    <a:lnTo>
                      <a:pt x="3110" y="1205"/>
                    </a:lnTo>
                    <a:lnTo>
                      <a:pt x="3104" y="1201"/>
                    </a:lnTo>
                    <a:lnTo>
                      <a:pt x="3099" y="1198"/>
                    </a:lnTo>
                    <a:lnTo>
                      <a:pt x="3094" y="1195"/>
                    </a:lnTo>
                    <a:lnTo>
                      <a:pt x="3091" y="1191"/>
                    </a:lnTo>
                    <a:lnTo>
                      <a:pt x="3087" y="1184"/>
                    </a:lnTo>
                    <a:lnTo>
                      <a:pt x="3083" y="1175"/>
                    </a:lnTo>
                    <a:lnTo>
                      <a:pt x="3082" y="1167"/>
                    </a:lnTo>
                    <a:lnTo>
                      <a:pt x="3079" y="1158"/>
                    </a:lnTo>
                    <a:lnTo>
                      <a:pt x="3077" y="1149"/>
                    </a:lnTo>
                    <a:lnTo>
                      <a:pt x="3072" y="1141"/>
                    </a:lnTo>
                    <a:lnTo>
                      <a:pt x="3077" y="1135"/>
                    </a:lnTo>
                    <a:lnTo>
                      <a:pt x="3088" y="1124"/>
                    </a:lnTo>
                    <a:lnTo>
                      <a:pt x="3104" y="1110"/>
                    </a:lnTo>
                    <a:lnTo>
                      <a:pt x="3121" y="1096"/>
                    </a:lnTo>
                    <a:lnTo>
                      <a:pt x="3139" y="1081"/>
                    </a:lnTo>
                    <a:lnTo>
                      <a:pt x="3155" y="1069"/>
                    </a:lnTo>
                    <a:lnTo>
                      <a:pt x="3169" y="1060"/>
                    </a:lnTo>
                    <a:lnTo>
                      <a:pt x="3176" y="1056"/>
                    </a:lnTo>
                    <a:lnTo>
                      <a:pt x="3180" y="1056"/>
                    </a:lnTo>
                    <a:lnTo>
                      <a:pt x="3184" y="1058"/>
                    </a:lnTo>
                    <a:lnTo>
                      <a:pt x="3188" y="1061"/>
                    </a:lnTo>
                    <a:lnTo>
                      <a:pt x="3192" y="1065"/>
                    </a:lnTo>
                    <a:lnTo>
                      <a:pt x="3198" y="1076"/>
                    </a:lnTo>
                    <a:lnTo>
                      <a:pt x="3204" y="1089"/>
                    </a:lnTo>
                    <a:lnTo>
                      <a:pt x="3209" y="1104"/>
                    </a:lnTo>
                    <a:lnTo>
                      <a:pt x="3214" y="1118"/>
                    </a:lnTo>
                    <a:lnTo>
                      <a:pt x="3219" y="1130"/>
                    </a:lnTo>
                    <a:lnTo>
                      <a:pt x="3225" y="1138"/>
                    </a:lnTo>
                    <a:lnTo>
                      <a:pt x="3230" y="1143"/>
                    </a:lnTo>
                    <a:lnTo>
                      <a:pt x="3233" y="1147"/>
                    </a:lnTo>
                    <a:lnTo>
                      <a:pt x="3237" y="1149"/>
                    </a:lnTo>
                    <a:lnTo>
                      <a:pt x="3241" y="1151"/>
                    </a:lnTo>
                    <a:lnTo>
                      <a:pt x="3244" y="1151"/>
                    </a:lnTo>
                    <a:lnTo>
                      <a:pt x="3247" y="1149"/>
                    </a:lnTo>
                    <a:lnTo>
                      <a:pt x="3249" y="1148"/>
                    </a:lnTo>
                    <a:lnTo>
                      <a:pt x="3251" y="1146"/>
                    </a:lnTo>
                    <a:lnTo>
                      <a:pt x="3254" y="1140"/>
                    </a:lnTo>
                    <a:lnTo>
                      <a:pt x="3257" y="1131"/>
                    </a:lnTo>
                    <a:lnTo>
                      <a:pt x="3259" y="1120"/>
                    </a:lnTo>
                    <a:lnTo>
                      <a:pt x="3262" y="1108"/>
                    </a:lnTo>
                    <a:lnTo>
                      <a:pt x="3264" y="1082"/>
                    </a:lnTo>
                    <a:lnTo>
                      <a:pt x="3269" y="1056"/>
                    </a:lnTo>
                    <a:lnTo>
                      <a:pt x="3273" y="1047"/>
                    </a:lnTo>
                    <a:lnTo>
                      <a:pt x="3278" y="1038"/>
                    </a:lnTo>
                    <a:lnTo>
                      <a:pt x="3280" y="1034"/>
                    </a:lnTo>
                    <a:lnTo>
                      <a:pt x="3282" y="1032"/>
                    </a:lnTo>
                    <a:lnTo>
                      <a:pt x="3286" y="1029"/>
                    </a:lnTo>
                    <a:lnTo>
                      <a:pt x="3290" y="1028"/>
                    </a:lnTo>
                    <a:lnTo>
                      <a:pt x="3296" y="1028"/>
                    </a:lnTo>
                    <a:lnTo>
                      <a:pt x="3301" y="1031"/>
                    </a:lnTo>
                    <a:lnTo>
                      <a:pt x="3306" y="1034"/>
                    </a:lnTo>
                    <a:lnTo>
                      <a:pt x="3311" y="1039"/>
                    </a:lnTo>
                    <a:lnTo>
                      <a:pt x="3320" y="1053"/>
                    </a:lnTo>
                    <a:lnTo>
                      <a:pt x="3330" y="1070"/>
                    </a:lnTo>
                    <a:lnTo>
                      <a:pt x="3340" y="1088"/>
                    </a:lnTo>
                    <a:lnTo>
                      <a:pt x="3350" y="1105"/>
                    </a:lnTo>
                    <a:lnTo>
                      <a:pt x="3360" y="1120"/>
                    </a:lnTo>
                    <a:lnTo>
                      <a:pt x="3369" y="1131"/>
                    </a:lnTo>
                    <a:lnTo>
                      <a:pt x="3385" y="1148"/>
                    </a:lnTo>
                    <a:lnTo>
                      <a:pt x="3404" y="1171"/>
                    </a:lnTo>
                    <a:lnTo>
                      <a:pt x="3412" y="1183"/>
                    </a:lnTo>
                    <a:lnTo>
                      <a:pt x="3422" y="1192"/>
                    </a:lnTo>
                    <a:lnTo>
                      <a:pt x="3429" y="1200"/>
                    </a:lnTo>
                    <a:lnTo>
                      <a:pt x="3438" y="1205"/>
                    </a:lnTo>
                    <a:lnTo>
                      <a:pt x="3444" y="1207"/>
                    </a:lnTo>
                    <a:lnTo>
                      <a:pt x="3451" y="1208"/>
                    </a:lnTo>
                    <a:lnTo>
                      <a:pt x="3460" y="1208"/>
                    </a:lnTo>
                    <a:lnTo>
                      <a:pt x="3467" y="1208"/>
                    </a:lnTo>
                    <a:lnTo>
                      <a:pt x="3484" y="1207"/>
                    </a:lnTo>
                    <a:lnTo>
                      <a:pt x="3502" y="1206"/>
                    </a:lnTo>
                    <a:lnTo>
                      <a:pt x="3509" y="1206"/>
                    </a:lnTo>
                    <a:lnTo>
                      <a:pt x="3516" y="1207"/>
                    </a:lnTo>
                    <a:lnTo>
                      <a:pt x="3522" y="1209"/>
                    </a:lnTo>
                    <a:lnTo>
                      <a:pt x="3527" y="1213"/>
                    </a:lnTo>
                    <a:lnTo>
                      <a:pt x="3531" y="1219"/>
                    </a:lnTo>
                    <a:lnTo>
                      <a:pt x="3533" y="1227"/>
                    </a:lnTo>
                    <a:lnTo>
                      <a:pt x="3533" y="1236"/>
                    </a:lnTo>
                    <a:lnTo>
                      <a:pt x="3532" y="1247"/>
                    </a:lnTo>
                    <a:lnTo>
                      <a:pt x="3532" y="1256"/>
                    </a:lnTo>
                    <a:lnTo>
                      <a:pt x="3532" y="1265"/>
                    </a:lnTo>
                    <a:lnTo>
                      <a:pt x="3533" y="1274"/>
                    </a:lnTo>
                    <a:lnTo>
                      <a:pt x="3535" y="1284"/>
                    </a:lnTo>
                    <a:lnTo>
                      <a:pt x="3537" y="1294"/>
                    </a:lnTo>
                    <a:lnTo>
                      <a:pt x="3541" y="1304"/>
                    </a:lnTo>
                    <a:lnTo>
                      <a:pt x="3544" y="1314"/>
                    </a:lnTo>
                    <a:lnTo>
                      <a:pt x="3549" y="1323"/>
                    </a:lnTo>
                    <a:lnTo>
                      <a:pt x="3554" y="1332"/>
                    </a:lnTo>
                    <a:lnTo>
                      <a:pt x="3559" y="1342"/>
                    </a:lnTo>
                    <a:lnTo>
                      <a:pt x="3565" y="1349"/>
                    </a:lnTo>
                    <a:lnTo>
                      <a:pt x="3572" y="1356"/>
                    </a:lnTo>
                    <a:lnTo>
                      <a:pt x="3579" y="1364"/>
                    </a:lnTo>
                    <a:lnTo>
                      <a:pt x="3586" y="1370"/>
                    </a:lnTo>
                    <a:lnTo>
                      <a:pt x="3595" y="1374"/>
                    </a:lnTo>
                    <a:lnTo>
                      <a:pt x="3602" y="1377"/>
                    </a:lnTo>
                    <a:lnTo>
                      <a:pt x="3608" y="1377"/>
                    </a:lnTo>
                    <a:lnTo>
                      <a:pt x="3614" y="1378"/>
                    </a:lnTo>
                    <a:lnTo>
                      <a:pt x="3620" y="1381"/>
                    </a:lnTo>
                    <a:lnTo>
                      <a:pt x="3626" y="1383"/>
                    </a:lnTo>
                    <a:lnTo>
                      <a:pt x="3631" y="1386"/>
                    </a:lnTo>
                    <a:lnTo>
                      <a:pt x="3637" y="1388"/>
                    </a:lnTo>
                    <a:lnTo>
                      <a:pt x="3645" y="1388"/>
                    </a:lnTo>
                    <a:lnTo>
                      <a:pt x="3651" y="1387"/>
                    </a:lnTo>
                    <a:lnTo>
                      <a:pt x="3661" y="1382"/>
                    </a:lnTo>
                    <a:lnTo>
                      <a:pt x="3672" y="1375"/>
                    </a:lnTo>
                    <a:lnTo>
                      <a:pt x="3677" y="1371"/>
                    </a:lnTo>
                    <a:lnTo>
                      <a:pt x="3681" y="1367"/>
                    </a:lnTo>
                    <a:lnTo>
                      <a:pt x="3686" y="1365"/>
                    </a:lnTo>
                    <a:lnTo>
                      <a:pt x="3690" y="1365"/>
                    </a:lnTo>
                    <a:lnTo>
                      <a:pt x="3700" y="1400"/>
                    </a:lnTo>
                    <a:lnTo>
                      <a:pt x="3708" y="1431"/>
                    </a:lnTo>
                    <a:lnTo>
                      <a:pt x="3712" y="1437"/>
                    </a:lnTo>
                    <a:lnTo>
                      <a:pt x="3716" y="1443"/>
                    </a:lnTo>
                    <a:lnTo>
                      <a:pt x="3719" y="1449"/>
                    </a:lnTo>
                    <a:lnTo>
                      <a:pt x="3725" y="1456"/>
                    </a:lnTo>
                    <a:lnTo>
                      <a:pt x="3732" y="1463"/>
                    </a:lnTo>
                    <a:lnTo>
                      <a:pt x="3739" y="1469"/>
                    </a:lnTo>
                    <a:lnTo>
                      <a:pt x="3748" y="1475"/>
                    </a:lnTo>
                    <a:lnTo>
                      <a:pt x="3757" y="1481"/>
                    </a:lnTo>
                    <a:lnTo>
                      <a:pt x="3781" y="1496"/>
                    </a:lnTo>
                    <a:lnTo>
                      <a:pt x="3804" y="1513"/>
                    </a:lnTo>
                    <a:lnTo>
                      <a:pt x="3828" y="1531"/>
                    </a:lnTo>
                    <a:lnTo>
                      <a:pt x="3853" y="1550"/>
                    </a:lnTo>
                    <a:lnTo>
                      <a:pt x="3865" y="1560"/>
                    </a:lnTo>
                    <a:lnTo>
                      <a:pt x="3877" y="1568"/>
                    </a:lnTo>
                    <a:lnTo>
                      <a:pt x="3891" y="1576"/>
                    </a:lnTo>
                    <a:lnTo>
                      <a:pt x="3904" y="1583"/>
                    </a:lnTo>
                    <a:lnTo>
                      <a:pt x="3916" y="1589"/>
                    </a:lnTo>
                    <a:lnTo>
                      <a:pt x="3930" y="1594"/>
                    </a:lnTo>
                    <a:lnTo>
                      <a:pt x="3943" y="1598"/>
                    </a:lnTo>
                    <a:lnTo>
                      <a:pt x="3958" y="1600"/>
                    </a:lnTo>
                    <a:lnTo>
                      <a:pt x="3974" y="1600"/>
                    </a:lnTo>
                    <a:lnTo>
                      <a:pt x="3989" y="1600"/>
                    </a:lnTo>
                    <a:lnTo>
                      <a:pt x="4001" y="1598"/>
                    </a:lnTo>
                    <a:lnTo>
                      <a:pt x="4012" y="1593"/>
                    </a:lnTo>
                    <a:lnTo>
                      <a:pt x="4020" y="1588"/>
                    </a:lnTo>
                    <a:lnTo>
                      <a:pt x="4028" y="1580"/>
                    </a:lnTo>
                    <a:lnTo>
                      <a:pt x="4033" y="1573"/>
                    </a:lnTo>
                    <a:lnTo>
                      <a:pt x="4039" y="1564"/>
                    </a:lnTo>
                    <a:lnTo>
                      <a:pt x="4046" y="1545"/>
                    </a:lnTo>
                    <a:lnTo>
                      <a:pt x="4054" y="1523"/>
                    </a:lnTo>
                    <a:lnTo>
                      <a:pt x="4057" y="1512"/>
                    </a:lnTo>
                    <a:lnTo>
                      <a:pt x="4061" y="1501"/>
                    </a:lnTo>
                    <a:lnTo>
                      <a:pt x="4067" y="1491"/>
                    </a:lnTo>
                    <a:lnTo>
                      <a:pt x="4072" y="1480"/>
                    </a:lnTo>
                    <a:lnTo>
                      <a:pt x="4082" y="1467"/>
                    </a:lnTo>
                    <a:lnTo>
                      <a:pt x="4090" y="1456"/>
                    </a:lnTo>
                    <a:lnTo>
                      <a:pt x="4099" y="1447"/>
                    </a:lnTo>
                    <a:lnTo>
                      <a:pt x="4106" y="1441"/>
                    </a:lnTo>
                    <a:lnTo>
                      <a:pt x="4114" y="1436"/>
                    </a:lnTo>
                    <a:lnTo>
                      <a:pt x="4120" y="1433"/>
                    </a:lnTo>
                    <a:lnTo>
                      <a:pt x="4127" y="1432"/>
                    </a:lnTo>
                    <a:lnTo>
                      <a:pt x="4133" y="1432"/>
                    </a:lnTo>
                    <a:lnTo>
                      <a:pt x="4139" y="1435"/>
                    </a:lnTo>
                    <a:lnTo>
                      <a:pt x="4144" y="1437"/>
                    </a:lnTo>
                    <a:lnTo>
                      <a:pt x="4150" y="1442"/>
                    </a:lnTo>
                    <a:lnTo>
                      <a:pt x="4155" y="1447"/>
                    </a:lnTo>
                    <a:lnTo>
                      <a:pt x="4164" y="1460"/>
                    </a:lnTo>
                    <a:lnTo>
                      <a:pt x="4172" y="1475"/>
                    </a:lnTo>
                    <a:lnTo>
                      <a:pt x="4188" y="1509"/>
                    </a:lnTo>
                    <a:lnTo>
                      <a:pt x="4202" y="1540"/>
                    </a:lnTo>
                    <a:lnTo>
                      <a:pt x="4205" y="1546"/>
                    </a:lnTo>
                    <a:lnTo>
                      <a:pt x="4209" y="1551"/>
                    </a:lnTo>
                    <a:lnTo>
                      <a:pt x="4213" y="1555"/>
                    </a:lnTo>
                    <a:lnTo>
                      <a:pt x="4216" y="1558"/>
                    </a:lnTo>
                    <a:lnTo>
                      <a:pt x="4220" y="1560"/>
                    </a:lnTo>
                    <a:lnTo>
                      <a:pt x="4224" y="1560"/>
                    </a:lnTo>
                    <a:lnTo>
                      <a:pt x="4227" y="1558"/>
                    </a:lnTo>
                    <a:lnTo>
                      <a:pt x="4231" y="1555"/>
                    </a:lnTo>
                    <a:lnTo>
                      <a:pt x="4237" y="1550"/>
                    </a:lnTo>
                    <a:lnTo>
                      <a:pt x="4243" y="1545"/>
                    </a:lnTo>
                    <a:lnTo>
                      <a:pt x="4249" y="1541"/>
                    </a:lnTo>
                    <a:lnTo>
                      <a:pt x="4255" y="1538"/>
                    </a:lnTo>
                    <a:lnTo>
                      <a:pt x="4269" y="1533"/>
                    </a:lnTo>
                    <a:lnTo>
                      <a:pt x="4282" y="1529"/>
                    </a:lnTo>
                    <a:lnTo>
                      <a:pt x="4311" y="1525"/>
                    </a:lnTo>
                    <a:lnTo>
                      <a:pt x="4337" y="1524"/>
                    </a:lnTo>
                    <a:lnTo>
                      <a:pt x="4351" y="1522"/>
                    </a:lnTo>
                    <a:lnTo>
                      <a:pt x="4362" y="1519"/>
                    </a:lnTo>
                    <a:lnTo>
                      <a:pt x="4373" y="1514"/>
                    </a:lnTo>
                    <a:lnTo>
                      <a:pt x="4382" y="1508"/>
                    </a:lnTo>
                    <a:lnTo>
                      <a:pt x="4385" y="1505"/>
                    </a:lnTo>
                    <a:lnTo>
                      <a:pt x="4389" y="1500"/>
                    </a:lnTo>
                    <a:lnTo>
                      <a:pt x="4393" y="1495"/>
                    </a:lnTo>
                    <a:lnTo>
                      <a:pt x="4395" y="1489"/>
                    </a:lnTo>
                    <a:lnTo>
                      <a:pt x="4396" y="1481"/>
                    </a:lnTo>
                    <a:lnTo>
                      <a:pt x="4399" y="1473"/>
                    </a:lnTo>
                    <a:lnTo>
                      <a:pt x="4399" y="1464"/>
                    </a:lnTo>
                    <a:lnTo>
                      <a:pt x="4400" y="1454"/>
                    </a:lnTo>
                    <a:lnTo>
                      <a:pt x="4390" y="1449"/>
                    </a:lnTo>
                    <a:lnTo>
                      <a:pt x="4378" y="1441"/>
                    </a:lnTo>
                    <a:lnTo>
                      <a:pt x="4364" y="1429"/>
                    </a:lnTo>
                    <a:lnTo>
                      <a:pt x="4351" y="1416"/>
                    </a:lnTo>
                    <a:lnTo>
                      <a:pt x="4346" y="1409"/>
                    </a:lnTo>
                    <a:lnTo>
                      <a:pt x="4342" y="1403"/>
                    </a:lnTo>
                    <a:lnTo>
                      <a:pt x="4339" y="1396"/>
                    </a:lnTo>
                    <a:lnTo>
                      <a:pt x="4337" y="1391"/>
                    </a:lnTo>
                    <a:lnTo>
                      <a:pt x="4339" y="1385"/>
                    </a:lnTo>
                    <a:lnTo>
                      <a:pt x="4341" y="1381"/>
                    </a:lnTo>
                    <a:lnTo>
                      <a:pt x="4347" y="1377"/>
                    </a:lnTo>
                    <a:lnTo>
                      <a:pt x="4355" y="1375"/>
                    </a:lnTo>
                    <a:lnTo>
                      <a:pt x="4373" y="1370"/>
                    </a:lnTo>
                    <a:lnTo>
                      <a:pt x="4388" y="1364"/>
                    </a:lnTo>
                    <a:lnTo>
                      <a:pt x="4393" y="1360"/>
                    </a:lnTo>
                    <a:lnTo>
                      <a:pt x="4397" y="1358"/>
                    </a:lnTo>
                    <a:lnTo>
                      <a:pt x="4401" y="1354"/>
                    </a:lnTo>
                    <a:lnTo>
                      <a:pt x="4404" y="1350"/>
                    </a:lnTo>
                    <a:lnTo>
                      <a:pt x="4407" y="1342"/>
                    </a:lnTo>
                    <a:lnTo>
                      <a:pt x="4408" y="1334"/>
                    </a:lnTo>
                    <a:lnTo>
                      <a:pt x="4408" y="1326"/>
                    </a:lnTo>
                    <a:lnTo>
                      <a:pt x="4407" y="1318"/>
                    </a:lnTo>
                    <a:lnTo>
                      <a:pt x="4406" y="1310"/>
                    </a:lnTo>
                    <a:lnTo>
                      <a:pt x="4405" y="1302"/>
                    </a:lnTo>
                    <a:lnTo>
                      <a:pt x="4405" y="1295"/>
                    </a:lnTo>
                    <a:lnTo>
                      <a:pt x="4406" y="1288"/>
                    </a:lnTo>
                    <a:lnTo>
                      <a:pt x="4408" y="1284"/>
                    </a:lnTo>
                    <a:lnTo>
                      <a:pt x="4411" y="1282"/>
                    </a:lnTo>
                    <a:lnTo>
                      <a:pt x="4413" y="1278"/>
                    </a:lnTo>
                    <a:lnTo>
                      <a:pt x="4417" y="1276"/>
                    </a:lnTo>
                    <a:lnTo>
                      <a:pt x="4428" y="1272"/>
                    </a:lnTo>
                    <a:lnTo>
                      <a:pt x="4443" y="1268"/>
                    </a:lnTo>
                    <a:lnTo>
                      <a:pt x="4466" y="1266"/>
                    </a:lnTo>
                    <a:lnTo>
                      <a:pt x="4484" y="1263"/>
                    </a:lnTo>
                    <a:lnTo>
                      <a:pt x="4498" y="1263"/>
                    </a:lnTo>
                    <a:lnTo>
                      <a:pt x="4509" y="1265"/>
                    </a:lnTo>
                    <a:lnTo>
                      <a:pt x="4516" y="1267"/>
                    </a:lnTo>
                    <a:lnTo>
                      <a:pt x="4521" y="1271"/>
                    </a:lnTo>
                    <a:lnTo>
                      <a:pt x="4524" y="1274"/>
                    </a:lnTo>
                    <a:lnTo>
                      <a:pt x="4524" y="1280"/>
                    </a:lnTo>
                    <a:lnTo>
                      <a:pt x="4517" y="1295"/>
                    </a:lnTo>
                    <a:lnTo>
                      <a:pt x="4509" y="1314"/>
                    </a:lnTo>
                    <a:lnTo>
                      <a:pt x="4504" y="1323"/>
                    </a:lnTo>
                    <a:lnTo>
                      <a:pt x="4499" y="1334"/>
                    </a:lnTo>
                    <a:lnTo>
                      <a:pt x="4494" y="1345"/>
                    </a:lnTo>
                    <a:lnTo>
                      <a:pt x="4490" y="1358"/>
                    </a:lnTo>
                    <a:lnTo>
                      <a:pt x="4484" y="1359"/>
                    </a:lnTo>
                    <a:lnTo>
                      <a:pt x="4477" y="1362"/>
                    </a:lnTo>
                    <a:lnTo>
                      <a:pt x="4470" y="1367"/>
                    </a:lnTo>
                    <a:lnTo>
                      <a:pt x="4461" y="1374"/>
                    </a:lnTo>
                    <a:lnTo>
                      <a:pt x="4453" y="1381"/>
                    </a:lnTo>
                    <a:lnTo>
                      <a:pt x="4444" y="1388"/>
                    </a:lnTo>
                    <a:lnTo>
                      <a:pt x="4437" y="1396"/>
                    </a:lnTo>
                    <a:lnTo>
                      <a:pt x="4429" y="1404"/>
                    </a:lnTo>
                    <a:lnTo>
                      <a:pt x="4423" y="1413"/>
                    </a:lnTo>
                    <a:lnTo>
                      <a:pt x="4420" y="1420"/>
                    </a:lnTo>
                    <a:lnTo>
                      <a:pt x="4417" y="1427"/>
                    </a:lnTo>
                    <a:lnTo>
                      <a:pt x="4416" y="1433"/>
                    </a:lnTo>
                    <a:lnTo>
                      <a:pt x="4417" y="1436"/>
                    </a:lnTo>
                    <a:lnTo>
                      <a:pt x="4418" y="1438"/>
                    </a:lnTo>
                    <a:lnTo>
                      <a:pt x="4420" y="1441"/>
                    </a:lnTo>
                    <a:lnTo>
                      <a:pt x="4423" y="1442"/>
                    </a:lnTo>
                    <a:lnTo>
                      <a:pt x="4431" y="1445"/>
                    </a:lnTo>
                    <a:lnTo>
                      <a:pt x="4442" y="1446"/>
                    </a:lnTo>
                    <a:lnTo>
                      <a:pt x="4450" y="1445"/>
                    </a:lnTo>
                    <a:lnTo>
                      <a:pt x="4457" y="1441"/>
                    </a:lnTo>
                    <a:lnTo>
                      <a:pt x="4465" y="1436"/>
                    </a:lnTo>
                    <a:lnTo>
                      <a:pt x="4471" y="1431"/>
                    </a:lnTo>
                    <a:lnTo>
                      <a:pt x="4482" y="1416"/>
                    </a:lnTo>
                    <a:lnTo>
                      <a:pt x="4492" y="1400"/>
                    </a:lnTo>
                    <a:lnTo>
                      <a:pt x="4500" y="1383"/>
                    </a:lnTo>
                    <a:lnTo>
                      <a:pt x="4509" y="1370"/>
                    </a:lnTo>
                    <a:lnTo>
                      <a:pt x="4514" y="1364"/>
                    </a:lnTo>
                    <a:lnTo>
                      <a:pt x="4520" y="1360"/>
                    </a:lnTo>
                    <a:lnTo>
                      <a:pt x="4525" y="1358"/>
                    </a:lnTo>
                    <a:lnTo>
                      <a:pt x="4531" y="1356"/>
                    </a:lnTo>
                    <a:lnTo>
                      <a:pt x="4536" y="1353"/>
                    </a:lnTo>
                    <a:lnTo>
                      <a:pt x="4542" y="1349"/>
                    </a:lnTo>
                    <a:lnTo>
                      <a:pt x="4548" y="1347"/>
                    </a:lnTo>
                    <a:lnTo>
                      <a:pt x="4555" y="1344"/>
                    </a:lnTo>
                    <a:lnTo>
                      <a:pt x="4570" y="1339"/>
                    </a:lnTo>
                    <a:lnTo>
                      <a:pt x="4585" y="1337"/>
                    </a:lnTo>
                    <a:lnTo>
                      <a:pt x="4599" y="1333"/>
                    </a:lnTo>
                    <a:lnTo>
                      <a:pt x="4613" y="1329"/>
                    </a:lnTo>
                    <a:lnTo>
                      <a:pt x="4619" y="1327"/>
                    </a:lnTo>
                    <a:lnTo>
                      <a:pt x="4625" y="1323"/>
                    </a:lnTo>
                    <a:lnTo>
                      <a:pt x="4630" y="1320"/>
                    </a:lnTo>
                    <a:lnTo>
                      <a:pt x="4634" y="1316"/>
                    </a:lnTo>
                    <a:lnTo>
                      <a:pt x="4639" y="1309"/>
                    </a:lnTo>
                    <a:lnTo>
                      <a:pt x="4642" y="1299"/>
                    </a:lnTo>
                    <a:lnTo>
                      <a:pt x="4643" y="1285"/>
                    </a:lnTo>
                    <a:lnTo>
                      <a:pt x="4646" y="1272"/>
                    </a:lnTo>
                    <a:lnTo>
                      <a:pt x="4647" y="1241"/>
                    </a:lnTo>
                    <a:lnTo>
                      <a:pt x="4648" y="1209"/>
                    </a:lnTo>
                    <a:lnTo>
                      <a:pt x="4650" y="1196"/>
                    </a:lnTo>
                    <a:lnTo>
                      <a:pt x="4652" y="1183"/>
                    </a:lnTo>
                    <a:lnTo>
                      <a:pt x="4655" y="1171"/>
                    </a:lnTo>
                    <a:lnTo>
                      <a:pt x="4658" y="1163"/>
                    </a:lnTo>
                    <a:lnTo>
                      <a:pt x="4662" y="1160"/>
                    </a:lnTo>
                    <a:lnTo>
                      <a:pt x="4664" y="1158"/>
                    </a:lnTo>
                    <a:lnTo>
                      <a:pt x="4668" y="1156"/>
                    </a:lnTo>
                    <a:lnTo>
                      <a:pt x="4672" y="1156"/>
                    </a:lnTo>
                    <a:lnTo>
                      <a:pt x="4675" y="1157"/>
                    </a:lnTo>
                    <a:lnTo>
                      <a:pt x="4680" y="1158"/>
                    </a:lnTo>
                    <a:lnTo>
                      <a:pt x="4686" y="1160"/>
                    </a:lnTo>
                    <a:lnTo>
                      <a:pt x="4691" y="1164"/>
                    </a:lnTo>
                    <a:lnTo>
                      <a:pt x="4700" y="1170"/>
                    </a:lnTo>
                    <a:lnTo>
                      <a:pt x="4708" y="1173"/>
                    </a:lnTo>
                    <a:lnTo>
                      <a:pt x="4714" y="1173"/>
                    </a:lnTo>
                    <a:lnTo>
                      <a:pt x="4722" y="1170"/>
                    </a:lnTo>
                    <a:lnTo>
                      <a:pt x="4727" y="1165"/>
                    </a:lnTo>
                    <a:lnTo>
                      <a:pt x="4733" y="1159"/>
                    </a:lnTo>
                    <a:lnTo>
                      <a:pt x="4738" y="1152"/>
                    </a:lnTo>
                    <a:lnTo>
                      <a:pt x="4743" y="1145"/>
                    </a:lnTo>
                    <a:lnTo>
                      <a:pt x="4751" y="1126"/>
                    </a:lnTo>
                    <a:lnTo>
                      <a:pt x="4760" y="1107"/>
                    </a:lnTo>
                    <a:lnTo>
                      <a:pt x="4763" y="1098"/>
                    </a:lnTo>
                    <a:lnTo>
                      <a:pt x="4768" y="1089"/>
                    </a:lnTo>
                    <a:lnTo>
                      <a:pt x="4773" y="1082"/>
                    </a:lnTo>
                    <a:lnTo>
                      <a:pt x="4778" y="1077"/>
                    </a:lnTo>
                    <a:lnTo>
                      <a:pt x="4788" y="1067"/>
                    </a:lnTo>
                    <a:lnTo>
                      <a:pt x="4794" y="1056"/>
                    </a:lnTo>
                    <a:lnTo>
                      <a:pt x="4799" y="1044"/>
                    </a:lnTo>
                    <a:lnTo>
                      <a:pt x="4801" y="1032"/>
                    </a:lnTo>
                    <a:lnTo>
                      <a:pt x="4803" y="1020"/>
                    </a:lnTo>
                    <a:lnTo>
                      <a:pt x="4801" y="1007"/>
                    </a:lnTo>
                    <a:lnTo>
                      <a:pt x="4799" y="995"/>
                    </a:lnTo>
                    <a:lnTo>
                      <a:pt x="4795" y="984"/>
                    </a:lnTo>
                    <a:lnTo>
                      <a:pt x="4789" y="973"/>
                    </a:lnTo>
                    <a:lnTo>
                      <a:pt x="4782" y="963"/>
                    </a:lnTo>
                    <a:lnTo>
                      <a:pt x="4772" y="955"/>
                    </a:lnTo>
                    <a:lnTo>
                      <a:pt x="4762" y="947"/>
                    </a:lnTo>
                    <a:lnTo>
                      <a:pt x="4751" y="943"/>
                    </a:lnTo>
                    <a:lnTo>
                      <a:pt x="4738" y="939"/>
                    </a:lnTo>
                    <a:lnTo>
                      <a:pt x="4732" y="938"/>
                    </a:lnTo>
                    <a:lnTo>
                      <a:pt x="4724" y="938"/>
                    </a:lnTo>
                    <a:lnTo>
                      <a:pt x="4717" y="938"/>
                    </a:lnTo>
                    <a:lnTo>
                      <a:pt x="4708" y="939"/>
                    </a:lnTo>
                    <a:lnTo>
                      <a:pt x="4700" y="940"/>
                    </a:lnTo>
                    <a:lnTo>
                      <a:pt x="4692" y="940"/>
                    </a:lnTo>
                    <a:lnTo>
                      <a:pt x="4686" y="939"/>
                    </a:lnTo>
                    <a:lnTo>
                      <a:pt x="4680" y="936"/>
                    </a:lnTo>
                    <a:lnTo>
                      <a:pt x="4677" y="934"/>
                    </a:lnTo>
                    <a:lnTo>
                      <a:pt x="4673" y="930"/>
                    </a:lnTo>
                    <a:lnTo>
                      <a:pt x="4669" y="927"/>
                    </a:lnTo>
                    <a:lnTo>
                      <a:pt x="4668" y="922"/>
                    </a:lnTo>
                    <a:lnTo>
                      <a:pt x="4667" y="916"/>
                    </a:lnTo>
                    <a:lnTo>
                      <a:pt x="4666" y="911"/>
                    </a:lnTo>
                    <a:lnTo>
                      <a:pt x="4666" y="905"/>
                    </a:lnTo>
                    <a:lnTo>
                      <a:pt x="4667" y="898"/>
                    </a:lnTo>
                    <a:lnTo>
                      <a:pt x="4670" y="885"/>
                    </a:lnTo>
                    <a:lnTo>
                      <a:pt x="4675" y="873"/>
                    </a:lnTo>
                    <a:lnTo>
                      <a:pt x="4681" y="859"/>
                    </a:lnTo>
                    <a:lnTo>
                      <a:pt x="4684" y="847"/>
                    </a:lnTo>
                    <a:lnTo>
                      <a:pt x="4685" y="836"/>
                    </a:lnTo>
                    <a:lnTo>
                      <a:pt x="4685" y="824"/>
                    </a:lnTo>
                    <a:lnTo>
                      <a:pt x="4685" y="812"/>
                    </a:lnTo>
                    <a:lnTo>
                      <a:pt x="4688" y="798"/>
                    </a:lnTo>
                    <a:lnTo>
                      <a:pt x="4689" y="791"/>
                    </a:lnTo>
                    <a:lnTo>
                      <a:pt x="4691" y="783"/>
                    </a:lnTo>
                    <a:lnTo>
                      <a:pt x="4695" y="776"/>
                    </a:lnTo>
                    <a:lnTo>
                      <a:pt x="4699" y="769"/>
                    </a:lnTo>
                    <a:lnTo>
                      <a:pt x="4701" y="759"/>
                    </a:lnTo>
                    <a:lnTo>
                      <a:pt x="4705" y="752"/>
                    </a:lnTo>
                    <a:lnTo>
                      <a:pt x="4711" y="744"/>
                    </a:lnTo>
                    <a:lnTo>
                      <a:pt x="4717" y="737"/>
                    </a:lnTo>
                    <a:lnTo>
                      <a:pt x="4732" y="725"/>
                    </a:lnTo>
                    <a:lnTo>
                      <a:pt x="4746" y="714"/>
                    </a:lnTo>
                    <a:lnTo>
                      <a:pt x="4765" y="700"/>
                    </a:lnTo>
                    <a:lnTo>
                      <a:pt x="4783" y="684"/>
                    </a:lnTo>
                    <a:lnTo>
                      <a:pt x="4800" y="670"/>
                    </a:lnTo>
                    <a:lnTo>
                      <a:pt x="4817" y="654"/>
                    </a:lnTo>
                    <a:lnTo>
                      <a:pt x="4860" y="639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6" name="Freeform 47"/>
              <p:cNvSpPr>
                <a:spLocks/>
              </p:cNvSpPr>
              <p:nvPr/>
            </p:nvSpPr>
            <p:spPr bwMode="auto">
              <a:xfrm>
                <a:off x="2536825" y="6792305"/>
                <a:ext cx="73025" cy="88900"/>
              </a:xfrm>
              <a:custGeom>
                <a:avLst/>
                <a:gdLst>
                  <a:gd name="T0" fmla="*/ 39 w 181"/>
                  <a:gd name="T1" fmla="*/ 177 h 223"/>
                  <a:gd name="T2" fmla="*/ 37 w 181"/>
                  <a:gd name="T3" fmla="*/ 174 h 223"/>
                  <a:gd name="T4" fmla="*/ 34 w 181"/>
                  <a:gd name="T5" fmla="*/ 171 h 223"/>
                  <a:gd name="T6" fmla="*/ 32 w 181"/>
                  <a:gd name="T7" fmla="*/ 168 h 223"/>
                  <a:gd name="T8" fmla="*/ 31 w 181"/>
                  <a:gd name="T9" fmla="*/ 164 h 223"/>
                  <a:gd name="T10" fmla="*/ 30 w 181"/>
                  <a:gd name="T11" fmla="*/ 158 h 223"/>
                  <a:gd name="T12" fmla="*/ 31 w 181"/>
                  <a:gd name="T13" fmla="*/ 150 h 223"/>
                  <a:gd name="T14" fmla="*/ 36 w 181"/>
                  <a:gd name="T15" fmla="*/ 134 h 223"/>
                  <a:gd name="T16" fmla="*/ 41 w 181"/>
                  <a:gd name="T17" fmla="*/ 121 h 223"/>
                  <a:gd name="T18" fmla="*/ 41 w 181"/>
                  <a:gd name="T19" fmla="*/ 115 h 223"/>
                  <a:gd name="T20" fmla="*/ 39 w 181"/>
                  <a:gd name="T21" fmla="*/ 108 h 223"/>
                  <a:gd name="T22" fmla="*/ 36 w 181"/>
                  <a:gd name="T23" fmla="*/ 101 h 223"/>
                  <a:gd name="T24" fmla="*/ 32 w 181"/>
                  <a:gd name="T25" fmla="*/ 95 h 223"/>
                  <a:gd name="T26" fmla="*/ 22 w 181"/>
                  <a:gd name="T27" fmla="*/ 83 h 223"/>
                  <a:gd name="T28" fmla="*/ 14 w 181"/>
                  <a:gd name="T29" fmla="*/ 72 h 223"/>
                  <a:gd name="T30" fmla="*/ 8 w 181"/>
                  <a:gd name="T31" fmla="*/ 60 h 223"/>
                  <a:gd name="T32" fmla="*/ 4 w 181"/>
                  <a:gd name="T33" fmla="*/ 46 h 223"/>
                  <a:gd name="T34" fmla="*/ 0 w 181"/>
                  <a:gd name="T35" fmla="*/ 32 h 223"/>
                  <a:gd name="T36" fmla="*/ 0 w 181"/>
                  <a:gd name="T37" fmla="*/ 17 h 223"/>
                  <a:gd name="T38" fmla="*/ 1 w 181"/>
                  <a:gd name="T39" fmla="*/ 12 h 223"/>
                  <a:gd name="T40" fmla="*/ 3 w 181"/>
                  <a:gd name="T41" fmla="*/ 7 h 223"/>
                  <a:gd name="T42" fmla="*/ 5 w 181"/>
                  <a:gd name="T43" fmla="*/ 3 h 223"/>
                  <a:gd name="T44" fmla="*/ 9 w 181"/>
                  <a:gd name="T45" fmla="*/ 1 h 223"/>
                  <a:gd name="T46" fmla="*/ 14 w 181"/>
                  <a:gd name="T47" fmla="*/ 0 h 223"/>
                  <a:gd name="T48" fmla="*/ 20 w 181"/>
                  <a:gd name="T49" fmla="*/ 1 h 223"/>
                  <a:gd name="T50" fmla="*/ 27 w 181"/>
                  <a:gd name="T51" fmla="*/ 5 h 223"/>
                  <a:gd name="T52" fmla="*/ 36 w 181"/>
                  <a:gd name="T53" fmla="*/ 11 h 223"/>
                  <a:gd name="T54" fmla="*/ 44 w 181"/>
                  <a:gd name="T55" fmla="*/ 18 h 223"/>
                  <a:gd name="T56" fmla="*/ 52 w 181"/>
                  <a:gd name="T57" fmla="*/ 29 h 223"/>
                  <a:gd name="T58" fmla="*/ 58 w 181"/>
                  <a:gd name="T59" fmla="*/ 40 h 223"/>
                  <a:gd name="T60" fmla="*/ 64 w 181"/>
                  <a:gd name="T61" fmla="*/ 52 h 223"/>
                  <a:gd name="T62" fmla="*/ 69 w 181"/>
                  <a:gd name="T63" fmla="*/ 65 h 223"/>
                  <a:gd name="T64" fmla="*/ 76 w 181"/>
                  <a:gd name="T65" fmla="*/ 77 h 223"/>
                  <a:gd name="T66" fmla="*/ 83 w 181"/>
                  <a:gd name="T67" fmla="*/ 88 h 223"/>
                  <a:gd name="T68" fmla="*/ 93 w 181"/>
                  <a:gd name="T69" fmla="*/ 98 h 223"/>
                  <a:gd name="T70" fmla="*/ 116 w 181"/>
                  <a:gd name="T71" fmla="*/ 116 h 223"/>
                  <a:gd name="T72" fmla="*/ 141 w 181"/>
                  <a:gd name="T73" fmla="*/ 137 h 223"/>
                  <a:gd name="T74" fmla="*/ 152 w 181"/>
                  <a:gd name="T75" fmla="*/ 149 h 223"/>
                  <a:gd name="T76" fmla="*/ 163 w 181"/>
                  <a:gd name="T77" fmla="*/ 160 h 223"/>
                  <a:gd name="T78" fmla="*/ 172 w 181"/>
                  <a:gd name="T79" fmla="*/ 172 h 223"/>
                  <a:gd name="T80" fmla="*/ 179 w 181"/>
                  <a:gd name="T81" fmla="*/ 185 h 223"/>
                  <a:gd name="T82" fmla="*/ 180 w 181"/>
                  <a:gd name="T83" fmla="*/ 188 h 223"/>
                  <a:gd name="T84" fmla="*/ 181 w 181"/>
                  <a:gd name="T85" fmla="*/ 192 h 223"/>
                  <a:gd name="T86" fmla="*/ 181 w 181"/>
                  <a:gd name="T87" fmla="*/ 194 h 223"/>
                  <a:gd name="T88" fmla="*/ 181 w 181"/>
                  <a:gd name="T89" fmla="*/ 198 h 223"/>
                  <a:gd name="T90" fmla="*/ 178 w 181"/>
                  <a:gd name="T91" fmla="*/ 203 h 223"/>
                  <a:gd name="T92" fmla="*/ 174 w 181"/>
                  <a:gd name="T93" fmla="*/ 207 h 223"/>
                  <a:gd name="T94" fmla="*/ 162 w 181"/>
                  <a:gd name="T95" fmla="*/ 214 h 223"/>
                  <a:gd name="T96" fmla="*/ 148 w 181"/>
                  <a:gd name="T97" fmla="*/ 219 h 223"/>
                  <a:gd name="T98" fmla="*/ 141 w 181"/>
                  <a:gd name="T99" fmla="*/ 220 h 223"/>
                  <a:gd name="T100" fmla="*/ 135 w 181"/>
                  <a:gd name="T101" fmla="*/ 221 h 223"/>
                  <a:gd name="T102" fmla="*/ 127 w 181"/>
                  <a:gd name="T103" fmla="*/ 223 h 223"/>
                  <a:gd name="T104" fmla="*/ 121 w 181"/>
                  <a:gd name="T105" fmla="*/ 221 h 223"/>
                  <a:gd name="T106" fmla="*/ 108 w 181"/>
                  <a:gd name="T107" fmla="*/ 220 h 223"/>
                  <a:gd name="T108" fmla="*/ 96 w 181"/>
                  <a:gd name="T109" fmla="*/ 217 h 223"/>
                  <a:gd name="T110" fmla="*/ 71 w 181"/>
                  <a:gd name="T111" fmla="*/ 206 h 223"/>
                  <a:gd name="T112" fmla="*/ 47 w 181"/>
                  <a:gd name="T113" fmla="*/ 193 h 223"/>
                  <a:gd name="T114" fmla="*/ 39 w 181"/>
                  <a:gd name="T115" fmla="*/ 17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1" h="223">
                    <a:moveTo>
                      <a:pt x="39" y="177"/>
                    </a:moveTo>
                    <a:lnTo>
                      <a:pt x="37" y="174"/>
                    </a:lnTo>
                    <a:lnTo>
                      <a:pt x="34" y="171"/>
                    </a:lnTo>
                    <a:lnTo>
                      <a:pt x="32" y="168"/>
                    </a:lnTo>
                    <a:lnTo>
                      <a:pt x="31" y="164"/>
                    </a:lnTo>
                    <a:lnTo>
                      <a:pt x="30" y="158"/>
                    </a:lnTo>
                    <a:lnTo>
                      <a:pt x="31" y="150"/>
                    </a:lnTo>
                    <a:lnTo>
                      <a:pt x="36" y="134"/>
                    </a:lnTo>
                    <a:lnTo>
                      <a:pt x="41" y="121"/>
                    </a:lnTo>
                    <a:lnTo>
                      <a:pt x="41" y="115"/>
                    </a:lnTo>
                    <a:lnTo>
                      <a:pt x="39" y="108"/>
                    </a:lnTo>
                    <a:lnTo>
                      <a:pt x="36" y="101"/>
                    </a:lnTo>
                    <a:lnTo>
                      <a:pt x="32" y="95"/>
                    </a:lnTo>
                    <a:lnTo>
                      <a:pt x="22" y="83"/>
                    </a:lnTo>
                    <a:lnTo>
                      <a:pt x="14" y="72"/>
                    </a:lnTo>
                    <a:lnTo>
                      <a:pt x="8" y="60"/>
                    </a:lnTo>
                    <a:lnTo>
                      <a:pt x="4" y="46"/>
                    </a:lnTo>
                    <a:lnTo>
                      <a:pt x="0" y="32"/>
                    </a:lnTo>
                    <a:lnTo>
                      <a:pt x="0" y="17"/>
                    </a:lnTo>
                    <a:lnTo>
                      <a:pt x="1" y="12"/>
                    </a:lnTo>
                    <a:lnTo>
                      <a:pt x="3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lnTo>
                      <a:pt x="20" y="1"/>
                    </a:lnTo>
                    <a:lnTo>
                      <a:pt x="27" y="5"/>
                    </a:lnTo>
                    <a:lnTo>
                      <a:pt x="36" y="11"/>
                    </a:lnTo>
                    <a:lnTo>
                      <a:pt x="44" y="18"/>
                    </a:lnTo>
                    <a:lnTo>
                      <a:pt x="52" y="29"/>
                    </a:lnTo>
                    <a:lnTo>
                      <a:pt x="58" y="40"/>
                    </a:lnTo>
                    <a:lnTo>
                      <a:pt x="64" y="52"/>
                    </a:lnTo>
                    <a:lnTo>
                      <a:pt x="69" y="65"/>
                    </a:lnTo>
                    <a:lnTo>
                      <a:pt x="76" y="77"/>
                    </a:lnTo>
                    <a:lnTo>
                      <a:pt x="83" y="88"/>
                    </a:lnTo>
                    <a:lnTo>
                      <a:pt x="93" y="98"/>
                    </a:lnTo>
                    <a:lnTo>
                      <a:pt x="116" y="116"/>
                    </a:lnTo>
                    <a:lnTo>
                      <a:pt x="141" y="137"/>
                    </a:lnTo>
                    <a:lnTo>
                      <a:pt x="152" y="149"/>
                    </a:lnTo>
                    <a:lnTo>
                      <a:pt x="163" y="160"/>
                    </a:lnTo>
                    <a:lnTo>
                      <a:pt x="172" y="172"/>
                    </a:lnTo>
                    <a:lnTo>
                      <a:pt x="179" y="185"/>
                    </a:lnTo>
                    <a:lnTo>
                      <a:pt x="180" y="188"/>
                    </a:lnTo>
                    <a:lnTo>
                      <a:pt x="181" y="192"/>
                    </a:lnTo>
                    <a:lnTo>
                      <a:pt x="181" y="194"/>
                    </a:lnTo>
                    <a:lnTo>
                      <a:pt x="181" y="198"/>
                    </a:lnTo>
                    <a:lnTo>
                      <a:pt x="178" y="203"/>
                    </a:lnTo>
                    <a:lnTo>
                      <a:pt x="174" y="207"/>
                    </a:lnTo>
                    <a:lnTo>
                      <a:pt x="162" y="214"/>
                    </a:lnTo>
                    <a:lnTo>
                      <a:pt x="148" y="219"/>
                    </a:lnTo>
                    <a:lnTo>
                      <a:pt x="141" y="220"/>
                    </a:lnTo>
                    <a:lnTo>
                      <a:pt x="135" y="221"/>
                    </a:lnTo>
                    <a:lnTo>
                      <a:pt x="127" y="223"/>
                    </a:lnTo>
                    <a:lnTo>
                      <a:pt x="121" y="221"/>
                    </a:lnTo>
                    <a:lnTo>
                      <a:pt x="108" y="220"/>
                    </a:lnTo>
                    <a:lnTo>
                      <a:pt x="96" y="217"/>
                    </a:lnTo>
                    <a:lnTo>
                      <a:pt x="71" y="206"/>
                    </a:lnTo>
                    <a:lnTo>
                      <a:pt x="47" y="193"/>
                    </a:lnTo>
                    <a:lnTo>
                      <a:pt x="39" y="1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Freeform 48"/>
              <p:cNvSpPr>
                <a:spLocks/>
              </p:cNvSpPr>
              <p:nvPr/>
            </p:nvSpPr>
            <p:spPr bwMode="auto">
              <a:xfrm>
                <a:off x="2625725" y="6481155"/>
                <a:ext cx="484188" cy="330200"/>
              </a:xfrm>
              <a:custGeom>
                <a:avLst/>
                <a:gdLst>
                  <a:gd name="T0" fmla="*/ 1214 w 1223"/>
                  <a:gd name="T1" fmla="*/ 456 h 831"/>
                  <a:gd name="T2" fmla="*/ 1166 w 1223"/>
                  <a:gd name="T3" fmla="*/ 360 h 831"/>
                  <a:gd name="T4" fmla="*/ 1073 w 1223"/>
                  <a:gd name="T5" fmla="*/ 260 h 831"/>
                  <a:gd name="T6" fmla="*/ 859 w 1223"/>
                  <a:gd name="T7" fmla="*/ 101 h 831"/>
                  <a:gd name="T8" fmla="*/ 832 w 1223"/>
                  <a:gd name="T9" fmla="*/ 65 h 831"/>
                  <a:gd name="T10" fmla="*/ 803 w 1223"/>
                  <a:gd name="T11" fmla="*/ 94 h 831"/>
                  <a:gd name="T12" fmla="*/ 783 w 1223"/>
                  <a:gd name="T13" fmla="*/ 195 h 831"/>
                  <a:gd name="T14" fmla="*/ 751 w 1223"/>
                  <a:gd name="T15" fmla="*/ 227 h 831"/>
                  <a:gd name="T16" fmla="*/ 683 w 1223"/>
                  <a:gd name="T17" fmla="*/ 239 h 831"/>
                  <a:gd name="T18" fmla="*/ 628 w 1223"/>
                  <a:gd name="T19" fmla="*/ 217 h 831"/>
                  <a:gd name="T20" fmla="*/ 608 w 1223"/>
                  <a:gd name="T21" fmla="*/ 155 h 831"/>
                  <a:gd name="T22" fmla="*/ 617 w 1223"/>
                  <a:gd name="T23" fmla="*/ 96 h 831"/>
                  <a:gd name="T24" fmla="*/ 602 w 1223"/>
                  <a:gd name="T25" fmla="*/ 76 h 831"/>
                  <a:gd name="T26" fmla="*/ 537 w 1223"/>
                  <a:gd name="T27" fmla="*/ 98 h 831"/>
                  <a:gd name="T28" fmla="*/ 446 w 1223"/>
                  <a:gd name="T29" fmla="*/ 145 h 831"/>
                  <a:gd name="T30" fmla="*/ 400 w 1223"/>
                  <a:gd name="T31" fmla="*/ 125 h 831"/>
                  <a:gd name="T32" fmla="*/ 355 w 1223"/>
                  <a:gd name="T33" fmla="*/ 114 h 831"/>
                  <a:gd name="T34" fmla="*/ 262 w 1223"/>
                  <a:gd name="T35" fmla="*/ 189 h 831"/>
                  <a:gd name="T36" fmla="*/ 203 w 1223"/>
                  <a:gd name="T37" fmla="*/ 172 h 831"/>
                  <a:gd name="T38" fmla="*/ 166 w 1223"/>
                  <a:gd name="T39" fmla="*/ 125 h 831"/>
                  <a:gd name="T40" fmla="*/ 170 w 1223"/>
                  <a:gd name="T41" fmla="*/ 71 h 831"/>
                  <a:gd name="T42" fmla="*/ 181 w 1223"/>
                  <a:gd name="T43" fmla="*/ 24 h 831"/>
                  <a:gd name="T44" fmla="*/ 160 w 1223"/>
                  <a:gd name="T45" fmla="*/ 3 h 831"/>
                  <a:gd name="T46" fmla="*/ 81 w 1223"/>
                  <a:gd name="T47" fmla="*/ 10 h 831"/>
                  <a:gd name="T48" fmla="*/ 6 w 1223"/>
                  <a:gd name="T49" fmla="*/ 43 h 831"/>
                  <a:gd name="T50" fmla="*/ 24 w 1223"/>
                  <a:gd name="T51" fmla="*/ 138 h 831"/>
                  <a:gd name="T52" fmla="*/ 44 w 1223"/>
                  <a:gd name="T53" fmla="*/ 177 h 831"/>
                  <a:gd name="T54" fmla="*/ 28 w 1223"/>
                  <a:gd name="T55" fmla="*/ 218 h 831"/>
                  <a:gd name="T56" fmla="*/ 46 w 1223"/>
                  <a:gd name="T57" fmla="*/ 253 h 831"/>
                  <a:gd name="T58" fmla="*/ 161 w 1223"/>
                  <a:gd name="T59" fmla="*/ 291 h 831"/>
                  <a:gd name="T60" fmla="*/ 210 w 1223"/>
                  <a:gd name="T61" fmla="*/ 324 h 831"/>
                  <a:gd name="T62" fmla="*/ 237 w 1223"/>
                  <a:gd name="T63" fmla="*/ 367 h 831"/>
                  <a:gd name="T64" fmla="*/ 278 w 1223"/>
                  <a:gd name="T65" fmla="*/ 379 h 831"/>
                  <a:gd name="T66" fmla="*/ 316 w 1223"/>
                  <a:gd name="T67" fmla="*/ 429 h 831"/>
                  <a:gd name="T68" fmla="*/ 350 w 1223"/>
                  <a:gd name="T69" fmla="*/ 457 h 831"/>
                  <a:gd name="T70" fmla="*/ 389 w 1223"/>
                  <a:gd name="T71" fmla="*/ 462 h 831"/>
                  <a:gd name="T72" fmla="*/ 434 w 1223"/>
                  <a:gd name="T73" fmla="*/ 407 h 831"/>
                  <a:gd name="T74" fmla="*/ 473 w 1223"/>
                  <a:gd name="T75" fmla="*/ 346 h 831"/>
                  <a:gd name="T76" fmla="*/ 506 w 1223"/>
                  <a:gd name="T77" fmla="*/ 364 h 831"/>
                  <a:gd name="T78" fmla="*/ 579 w 1223"/>
                  <a:gd name="T79" fmla="*/ 385 h 831"/>
                  <a:gd name="T80" fmla="*/ 636 w 1223"/>
                  <a:gd name="T81" fmla="*/ 379 h 831"/>
                  <a:gd name="T82" fmla="*/ 699 w 1223"/>
                  <a:gd name="T83" fmla="*/ 424 h 831"/>
                  <a:gd name="T84" fmla="*/ 783 w 1223"/>
                  <a:gd name="T85" fmla="*/ 435 h 831"/>
                  <a:gd name="T86" fmla="*/ 835 w 1223"/>
                  <a:gd name="T87" fmla="*/ 464 h 831"/>
                  <a:gd name="T88" fmla="*/ 876 w 1223"/>
                  <a:gd name="T89" fmla="*/ 526 h 831"/>
                  <a:gd name="T90" fmla="*/ 915 w 1223"/>
                  <a:gd name="T91" fmla="*/ 556 h 831"/>
                  <a:gd name="T92" fmla="*/ 939 w 1223"/>
                  <a:gd name="T93" fmla="*/ 616 h 831"/>
                  <a:gd name="T94" fmla="*/ 952 w 1223"/>
                  <a:gd name="T95" fmla="*/ 763 h 831"/>
                  <a:gd name="T96" fmla="*/ 974 w 1223"/>
                  <a:gd name="T97" fmla="*/ 823 h 831"/>
                  <a:gd name="T98" fmla="*/ 1005 w 1223"/>
                  <a:gd name="T99" fmla="*/ 823 h 831"/>
                  <a:gd name="T100" fmla="*/ 1055 w 1223"/>
                  <a:gd name="T101" fmla="*/ 758 h 831"/>
                  <a:gd name="T102" fmla="*/ 1153 w 1223"/>
                  <a:gd name="T103" fmla="*/ 692 h 831"/>
                  <a:gd name="T104" fmla="*/ 1204 w 1223"/>
                  <a:gd name="T105" fmla="*/ 662 h 831"/>
                  <a:gd name="T106" fmla="*/ 1220 w 1223"/>
                  <a:gd name="T107" fmla="*/ 542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23" h="831">
                    <a:moveTo>
                      <a:pt x="1220" y="542"/>
                    </a:moveTo>
                    <a:lnTo>
                      <a:pt x="1221" y="524"/>
                    </a:lnTo>
                    <a:lnTo>
                      <a:pt x="1223" y="506"/>
                    </a:lnTo>
                    <a:lnTo>
                      <a:pt x="1221" y="489"/>
                    </a:lnTo>
                    <a:lnTo>
                      <a:pt x="1218" y="473"/>
                    </a:lnTo>
                    <a:lnTo>
                      <a:pt x="1214" y="456"/>
                    </a:lnTo>
                    <a:lnTo>
                      <a:pt x="1209" y="439"/>
                    </a:lnTo>
                    <a:lnTo>
                      <a:pt x="1203" y="423"/>
                    </a:lnTo>
                    <a:lnTo>
                      <a:pt x="1194" y="407"/>
                    </a:lnTo>
                    <a:lnTo>
                      <a:pt x="1186" y="391"/>
                    </a:lnTo>
                    <a:lnTo>
                      <a:pt x="1177" y="375"/>
                    </a:lnTo>
                    <a:lnTo>
                      <a:pt x="1166" y="360"/>
                    </a:lnTo>
                    <a:lnTo>
                      <a:pt x="1155" y="346"/>
                    </a:lnTo>
                    <a:lnTo>
                      <a:pt x="1143" y="331"/>
                    </a:lnTo>
                    <a:lnTo>
                      <a:pt x="1129" y="316"/>
                    </a:lnTo>
                    <a:lnTo>
                      <a:pt x="1116" y="302"/>
                    </a:lnTo>
                    <a:lnTo>
                      <a:pt x="1103" y="288"/>
                    </a:lnTo>
                    <a:lnTo>
                      <a:pt x="1073" y="260"/>
                    </a:lnTo>
                    <a:lnTo>
                      <a:pt x="1043" y="234"/>
                    </a:lnTo>
                    <a:lnTo>
                      <a:pt x="1011" y="210"/>
                    </a:lnTo>
                    <a:lnTo>
                      <a:pt x="980" y="187"/>
                    </a:lnTo>
                    <a:lnTo>
                      <a:pt x="919" y="144"/>
                    </a:lnTo>
                    <a:lnTo>
                      <a:pt x="865" y="106"/>
                    </a:lnTo>
                    <a:lnTo>
                      <a:pt x="859" y="101"/>
                    </a:lnTo>
                    <a:lnTo>
                      <a:pt x="854" y="95"/>
                    </a:lnTo>
                    <a:lnTo>
                      <a:pt x="850" y="89"/>
                    </a:lnTo>
                    <a:lnTo>
                      <a:pt x="846" y="83"/>
                    </a:lnTo>
                    <a:lnTo>
                      <a:pt x="842" y="75"/>
                    </a:lnTo>
                    <a:lnTo>
                      <a:pt x="837" y="70"/>
                    </a:lnTo>
                    <a:lnTo>
                      <a:pt x="832" y="65"/>
                    </a:lnTo>
                    <a:lnTo>
                      <a:pt x="826" y="62"/>
                    </a:lnTo>
                    <a:lnTo>
                      <a:pt x="821" y="67"/>
                    </a:lnTo>
                    <a:lnTo>
                      <a:pt x="816" y="71"/>
                    </a:lnTo>
                    <a:lnTo>
                      <a:pt x="811" y="76"/>
                    </a:lnTo>
                    <a:lnTo>
                      <a:pt x="808" y="83"/>
                    </a:lnTo>
                    <a:lnTo>
                      <a:pt x="803" y="94"/>
                    </a:lnTo>
                    <a:lnTo>
                      <a:pt x="799" y="106"/>
                    </a:lnTo>
                    <a:lnTo>
                      <a:pt x="794" y="131"/>
                    </a:lnTo>
                    <a:lnTo>
                      <a:pt x="792" y="158"/>
                    </a:lnTo>
                    <a:lnTo>
                      <a:pt x="790" y="171"/>
                    </a:lnTo>
                    <a:lnTo>
                      <a:pt x="787" y="183"/>
                    </a:lnTo>
                    <a:lnTo>
                      <a:pt x="783" y="195"/>
                    </a:lnTo>
                    <a:lnTo>
                      <a:pt x="777" y="205"/>
                    </a:lnTo>
                    <a:lnTo>
                      <a:pt x="773" y="211"/>
                    </a:lnTo>
                    <a:lnTo>
                      <a:pt x="768" y="215"/>
                    </a:lnTo>
                    <a:lnTo>
                      <a:pt x="764" y="220"/>
                    </a:lnTo>
                    <a:lnTo>
                      <a:pt x="757" y="223"/>
                    </a:lnTo>
                    <a:lnTo>
                      <a:pt x="751" y="227"/>
                    </a:lnTo>
                    <a:lnTo>
                      <a:pt x="743" y="231"/>
                    </a:lnTo>
                    <a:lnTo>
                      <a:pt x="734" y="233"/>
                    </a:lnTo>
                    <a:lnTo>
                      <a:pt x="726" y="236"/>
                    </a:lnTo>
                    <a:lnTo>
                      <a:pt x="710" y="238"/>
                    </a:lnTo>
                    <a:lnTo>
                      <a:pt x="695" y="239"/>
                    </a:lnTo>
                    <a:lnTo>
                      <a:pt x="683" y="239"/>
                    </a:lnTo>
                    <a:lnTo>
                      <a:pt x="670" y="239"/>
                    </a:lnTo>
                    <a:lnTo>
                      <a:pt x="659" y="237"/>
                    </a:lnTo>
                    <a:lnTo>
                      <a:pt x="650" y="233"/>
                    </a:lnTo>
                    <a:lnTo>
                      <a:pt x="641" y="229"/>
                    </a:lnTo>
                    <a:lnTo>
                      <a:pt x="634" y="223"/>
                    </a:lnTo>
                    <a:lnTo>
                      <a:pt x="628" y="217"/>
                    </a:lnTo>
                    <a:lnTo>
                      <a:pt x="622" y="210"/>
                    </a:lnTo>
                    <a:lnTo>
                      <a:pt x="617" y="201"/>
                    </a:lnTo>
                    <a:lnTo>
                      <a:pt x="613" y="190"/>
                    </a:lnTo>
                    <a:lnTo>
                      <a:pt x="611" y="179"/>
                    </a:lnTo>
                    <a:lnTo>
                      <a:pt x="609" y="167"/>
                    </a:lnTo>
                    <a:lnTo>
                      <a:pt x="608" y="155"/>
                    </a:lnTo>
                    <a:lnTo>
                      <a:pt x="608" y="140"/>
                    </a:lnTo>
                    <a:lnTo>
                      <a:pt x="612" y="129"/>
                    </a:lnTo>
                    <a:lnTo>
                      <a:pt x="614" y="119"/>
                    </a:lnTo>
                    <a:lnTo>
                      <a:pt x="615" y="109"/>
                    </a:lnTo>
                    <a:lnTo>
                      <a:pt x="617" y="102"/>
                    </a:lnTo>
                    <a:lnTo>
                      <a:pt x="617" y="96"/>
                    </a:lnTo>
                    <a:lnTo>
                      <a:pt x="615" y="90"/>
                    </a:lnTo>
                    <a:lnTo>
                      <a:pt x="614" y="86"/>
                    </a:lnTo>
                    <a:lnTo>
                      <a:pt x="612" y="83"/>
                    </a:lnTo>
                    <a:lnTo>
                      <a:pt x="609" y="79"/>
                    </a:lnTo>
                    <a:lnTo>
                      <a:pt x="606" y="78"/>
                    </a:lnTo>
                    <a:lnTo>
                      <a:pt x="602" y="76"/>
                    </a:lnTo>
                    <a:lnTo>
                      <a:pt x="597" y="75"/>
                    </a:lnTo>
                    <a:lnTo>
                      <a:pt x="587" y="76"/>
                    </a:lnTo>
                    <a:lnTo>
                      <a:pt x="575" y="80"/>
                    </a:lnTo>
                    <a:lnTo>
                      <a:pt x="563" y="85"/>
                    </a:lnTo>
                    <a:lnTo>
                      <a:pt x="551" y="91"/>
                    </a:lnTo>
                    <a:lnTo>
                      <a:pt x="537" y="98"/>
                    </a:lnTo>
                    <a:lnTo>
                      <a:pt x="525" y="106"/>
                    </a:lnTo>
                    <a:lnTo>
                      <a:pt x="502" y="120"/>
                    </a:lnTo>
                    <a:lnTo>
                      <a:pt x="483" y="131"/>
                    </a:lnTo>
                    <a:lnTo>
                      <a:pt x="470" y="139"/>
                    </a:lnTo>
                    <a:lnTo>
                      <a:pt x="458" y="142"/>
                    </a:lnTo>
                    <a:lnTo>
                      <a:pt x="446" y="145"/>
                    </a:lnTo>
                    <a:lnTo>
                      <a:pt x="437" y="145"/>
                    </a:lnTo>
                    <a:lnTo>
                      <a:pt x="428" y="142"/>
                    </a:lnTo>
                    <a:lnTo>
                      <a:pt x="420" y="139"/>
                    </a:lnTo>
                    <a:lnTo>
                      <a:pt x="412" y="135"/>
                    </a:lnTo>
                    <a:lnTo>
                      <a:pt x="406" y="130"/>
                    </a:lnTo>
                    <a:lnTo>
                      <a:pt x="400" y="125"/>
                    </a:lnTo>
                    <a:lnTo>
                      <a:pt x="393" y="120"/>
                    </a:lnTo>
                    <a:lnTo>
                      <a:pt x="387" y="116"/>
                    </a:lnTo>
                    <a:lnTo>
                      <a:pt x="379" y="113"/>
                    </a:lnTo>
                    <a:lnTo>
                      <a:pt x="372" y="112"/>
                    </a:lnTo>
                    <a:lnTo>
                      <a:pt x="363" y="112"/>
                    </a:lnTo>
                    <a:lnTo>
                      <a:pt x="355" y="114"/>
                    </a:lnTo>
                    <a:lnTo>
                      <a:pt x="344" y="120"/>
                    </a:lnTo>
                    <a:lnTo>
                      <a:pt x="317" y="144"/>
                    </a:lnTo>
                    <a:lnTo>
                      <a:pt x="286" y="172"/>
                    </a:lnTo>
                    <a:lnTo>
                      <a:pt x="279" y="179"/>
                    </a:lnTo>
                    <a:lnTo>
                      <a:pt x="270" y="184"/>
                    </a:lnTo>
                    <a:lnTo>
                      <a:pt x="262" y="189"/>
                    </a:lnTo>
                    <a:lnTo>
                      <a:pt x="253" y="191"/>
                    </a:lnTo>
                    <a:lnTo>
                      <a:pt x="245" y="193"/>
                    </a:lnTo>
                    <a:lnTo>
                      <a:pt x="236" y="193"/>
                    </a:lnTo>
                    <a:lnTo>
                      <a:pt x="229" y="190"/>
                    </a:lnTo>
                    <a:lnTo>
                      <a:pt x="220" y="185"/>
                    </a:lnTo>
                    <a:lnTo>
                      <a:pt x="203" y="172"/>
                    </a:lnTo>
                    <a:lnTo>
                      <a:pt x="188" y="158"/>
                    </a:lnTo>
                    <a:lnTo>
                      <a:pt x="182" y="152"/>
                    </a:lnTo>
                    <a:lnTo>
                      <a:pt x="176" y="145"/>
                    </a:lnTo>
                    <a:lnTo>
                      <a:pt x="172" y="139"/>
                    </a:lnTo>
                    <a:lnTo>
                      <a:pt x="169" y="131"/>
                    </a:lnTo>
                    <a:lnTo>
                      <a:pt x="166" y="125"/>
                    </a:lnTo>
                    <a:lnTo>
                      <a:pt x="164" y="117"/>
                    </a:lnTo>
                    <a:lnTo>
                      <a:pt x="164" y="109"/>
                    </a:lnTo>
                    <a:lnTo>
                      <a:pt x="164" y="101"/>
                    </a:lnTo>
                    <a:lnTo>
                      <a:pt x="165" y="92"/>
                    </a:lnTo>
                    <a:lnTo>
                      <a:pt x="167" y="83"/>
                    </a:lnTo>
                    <a:lnTo>
                      <a:pt x="170" y="71"/>
                    </a:lnTo>
                    <a:lnTo>
                      <a:pt x="175" y="60"/>
                    </a:lnTo>
                    <a:lnTo>
                      <a:pt x="178" y="52"/>
                    </a:lnTo>
                    <a:lnTo>
                      <a:pt x="180" y="43"/>
                    </a:lnTo>
                    <a:lnTo>
                      <a:pt x="181" y="36"/>
                    </a:lnTo>
                    <a:lnTo>
                      <a:pt x="182" y="29"/>
                    </a:lnTo>
                    <a:lnTo>
                      <a:pt x="181" y="24"/>
                    </a:lnTo>
                    <a:lnTo>
                      <a:pt x="180" y="19"/>
                    </a:lnTo>
                    <a:lnTo>
                      <a:pt x="177" y="14"/>
                    </a:lnTo>
                    <a:lnTo>
                      <a:pt x="174" y="10"/>
                    </a:lnTo>
                    <a:lnTo>
                      <a:pt x="170" y="8"/>
                    </a:lnTo>
                    <a:lnTo>
                      <a:pt x="165" y="5"/>
                    </a:lnTo>
                    <a:lnTo>
                      <a:pt x="160" y="3"/>
                    </a:lnTo>
                    <a:lnTo>
                      <a:pt x="154" y="2"/>
                    </a:lnTo>
                    <a:lnTo>
                      <a:pt x="142" y="0"/>
                    </a:lnTo>
                    <a:lnTo>
                      <a:pt x="127" y="2"/>
                    </a:lnTo>
                    <a:lnTo>
                      <a:pt x="112" y="3"/>
                    </a:lnTo>
                    <a:lnTo>
                      <a:pt x="96" y="7"/>
                    </a:lnTo>
                    <a:lnTo>
                      <a:pt x="81" y="10"/>
                    </a:lnTo>
                    <a:lnTo>
                      <a:pt x="66" y="15"/>
                    </a:lnTo>
                    <a:lnTo>
                      <a:pt x="38" y="25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8" y="40"/>
                    </a:lnTo>
                    <a:lnTo>
                      <a:pt x="6" y="43"/>
                    </a:lnTo>
                    <a:lnTo>
                      <a:pt x="5" y="48"/>
                    </a:lnTo>
                    <a:lnTo>
                      <a:pt x="1" y="59"/>
                    </a:lnTo>
                    <a:lnTo>
                      <a:pt x="0" y="71"/>
                    </a:lnTo>
                    <a:lnTo>
                      <a:pt x="0" y="96"/>
                    </a:lnTo>
                    <a:lnTo>
                      <a:pt x="2" y="117"/>
                    </a:lnTo>
                    <a:lnTo>
                      <a:pt x="24" y="138"/>
                    </a:lnTo>
                    <a:lnTo>
                      <a:pt x="40" y="152"/>
                    </a:lnTo>
                    <a:lnTo>
                      <a:pt x="43" y="156"/>
                    </a:lnTo>
                    <a:lnTo>
                      <a:pt x="45" y="161"/>
                    </a:lnTo>
                    <a:lnTo>
                      <a:pt x="45" y="166"/>
                    </a:lnTo>
                    <a:lnTo>
                      <a:pt x="45" y="171"/>
                    </a:lnTo>
                    <a:lnTo>
                      <a:pt x="44" y="177"/>
                    </a:lnTo>
                    <a:lnTo>
                      <a:pt x="43" y="183"/>
                    </a:lnTo>
                    <a:lnTo>
                      <a:pt x="39" y="190"/>
                    </a:lnTo>
                    <a:lnTo>
                      <a:pt x="35" y="199"/>
                    </a:lnTo>
                    <a:lnTo>
                      <a:pt x="32" y="206"/>
                    </a:lnTo>
                    <a:lnTo>
                      <a:pt x="29" y="212"/>
                    </a:lnTo>
                    <a:lnTo>
                      <a:pt x="28" y="218"/>
                    </a:lnTo>
                    <a:lnTo>
                      <a:pt x="28" y="225"/>
                    </a:lnTo>
                    <a:lnTo>
                      <a:pt x="29" y="229"/>
                    </a:lnTo>
                    <a:lnTo>
                      <a:pt x="32" y="236"/>
                    </a:lnTo>
                    <a:lnTo>
                      <a:pt x="34" y="240"/>
                    </a:lnTo>
                    <a:lnTo>
                      <a:pt x="38" y="244"/>
                    </a:lnTo>
                    <a:lnTo>
                      <a:pt x="46" y="253"/>
                    </a:lnTo>
                    <a:lnTo>
                      <a:pt x="57" y="260"/>
                    </a:lnTo>
                    <a:lnTo>
                      <a:pt x="71" y="266"/>
                    </a:lnTo>
                    <a:lnTo>
                      <a:pt x="85" y="271"/>
                    </a:lnTo>
                    <a:lnTo>
                      <a:pt x="116" y="280"/>
                    </a:lnTo>
                    <a:lnTo>
                      <a:pt x="147" y="287"/>
                    </a:lnTo>
                    <a:lnTo>
                      <a:pt x="161" y="291"/>
                    </a:lnTo>
                    <a:lnTo>
                      <a:pt x="174" y="294"/>
                    </a:lnTo>
                    <a:lnTo>
                      <a:pt x="185" y="298"/>
                    </a:lnTo>
                    <a:lnTo>
                      <a:pt x="192" y="303"/>
                    </a:lnTo>
                    <a:lnTo>
                      <a:pt x="199" y="309"/>
                    </a:lnTo>
                    <a:lnTo>
                      <a:pt x="205" y="316"/>
                    </a:lnTo>
                    <a:lnTo>
                      <a:pt x="210" y="324"/>
                    </a:lnTo>
                    <a:lnTo>
                      <a:pt x="214" y="332"/>
                    </a:lnTo>
                    <a:lnTo>
                      <a:pt x="218" y="340"/>
                    </a:lnTo>
                    <a:lnTo>
                      <a:pt x="221" y="348"/>
                    </a:lnTo>
                    <a:lnTo>
                      <a:pt x="226" y="356"/>
                    </a:lnTo>
                    <a:lnTo>
                      <a:pt x="232" y="362"/>
                    </a:lnTo>
                    <a:lnTo>
                      <a:pt x="237" y="367"/>
                    </a:lnTo>
                    <a:lnTo>
                      <a:pt x="243" y="369"/>
                    </a:lnTo>
                    <a:lnTo>
                      <a:pt x="251" y="370"/>
                    </a:lnTo>
                    <a:lnTo>
                      <a:pt x="257" y="373"/>
                    </a:lnTo>
                    <a:lnTo>
                      <a:pt x="264" y="374"/>
                    </a:lnTo>
                    <a:lnTo>
                      <a:pt x="271" y="376"/>
                    </a:lnTo>
                    <a:lnTo>
                      <a:pt x="278" y="379"/>
                    </a:lnTo>
                    <a:lnTo>
                      <a:pt x="284" y="382"/>
                    </a:lnTo>
                    <a:lnTo>
                      <a:pt x="292" y="391"/>
                    </a:lnTo>
                    <a:lnTo>
                      <a:pt x="300" y="400"/>
                    </a:lnTo>
                    <a:lnTo>
                      <a:pt x="305" y="409"/>
                    </a:lnTo>
                    <a:lnTo>
                      <a:pt x="309" y="419"/>
                    </a:lnTo>
                    <a:lnTo>
                      <a:pt x="316" y="429"/>
                    </a:lnTo>
                    <a:lnTo>
                      <a:pt x="322" y="439"/>
                    </a:lnTo>
                    <a:lnTo>
                      <a:pt x="327" y="442"/>
                    </a:lnTo>
                    <a:lnTo>
                      <a:pt x="330" y="447"/>
                    </a:lnTo>
                    <a:lnTo>
                      <a:pt x="335" y="451"/>
                    </a:lnTo>
                    <a:lnTo>
                      <a:pt x="341" y="453"/>
                    </a:lnTo>
                    <a:lnTo>
                      <a:pt x="350" y="457"/>
                    </a:lnTo>
                    <a:lnTo>
                      <a:pt x="357" y="461"/>
                    </a:lnTo>
                    <a:lnTo>
                      <a:pt x="364" y="462"/>
                    </a:lnTo>
                    <a:lnTo>
                      <a:pt x="371" y="463"/>
                    </a:lnTo>
                    <a:lnTo>
                      <a:pt x="377" y="463"/>
                    </a:lnTo>
                    <a:lnTo>
                      <a:pt x="383" y="463"/>
                    </a:lnTo>
                    <a:lnTo>
                      <a:pt x="389" y="462"/>
                    </a:lnTo>
                    <a:lnTo>
                      <a:pt x="394" y="461"/>
                    </a:lnTo>
                    <a:lnTo>
                      <a:pt x="402" y="456"/>
                    </a:lnTo>
                    <a:lnTo>
                      <a:pt x="411" y="449"/>
                    </a:lnTo>
                    <a:lnTo>
                      <a:pt x="417" y="440"/>
                    </a:lnTo>
                    <a:lnTo>
                      <a:pt x="424" y="429"/>
                    </a:lnTo>
                    <a:lnTo>
                      <a:pt x="434" y="407"/>
                    </a:lnTo>
                    <a:lnTo>
                      <a:pt x="445" y="384"/>
                    </a:lnTo>
                    <a:lnTo>
                      <a:pt x="450" y="374"/>
                    </a:lnTo>
                    <a:lnTo>
                      <a:pt x="456" y="364"/>
                    </a:lnTo>
                    <a:lnTo>
                      <a:pt x="462" y="356"/>
                    </a:lnTo>
                    <a:lnTo>
                      <a:pt x="470" y="348"/>
                    </a:lnTo>
                    <a:lnTo>
                      <a:pt x="473" y="346"/>
                    </a:lnTo>
                    <a:lnTo>
                      <a:pt x="478" y="345"/>
                    </a:lnTo>
                    <a:lnTo>
                      <a:pt x="482" y="345"/>
                    </a:lnTo>
                    <a:lnTo>
                      <a:pt x="484" y="345"/>
                    </a:lnTo>
                    <a:lnTo>
                      <a:pt x="491" y="347"/>
                    </a:lnTo>
                    <a:lnTo>
                      <a:pt x="497" y="352"/>
                    </a:lnTo>
                    <a:lnTo>
                      <a:pt x="506" y="364"/>
                    </a:lnTo>
                    <a:lnTo>
                      <a:pt x="517" y="374"/>
                    </a:lnTo>
                    <a:lnTo>
                      <a:pt x="529" y="380"/>
                    </a:lnTo>
                    <a:lnTo>
                      <a:pt x="540" y="382"/>
                    </a:lnTo>
                    <a:lnTo>
                      <a:pt x="553" y="385"/>
                    </a:lnTo>
                    <a:lnTo>
                      <a:pt x="565" y="386"/>
                    </a:lnTo>
                    <a:lnTo>
                      <a:pt x="579" y="385"/>
                    </a:lnTo>
                    <a:lnTo>
                      <a:pt x="591" y="384"/>
                    </a:lnTo>
                    <a:lnTo>
                      <a:pt x="603" y="381"/>
                    </a:lnTo>
                    <a:lnTo>
                      <a:pt x="615" y="378"/>
                    </a:lnTo>
                    <a:lnTo>
                      <a:pt x="618" y="375"/>
                    </a:lnTo>
                    <a:lnTo>
                      <a:pt x="623" y="373"/>
                    </a:lnTo>
                    <a:lnTo>
                      <a:pt x="636" y="379"/>
                    </a:lnTo>
                    <a:lnTo>
                      <a:pt x="647" y="387"/>
                    </a:lnTo>
                    <a:lnTo>
                      <a:pt x="659" y="396"/>
                    </a:lnTo>
                    <a:lnTo>
                      <a:pt x="669" y="405"/>
                    </a:lnTo>
                    <a:lnTo>
                      <a:pt x="680" y="413"/>
                    </a:lnTo>
                    <a:lnTo>
                      <a:pt x="693" y="422"/>
                    </a:lnTo>
                    <a:lnTo>
                      <a:pt x="699" y="424"/>
                    </a:lnTo>
                    <a:lnTo>
                      <a:pt x="705" y="427"/>
                    </a:lnTo>
                    <a:lnTo>
                      <a:pt x="711" y="429"/>
                    </a:lnTo>
                    <a:lnTo>
                      <a:pt x="718" y="430"/>
                    </a:lnTo>
                    <a:lnTo>
                      <a:pt x="744" y="431"/>
                    </a:lnTo>
                    <a:lnTo>
                      <a:pt x="770" y="433"/>
                    </a:lnTo>
                    <a:lnTo>
                      <a:pt x="783" y="435"/>
                    </a:lnTo>
                    <a:lnTo>
                      <a:pt x="795" y="438"/>
                    </a:lnTo>
                    <a:lnTo>
                      <a:pt x="806" y="442"/>
                    </a:lnTo>
                    <a:lnTo>
                      <a:pt x="817" y="449"/>
                    </a:lnTo>
                    <a:lnTo>
                      <a:pt x="823" y="453"/>
                    </a:lnTo>
                    <a:lnTo>
                      <a:pt x="830" y="458"/>
                    </a:lnTo>
                    <a:lnTo>
                      <a:pt x="835" y="464"/>
                    </a:lnTo>
                    <a:lnTo>
                      <a:pt x="838" y="471"/>
                    </a:lnTo>
                    <a:lnTo>
                      <a:pt x="847" y="483"/>
                    </a:lnTo>
                    <a:lnTo>
                      <a:pt x="854" y="495"/>
                    </a:lnTo>
                    <a:lnTo>
                      <a:pt x="861" y="509"/>
                    </a:lnTo>
                    <a:lnTo>
                      <a:pt x="871" y="521"/>
                    </a:lnTo>
                    <a:lnTo>
                      <a:pt x="876" y="526"/>
                    </a:lnTo>
                    <a:lnTo>
                      <a:pt x="883" y="532"/>
                    </a:lnTo>
                    <a:lnTo>
                      <a:pt x="890" y="537"/>
                    </a:lnTo>
                    <a:lnTo>
                      <a:pt x="898" y="540"/>
                    </a:lnTo>
                    <a:lnTo>
                      <a:pt x="904" y="545"/>
                    </a:lnTo>
                    <a:lnTo>
                      <a:pt x="910" y="550"/>
                    </a:lnTo>
                    <a:lnTo>
                      <a:pt x="915" y="556"/>
                    </a:lnTo>
                    <a:lnTo>
                      <a:pt x="920" y="564"/>
                    </a:lnTo>
                    <a:lnTo>
                      <a:pt x="925" y="571"/>
                    </a:lnTo>
                    <a:lnTo>
                      <a:pt x="929" y="580"/>
                    </a:lnTo>
                    <a:lnTo>
                      <a:pt x="931" y="588"/>
                    </a:lnTo>
                    <a:lnTo>
                      <a:pt x="934" y="598"/>
                    </a:lnTo>
                    <a:lnTo>
                      <a:pt x="939" y="616"/>
                    </a:lnTo>
                    <a:lnTo>
                      <a:pt x="941" y="636"/>
                    </a:lnTo>
                    <a:lnTo>
                      <a:pt x="942" y="653"/>
                    </a:lnTo>
                    <a:lnTo>
                      <a:pt x="942" y="668"/>
                    </a:lnTo>
                    <a:lnTo>
                      <a:pt x="947" y="704"/>
                    </a:lnTo>
                    <a:lnTo>
                      <a:pt x="951" y="744"/>
                    </a:lnTo>
                    <a:lnTo>
                      <a:pt x="952" y="763"/>
                    </a:lnTo>
                    <a:lnTo>
                      <a:pt x="956" y="782"/>
                    </a:lnTo>
                    <a:lnTo>
                      <a:pt x="958" y="790"/>
                    </a:lnTo>
                    <a:lnTo>
                      <a:pt x="961" y="800"/>
                    </a:lnTo>
                    <a:lnTo>
                      <a:pt x="964" y="809"/>
                    </a:lnTo>
                    <a:lnTo>
                      <a:pt x="969" y="816"/>
                    </a:lnTo>
                    <a:lnTo>
                      <a:pt x="974" y="823"/>
                    </a:lnTo>
                    <a:lnTo>
                      <a:pt x="979" y="827"/>
                    </a:lnTo>
                    <a:lnTo>
                      <a:pt x="984" y="829"/>
                    </a:lnTo>
                    <a:lnTo>
                      <a:pt x="989" y="831"/>
                    </a:lnTo>
                    <a:lnTo>
                      <a:pt x="995" y="829"/>
                    </a:lnTo>
                    <a:lnTo>
                      <a:pt x="1000" y="827"/>
                    </a:lnTo>
                    <a:lnTo>
                      <a:pt x="1005" y="823"/>
                    </a:lnTo>
                    <a:lnTo>
                      <a:pt x="1011" y="820"/>
                    </a:lnTo>
                    <a:lnTo>
                      <a:pt x="1021" y="809"/>
                    </a:lnTo>
                    <a:lnTo>
                      <a:pt x="1029" y="796"/>
                    </a:lnTo>
                    <a:lnTo>
                      <a:pt x="1036" y="785"/>
                    </a:lnTo>
                    <a:lnTo>
                      <a:pt x="1043" y="775"/>
                    </a:lnTo>
                    <a:lnTo>
                      <a:pt x="1055" y="758"/>
                    </a:lnTo>
                    <a:lnTo>
                      <a:pt x="1070" y="742"/>
                    </a:lnTo>
                    <a:lnTo>
                      <a:pt x="1084" y="730"/>
                    </a:lnTo>
                    <a:lnTo>
                      <a:pt x="1100" y="718"/>
                    </a:lnTo>
                    <a:lnTo>
                      <a:pt x="1117" y="708"/>
                    </a:lnTo>
                    <a:lnTo>
                      <a:pt x="1134" y="700"/>
                    </a:lnTo>
                    <a:lnTo>
                      <a:pt x="1153" y="692"/>
                    </a:lnTo>
                    <a:lnTo>
                      <a:pt x="1172" y="685"/>
                    </a:lnTo>
                    <a:lnTo>
                      <a:pt x="1182" y="681"/>
                    </a:lnTo>
                    <a:lnTo>
                      <a:pt x="1189" y="676"/>
                    </a:lnTo>
                    <a:lnTo>
                      <a:pt x="1196" y="671"/>
                    </a:lnTo>
                    <a:lnTo>
                      <a:pt x="1200" y="668"/>
                    </a:lnTo>
                    <a:lnTo>
                      <a:pt x="1204" y="662"/>
                    </a:lnTo>
                    <a:lnTo>
                      <a:pt x="1208" y="657"/>
                    </a:lnTo>
                    <a:lnTo>
                      <a:pt x="1209" y="651"/>
                    </a:lnTo>
                    <a:lnTo>
                      <a:pt x="1210" y="644"/>
                    </a:lnTo>
                    <a:lnTo>
                      <a:pt x="1210" y="616"/>
                    </a:lnTo>
                    <a:lnTo>
                      <a:pt x="1208" y="584"/>
                    </a:lnTo>
                    <a:lnTo>
                      <a:pt x="1220" y="542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8" name="Freeform 49"/>
              <p:cNvSpPr>
                <a:spLocks/>
              </p:cNvSpPr>
              <p:nvPr/>
            </p:nvSpPr>
            <p:spPr bwMode="auto">
              <a:xfrm>
                <a:off x="654050" y="6679593"/>
                <a:ext cx="50800" cy="22225"/>
              </a:xfrm>
              <a:custGeom>
                <a:avLst/>
                <a:gdLst>
                  <a:gd name="T0" fmla="*/ 8 w 128"/>
                  <a:gd name="T1" fmla="*/ 54 h 56"/>
                  <a:gd name="T2" fmla="*/ 5 w 128"/>
                  <a:gd name="T3" fmla="*/ 51 h 56"/>
                  <a:gd name="T4" fmla="*/ 3 w 128"/>
                  <a:gd name="T5" fmla="*/ 48 h 56"/>
                  <a:gd name="T6" fmla="*/ 1 w 128"/>
                  <a:gd name="T7" fmla="*/ 45 h 56"/>
                  <a:gd name="T8" fmla="*/ 1 w 128"/>
                  <a:gd name="T9" fmla="*/ 42 h 56"/>
                  <a:gd name="T10" fmla="*/ 0 w 128"/>
                  <a:gd name="T11" fmla="*/ 34 h 56"/>
                  <a:gd name="T12" fmla="*/ 2 w 128"/>
                  <a:gd name="T13" fmla="*/ 27 h 56"/>
                  <a:gd name="T14" fmla="*/ 5 w 128"/>
                  <a:gd name="T15" fmla="*/ 20 h 56"/>
                  <a:gd name="T16" fmla="*/ 8 w 128"/>
                  <a:gd name="T17" fmla="*/ 13 h 56"/>
                  <a:gd name="T18" fmla="*/ 14 w 128"/>
                  <a:gd name="T19" fmla="*/ 7 h 56"/>
                  <a:gd name="T20" fmla="*/ 19 w 128"/>
                  <a:gd name="T21" fmla="*/ 4 h 56"/>
                  <a:gd name="T22" fmla="*/ 24 w 128"/>
                  <a:gd name="T23" fmla="*/ 1 h 56"/>
                  <a:gd name="T24" fmla="*/ 29 w 128"/>
                  <a:gd name="T25" fmla="*/ 0 h 56"/>
                  <a:gd name="T26" fmla="*/ 35 w 128"/>
                  <a:gd name="T27" fmla="*/ 0 h 56"/>
                  <a:gd name="T28" fmla="*/ 41 w 128"/>
                  <a:gd name="T29" fmla="*/ 0 h 56"/>
                  <a:gd name="T30" fmla="*/ 55 w 128"/>
                  <a:gd name="T31" fmla="*/ 0 h 56"/>
                  <a:gd name="T32" fmla="*/ 66 w 128"/>
                  <a:gd name="T33" fmla="*/ 1 h 56"/>
                  <a:gd name="T34" fmla="*/ 74 w 128"/>
                  <a:gd name="T35" fmla="*/ 1 h 56"/>
                  <a:gd name="T36" fmla="*/ 83 w 128"/>
                  <a:gd name="T37" fmla="*/ 2 h 56"/>
                  <a:gd name="T38" fmla="*/ 93 w 128"/>
                  <a:gd name="T39" fmla="*/ 4 h 56"/>
                  <a:gd name="T40" fmla="*/ 103 w 128"/>
                  <a:gd name="T41" fmla="*/ 6 h 56"/>
                  <a:gd name="T42" fmla="*/ 111 w 128"/>
                  <a:gd name="T43" fmla="*/ 10 h 56"/>
                  <a:gd name="T44" fmla="*/ 118 w 128"/>
                  <a:gd name="T45" fmla="*/ 16 h 56"/>
                  <a:gd name="T46" fmla="*/ 122 w 128"/>
                  <a:gd name="T47" fmla="*/ 18 h 56"/>
                  <a:gd name="T48" fmla="*/ 125 w 128"/>
                  <a:gd name="T49" fmla="*/ 22 h 56"/>
                  <a:gd name="T50" fmla="*/ 127 w 128"/>
                  <a:gd name="T51" fmla="*/ 27 h 56"/>
                  <a:gd name="T52" fmla="*/ 128 w 128"/>
                  <a:gd name="T53" fmla="*/ 31 h 56"/>
                  <a:gd name="T54" fmla="*/ 128 w 128"/>
                  <a:gd name="T55" fmla="*/ 36 h 56"/>
                  <a:gd name="T56" fmla="*/ 127 w 128"/>
                  <a:gd name="T57" fmla="*/ 39 h 56"/>
                  <a:gd name="T58" fmla="*/ 123 w 128"/>
                  <a:gd name="T59" fmla="*/ 43 h 56"/>
                  <a:gd name="T60" fmla="*/ 118 w 128"/>
                  <a:gd name="T61" fmla="*/ 45 h 56"/>
                  <a:gd name="T62" fmla="*/ 106 w 128"/>
                  <a:gd name="T63" fmla="*/ 50 h 56"/>
                  <a:gd name="T64" fmla="*/ 92 w 128"/>
                  <a:gd name="T65" fmla="*/ 53 h 56"/>
                  <a:gd name="T66" fmla="*/ 60 w 128"/>
                  <a:gd name="T67" fmla="*/ 55 h 56"/>
                  <a:gd name="T68" fmla="*/ 39 w 128"/>
                  <a:gd name="T69" fmla="*/ 56 h 56"/>
                  <a:gd name="T70" fmla="*/ 8 w 128"/>
                  <a:gd name="T71" fmla="*/ 5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8" h="56">
                    <a:moveTo>
                      <a:pt x="8" y="54"/>
                    </a:moveTo>
                    <a:lnTo>
                      <a:pt x="5" y="51"/>
                    </a:lnTo>
                    <a:lnTo>
                      <a:pt x="3" y="48"/>
                    </a:lnTo>
                    <a:lnTo>
                      <a:pt x="1" y="45"/>
                    </a:lnTo>
                    <a:lnTo>
                      <a:pt x="1" y="42"/>
                    </a:lnTo>
                    <a:lnTo>
                      <a:pt x="0" y="34"/>
                    </a:lnTo>
                    <a:lnTo>
                      <a:pt x="2" y="27"/>
                    </a:lnTo>
                    <a:lnTo>
                      <a:pt x="5" y="20"/>
                    </a:lnTo>
                    <a:lnTo>
                      <a:pt x="8" y="13"/>
                    </a:lnTo>
                    <a:lnTo>
                      <a:pt x="14" y="7"/>
                    </a:lnTo>
                    <a:lnTo>
                      <a:pt x="19" y="4"/>
                    </a:lnTo>
                    <a:lnTo>
                      <a:pt x="24" y="1"/>
                    </a:lnTo>
                    <a:lnTo>
                      <a:pt x="29" y="0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55" y="0"/>
                    </a:lnTo>
                    <a:lnTo>
                      <a:pt x="66" y="1"/>
                    </a:lnTo>
                    <a:lnTo>
                      <a:pt x="74" y="1"/>
                    </a:lnTo>
                    <a:lnTo>
                      <a:pt x="83" y="2"/>
                    </a:lnTo>
                    <a:lnTo>
                      <a:pt x="93" y="4"/>
                    </a:lnTo>
                    <a:lnTo>
                      <a:pt x="103" y="6"/>
                    </a:lnTo>
                    <a:lnTo>
                      <a:pt x="111" y="10"/>
                    </a:lnTo>
                    <a:lnTo>
                      <a:pt x="118" y="16"/>
                    </a:lnTo>
                    <a:lnTo>
                      <a:pt x="122" y="18"/>
                    </a:lnTo>
                    <a:lnTo>
                      <a:pt x="125" y="22"/>
                    </a:lnTo>
                    <a:lnTo>
                      <a:pt x="127" y="27"/>
                    </a:lnTo>
                    <a:lnTo>
                      <a:pt x="128" y="31"/>
                    </a:lnTo>
                    <a:lnTo>
                      <a:pt x="128" y="36"/>
                    </a:lnTo>
                    <a:lnTo>
                      <a:pt x="127" y="39"/>
                    </a:lnTo>
                    <a:lnTo>
                      <a:pt x="123" y="43"/>
                    </a:lnTo>
                    <a:lnTo>
                      <a:pt x="118" y="45"/>
                    </a:lnTo>
                    <a:lnTo>
                      <a:pt x="106" y="50"/>
                    </a:lnTo>
                    <a:lnTo>
                      <a:pt x="92" y="53"/>
                    </a:lnTo>
                    <a:lnTo>
                      <a:pt x="60" y="55"/>
                    </a:lnTo>
                    <a:lnTo>
                      <a:pt x="39" y="56"/>
                    </a:lnTo>
                    <a:lnTo>
                      <a:pt x="8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Freeform 50"/>
              <p:cNvSpPr>
                <a:spLocks/>
              </p:cNvSpPr>
              <p:nvPr/>
            </p:nvSpPr>
            <p:spPr bwMode="auto">
              <a:xfrm>
                <a:off x="-212726" y="6400193"/>
                <a:ext cx="746125" cy="304800"/>
              </a:xfrm>
              <a:custGeom>
                <a:avLst/>
                <a:gdLst>
                  <a:gd name="T0" fmla="*/ 1316 w 1882"/>
                  <a:gd name="T1" fmla="*/ 65 h 769"/>
                  <a:gd name="T2" fmla="*/ 1379 w 1882"/>
                  <a:gd name="T3" fmla="*/ 43 h 769"/>
                  <a:gd name="T4" fmla="*/ 1458 w 1882"/>
                  <a:gd name="T5" fmla="*/ 60 h 769"/>
                  <a:gd name="T6" fmla="*/ 1586 w 1882"/>
                  <a:gd name="T7" fmla="*/ 105 h 769"/>
                  <a:gd name="T8" fmla="*/ 1636 w 1882"/>
                  <a:gd name="T9" fmla="*/ 136 h 769"/>
                  <a:gd name="T10" fmla="*/ 1666 w 1882"/>
                  <a:gd name="T11" fmla="*/ 217 h 769"/>
                  <a:gd name="T12" fmla="*/ 1693 w 1882"/>
                  <a:gd name="T13" fmla="*/ 267 h 769"/>
                  <a:gd name="T14" fmla="*/ 1734 w 1882"/>
                  <a:gd name="T15" fmla="*/ 333 h 769"/>
                  <a:gd name="T16" fmla="*/ 1667 w 1882"/>
                  <a:gd name="T17" fmla="*/ 356 h 769"/>
                  <a:gd name="T18" fmla="*/ 1650 w 1882"/>
                  <a:gd name="T19" fmla="*/ 404 h 769"/>
                  <a:gd name="T20" fmla="*/ 1717 w 1882"/>
                  <a:gd name="T21" fmla="*/ 440 h 769"/>
                  <a:gd name="T22" fmla="*/ 1838 w 1882"/>
                  <a:gd name="T23" fmla="*/ 468 h 769"/>
                  <a:gd name="T24" fmla="*/ 1874 w 1882"/>
                  <a:gd name="T25" fmla="*/ 533 h 769"/>
                  <a:gd name="T26" fmla="*/ 1875 w 1882"/>
                  <a:gd name="T27" fmla="*/ 637 h 769"/>
                  <a:gd name="T28" fmla="*/ 1859 w 1882"/>
                  <a:gd name="T29" fmla="*/ 713 h 769"/>
                  <a:gd name="T30" fmla="*/ 1782 w 1882"/>
                  <a:gd name="T31" fmla="*/ 703 h 769"/>
                  <a:gd name="T32" fmla="*/ 1691 w 1882"/>
                  <a:gd name="T33" fmla="*/ 628 h 769"/>
                  <a:gd name="T34" fmla="*/ 1624 w 1882"/>
                  <a:gd name="T35" fmla="*/ 579 h 769"/>
                  <a:gd name="T36" fmla="*/ 1538 w 1882"/>
                  <a:gd name="T37" fmla="*/ 593 h 769"/>
                  <a:gd name="T38" fmla="*/ 1535 w 1882"/>
                  <a:gd name="T39" fmla="*/ 637 h 769"/>
                  <a:gd name="T40" fmla="*/ 1575 w 1882"/>
                  <a:gd name="T41" fmla="*/ 711 h 769"/>
                  <a:gd name="T42" fmla="*/ 1372 w 1882"/>
                  <a:gd name="T43" fmla="*/ 768 h 769"/>
                  <a:gd name="T44" fmla="*/ 1267 w 1882"/>
                  <a:gd name="T45" fmla="*/ 740 h 769"/>
                  <a:gd name="T46" fmla="*/ 1169 w 1882"/>
                  <a:gd name="T47" fmla="*/ 713 h 769"/>
                  <a:gd name="T48" fmla="*/ 1072 w 1882"/>
                  <a:gd name="T49" fmla="*/ 648 h 769"/>
                  <a:gd name="T50" fmla="*/ 980 w 1882"/>
                  <a:gd name="T51" fmla="*/ 558 h 769"/>
                  <a:gd name="T52" fmla="*/ 978 w 1882"/>
                  <a:gd name="T53" fmla="*/ 459 h 769"/>
                  <a:gd name="T54" fmla="*/ 960 w 1882"/>
                  <a:gd name="T55" fmla="*/ 413 h 769"/>
                  <a:gd name="T56" fmla="*/ 923 w 1882"/>
                  <a:gd name="T57" fmla="*/ 421 h 769"/>
                  <a:gd name="T58" fmla="*/ 857 w 1882"/>
                  <a:gd name="T59" fmla="*/ 500 h 769"/>
                  <a:gd name="T60" fmla="*/ 811 w 1882"/>
                  <a:gd name="T61" fmla="*/ 651 h 769"/>
                  <a:gd name="T62" fmla="*/ 777 w 1882"/>
                  <a:gd name="T63" fmla="*/ 688 h 769"/>
                  <a:gd name="T64" fmla="*/ 722 w 1882"/>
                  <a:gd name="T65" fmla="*/ 645 h 769"/>
                  <a:gd name="T66" fmla="*/ 679 w 1882"/>
                  <a:gd name="T67" fmla="*/ 566 h 769"/>
                  <a:gd name="T68" fmla="*/ 586 w 1882"/>
                  <a:gd name="T69" fmla="*/ 531 h 769"/>
                  <a:gd name="T70" fmla="*/ 471 w 1882"/>
                  <a:gd name="T71" fmla="*/ 534 h 769"/>
                  <a:gd name="T72" fmla="*/ 368 w 1882"/>
                  <a:gd name="T73" fmla="*/ 605 h 769"/>
                  <a:gd name="T74" fmla="*/ 305 w 1882"/>
                  <a:gd name="T75" fmla="*/ 607 h 769"/>
                  <a:gd name="T76" fmla="*/ 192 w 1882"/>
                  <a:gd name="T77" fmla="*/ 585 h 769"/>
                  <a:gd name="T78" fmla="*/ 115 w 1882"/>
                  <a:gd name="T79" fmla="*/ 573 h 769"/>
                  <a:gd name="T80" fmla="*/ 6 w 1882"/>
                  <a:gd name="T81" fmla="*/ 470 h 769"/>
                  <a:gd name="T82" fmla="*/ 18 w 1882"/>
                  <a:gd name="T83" fmla="*/ 438 h 769"/>
                  <a:gd name="T84" fmla="*/ 120 w 1882"/>
                  <a:gd name="T85" fmla="*/ 409 h 769"/>
                  <a:gd name="T86" fmla="*/ 209 w 1882"/>
                  <a:gd name="T87" fmla="*/ 408 h 769"/>
                  <a:gd name="T88" fmla="*/ 297 w 1882"/>
                  <a:gd name="T89" fmla="*/ 426 h 769"/>
                  <a:gd name="T90" fmla="*/ 325 w 1882"/>
                  <a:gd name="T91" fmla="*/ 329 h 769"/>
                  <a:gd name="T92" fmla="*/ 357 w 1882"/>
                  <a:gd name="T93" fmla="*/ 304 h 769"/>
                  <a:gd name="T94" fmla="*/ 417 w 1882"/>
                  <a:gd name="T95" fmla="*/ 301 h 769"/>
                  <a:gd name="T96" fmla="*/ 549 w 1882"/>
                  <a:gd name="T97" fmla="*/ 284 h 769"/>
                  <a:gd name="T98" fmla="*/ 603 w 1882"/>
                  <a:gd name="T99" fmla="*/ 249 h 769"/>
                  <a:gd name="T100" fmla="*/ 612 w 1882"/>
                  <a:gd name="T101" fmla="*/ 215 h 769"/>
                  <a:gd name="T102" fmla="*/ 704 w 1882"/>
                  <a:gd name="T103" fmla="*/ 165 h 769"/>
                  <a:gd name="T104" fmla="*/ 706 w 1882"/>
                  <a:gd name="T105" fmla="*/ 91 h 769"/>
                  <a:gd name="T106" fmla="*/ 732 w 1882"/>
                  <a:gd name="T107" fmla="*/ 55 h 769"/>
                  <a:gd name="T108" fmla="*/ 807 w 1882"/>
                  <a:gd name="T109" fmla="*/ 4 h 769"/>
                  <a:gd name="T110" fmla="*/ 871 w 1882"/>
                  <a:gd name="T111" fmla="*/ 18 h 769"/>
                  <a:gd name="T112" fmla="*/ 915 w 1882"/>
                  <a:gd name="T113" fmla="*/ 25 h 769"/>
                  <a:gd name="T114" fmla="*/ 986 w 1882"/>
                  <a:gd name="T115" fmla="*/ 4 h 769"/>
                  <a:gd name="T116" fmla="*/ 1089 w 1882"/>
                  <a:gd name="T117" fmla="*/ 54 h 769"/>
                  <a:gd name="T118" fmla="*/ 1182 w 1882"/>
                  <a:gd name="T119" fmla="*/ 81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2" h="769">
                    <a:moveTo>
                      <a:pt x="1210" y="81"/>
                    </a:moveTo>
                    <a:lnTo>
                      <a:pt x="1240" y="77"/>
                    </a:lnTo>
                    <a:lnTo>
                      <a:pt x="1272" y="75"/>
                    </a:lnTo>
                    <a:lnTo>
                      <a:pt x="1288" y="73"/>
                    </a:lnTo>
                    <a:lnTo>
                      <a:pt x="1302" y="70"/>
                    </a:lnTo>
                    <a:lnTo>
                      <a:pt x="1310" y="69"/>
                    </a:lnTo>
                    <a:lnTo>
                      <a:pt x="1316" y="65"/>
                    </a:lnTo>
                    <a:lnTo>
                      <a:pt x="1322" y="62"/>
                    </a:lnTo>
                    <a:lnTo>
                      <a:pt x="1328" y="58"/>
                    </a:lnTo>
                    <a:lnTo>
                      <a:pt x="1341" y="48"/>
                    </a:lnTo>
                    <a:lnTo>
                      <a:pt x="1351" y="40"/>
                    </a:lnTo>
                    <a:lnTo>
                      <a:pt x="1359" y="38"/>
                    </a:lnTo>
                    <a:lnTo>
                      <a:pt x="1365" y="37"/>
                    </a:lnTo>
                    <a:lnTo>
                      <a:pt x="1379" y="43"/>
                    </a:lnTo>
                    <a:lnTo>
                      <a:pt x="1403" y="55"/>
                    </a:lnTo>
                    <a:lnTo>
                      <a:pt x="1409" y="56"/>
                    </a:lnTo>
                    <a:lnTo>
                      <a:pt x="1415" y="58"/>
                    </a:lnTo>
                    <a:lnTo>
                      <a:pt x="1422" y="58"/>
                    </a:lnTo>
                    <a:lnTo>
                      <a:pt x="1430" y="58"/>
                    </a:lnTo>
                    <a:lnTo>
                      <a:pt x="1444" y="59"/>
                    </a:lnTo>
                    <a:lnTo>
                      <a:pt x="1458" y="60"/>
                    </a:lnTo>
                    <a:lnTo>
                      <a:pt x="1476" y="67"/>
                    </a:lnTo>
                    <a:lnTo>
                      <a:pt x="1493" y="76"/>
                    </a:lnTo>
                    <a:lnTo>
                      <a:pt x="1512" y="84"/>
                    </a:lnTo>
                    <a:lnTo>
                      <a:pt x="1529" y="93"/>
                    </a:lnTo>
                    <a:lnTo>
                      <a:pt x="1552" y="99"/>
                    </a:lnTo>
                    <a:lnTo>
                      <a:pt x="1574" y="103"/>
                    </a:lnTo>
                    <a:lnTo>
                      <a:pt x="1586" y="105"/>
                    </a:lnTo>
                    <a:lnTo>
                      <a:pt x="1597" y="108"/>
                    </a:lnTo>
                    <a:lnTo>
                      <a:pt x="1607" y="111"/>
                    </a:lnTo>
                    <a:lnTo>
                      <a:pt x="1617" y="115"/>
                    </a:lnTo>
                    <a:lnTo>
                      <a:pt x="1624" y="119"/>
                    </a:lnTo>
                    <a:lnTo>
                      <a:pt x="1629" y="124"/>
                    </a:lnTo>
                    <a:lnTo>
                      <a:pt x="1633" y="130"/>
                    </a:lnTo>
                    <a:lnTo>
                      <a:pt x="1636" y="136"/>
                    </a:lnTo>
                    <a:lnTo>
                      <a:pt x="1640" y="149"/>
                    </a:lnTo>
                    <a:lnTo>
                      <a:pt x="1644" y="165"/>
                    </a:lnTo>
                    <a:lnTo>
                      <a:pt x="1646" y="181"/>
                    </a:lnTo>
                    <a:lnTo>
                      <a:pt x="1651" y="196"/>
                    </a:lnTo>
                    <a:lnTo>
                      <a:pt x="1655" y="203"/>
                    </a:lnTo>
                    <a:lnTo>
                      <a:pt x="1660" y="211"/>
                    </a:lnTo>
                    <a:lnTo>
                      <a:pt x="1666" y="217"/>
                    </a:lnTo>
                    <a:lnTo>
                      <a:pt x="1673" y="222"/>
                    </a:lnTo>
                    <a:lnTo>
                      <a:pt x="1679" y="227"/>
                    </a:lnTo>
                    <a:lnTo>
                      <a:pt x="1683" y="231"/>
                    </a:lnTo>
                    <a:lnTo>
                      <a:pt x="1685" y="236"/>
                    </a:lnTo>
                    <a:lnTo>
                      <a:pt x="1687" y="242"/>
                    </a:lnTo>
                    <a:lnTo>
                      <a:pt x="1688" y="253"/>
                    </a:lnTo>
                    <a:lnTo>
                      <a:pt x="1693" y="267"/>
                    </a:lnTo>
                    <a:lnTo>
                      <a:pt x="1698" y="275"/>
                    </a:lnTo>
                    <a:lnTo>
                      <a:pt x="1702" y="284"/>
                    </a:lnTo>
                    <a:lnTo>
                      <a:pt x="1709" y="291"/>
                    </a:lnTo>
                    <a:lnTo>
                      <a:pt x="1715" y="299"/>
                    </a:lnTo>
                    <a:lnTo>
                      <a:pt x="1728" y="312"/>
                    </a:lnTo>
                    <a:lnTo>
                      <a:pt x="1738" y="327"/>
                    </a:lnTo>
                    <a:lnTo>
                      <a:pt x="1734" y="333"/>
                    </a:lnTo>
                    <a:lnTo>
                      <a:pt x="1729" y="337"/>
                    </a:lnTo>
                    <a:lnTo>
                      <a:pt x="1725" y="340"/>
                    </a:lnTo>
                    <a:lnTo>
                      <a:pt x="1718" y="343"/>
                    </a:lnTo>
                    <a:lnTo>
                      <a:pt x="1706" y="346"/>
                    </a:lnTo>
                    <a:lnTo>
                      <a:pt x="1693" y="349"/>
                    </a:lnTo>
                    <a:lnTo>
                      <a:pt x="1679" y="351"/>
                    </a:lnTo>
                    <a:lnTo>
                      <a:pt x="1667" y="356"/>
                    </a:lnTo>
                    <a:lnTo>
                      <a:pt x="1662" y="359"/>
                    </a:lnTo>
                    <a:lnTo>
                      <a:pt x="1657" y="364"/>
                    </a:lnTo>
                    <a:lnTo>
                      <a:pt x="1652" y="369"/>
                    </a:lnTo>
                    <a:lnTo>
                      <a:pt x="1650" y="376"/>
                    </a:lnTo>
                    <a:lnTo>
                      <a:pt x="1649" y="387"/>
                    </a:lnTo>
                    <a:lnTo>
                      <a:pt x="1649" y="395"/>
                    </a:lnTo>
                    <a:lnTo>
                      <a:pt x="1650" y="404"/>
                    </a:lnTo>
                    <a:lnTo>
                      <a:pt x="1654" y="411"/>
                    </a:lnTo>
                    <a:lnTo>
                      <a:pt x="1658" y="418"/>
                    </a:lnTo>
                    <a:lnTo>
                      <a:pt x="1665" y="422"/>
                    </a:lnTo>
                    <a:lnTo>
                      <a:pt x="1671" y="426"/>
                    </a:lnTo>
                    <a:lnTo>
                      <a:pt x="1679" y="430"/>
                    </a:lnTo>
                    <a:lnTo>
                      <a:pt x="1696" y="436"/>
                    </a:lnTo>
                    <a:lnTo>
                      <a:pt x="1717" y="440"/>
                    </a:lnTo>
                    <a:lnTo>
                      <a:pt x="1740" y="443"/>
                    </a:lnTo>
                    <a:lnTo>
                      <a:pt x="1764" y="446"/>
                    </a:lnTo>
                    <a:lnTo>
                      <a:pt x="1786" y="451"/>
                    </a:lnTo>
                    <a:lnTo>
                      <a:pt x="1809" y="455"/>
                    </a:lnTo>
                    <a:lnTo>
                      <a:pt x="1819" y="459"/>
                    </a:lnTo>
                    <a:lnTo>
                      <a:pt x="1829" y="463"/>
                    </a:lnTo>
                    <a:lnTo>
                      <a:pt x="1838" y="468"/>
                    </a:lnTo>
                    <a:lnTo>
                      <a:pt x="1846" y="474"/>
                    </a:lnTo>
                    <a:lnTo>
                      <a:pt x="1854" y="480"/>
                    </a:lnTo>
                    <a:lnTo>
                      <a:pt x="1860" y="489"/>
                    </a:lnTo>
                    <a:lnTo>
                      <a:pt x="1865" y="497"/>
                    </a:lnTo>
                    <a:lnTo>
                      <a:pt x="1869" y="508"/>
                    </a:lnTo>
                    <a:lnTo>
                      <a:pt x="1873" y="519"/>
                    </a:lnTo>
                    <a:lnTo>
                      <a:pt x="1874" y="533"/>
                    </a:lnTo>
                    <a:lnTo>
                      <a:pt x="1874" y="547"/>
                    </a:lnTo>
                    <a:lnTo>
                      <a:pt x="1871" y="563"/>
                    </a:lnTo>
                    <a:lnTo>
                      <a:pt x="1869" y="580"/>
                    </a:lnTo>
                    <a:lnTo>
                      <a:pt x="1868" y="594"/>
                    </a:lnTo>
                    <a:lnTo>
                      <a:pt x="1869" y="606"/>
                    </a:lnTo>
                    <a:lnTo>
                      <a:pt x="1870" y="616"/>
                    </a:lnTo>
                    <a:lnTo>
                      <a:pt x="1875" y="637"/>
                    </a:lnTo>
                    <a:lnTo>
                      <a:pt x="1881" y="665"/>
                    </a:lnTo>
                    <a:lnTo>
                      <a:pt x="1882" y="678"/>
                    </a:lnTo>
                    <a:lnTo>
                      <a:pt x="1881" y="689"/>
                    </a:lnTo>
                    <a:lnTo>
                      <a:pt x="1878" y="698"/>
                    </a:lnTo>
                    <a:lnTo>
                      <a:pt x="1873" y="704"/>
                    </a:lnTo>
                    <a:lnTo>
                      <a:pt x="1867" y="709"/>
                    </a:lnTo>
                    <a:lnTo>
                      <a:pt x="1859" y="713"/>
                    </a:lnTo>
                    <a:lnTo>
                      <a:pt x="1851" y="715"/>
                    </a:lnTo>
                    <a:lnTo>
                      <a:pt x="1841" y="715"/>
                    </a:lnTo>
                    <a:lnTo>
                      <a:pt x="1831" y="715"/>
                    </a:lnTo>
                    <a:lnTo>
                      <a:pt x="1821" y="713"/>
                    </a:lnTo>
                    <a:lnTo>
                      <a:pt x="1811" y="711"/>
                    </a:lnTo>
                    <a:lnTo>
                      <a:pt x="1802" y="709"/>
                    </a:lnTo>
                    <a:lnTo>
                      <a:pt x="1782" y="703"/>
                    </a:lnTo>
                    <a:lnTo>
                      <a:pt x="1766" y="698"/>
                    </a:lnTo>
                    <a:lnTo>
                      <a:pt x="1754" y="693"/>
                    </a:lnTo>
                    <a:lnTo>
                      <a:pt x="1743" y="686"/>
                    </a:lnTo>
                    <a:lnTo>
                      <a:pt x="1733" y="678"/>
                    </a:lnTo>
                    <a:lnTo>
                      <a:pt x="1723" y="668"/>
                    </a:lnTo>
                    <a:lnTo>
                      <a:pt x="1707" y="649"/>
                    </a:lnTo>
                    <a:lnTo>
                      <a:pt x="1691" y="628"/>
                    </a:lnTo>
                    <a:lnTo>
                      <a:pt x="1683" y="618"/>
                    </a:lnTo>
                    <a:lnTo>
                      <a:pt x="1676" y="609"/>
                    </a:lnTo>
                    <a:lnTo>
                      <a:pt x="1667" y="600"/>
                    </a:lnTo>
                    <a:lnTo>
                      <a:pt x="1657" y="593"/>
                    </a:lnTo>
                    <a:lnTo>
                      <a:pt x="1647" y="586"/>
                    </a:lnTo>
                    <a:lnTo>
                      <a:pt x="1636" y="582"/>
                    </a:lnTo>
                    <a:lnTo>
                      <a:pt x="1624" y="579"/>
                    </a:lnTo>
                    <a:lnTo>
                      <a:pt x="1609" y="578"/>
                    </a:lnTo>
                    <a:lnTo>
                      <a:pt x="1592" y="579"/>
                    </a:lnTo>
                    <a:lnTo>
                      <a:pt x="1578" y="580"/>
                    </a:lnTo>
                    <a:lnTo>
                      <a:pt x="1565" y="583"/>
                    </a:lnTo>
                    <a:lnTo>
                      <a:pt x="1554" y="586"/>
                    </a:lnTo>
                    <a:lnTo>
                      <a:pt x="1546" y="589"/>
                    </a:lnTo>
                    <a:lnTo>
                      <a:pt x="1538" y="593"/>
                    </a:lnTo>
                    <a:lnTo>
                      <a:pt x="1534" y="597"/>
                    </a:lnTo>
                    <a:lnTo>
                      <a:pt x="1531" y="602"/>
                    </a:lnTo>
                    <a:lnTo>
                      <a:pt x="1529" y="607"/>
                    </a:lnTo>
                    <a:lnTo>
                      <a:pt x="1529" y="612"/>
                    </a:lnTo>
                    <a:lnTo>
                      <a:pt x="1529" y="618"/>
                    </a:lnTo>
                    <a:lnTo>
                      <a:pt x="1530" y="624"/>
                    </a:lnTo>
                    <a:lnTo>
                      <a:pt x="1535" y="637"/>
                    </a:lnTo>
                    <a:lnTo>
                      <a:pt x="1543" y="650"/>
                    </a:lnTo>
                    <a:lnTo>
                      <a:pt x="1552" y="664"/>
                    </a:lnTo>
                    <a:lnTo>
                      <a:pt x="1561" y="676"/>
                    </a:lnTo>
                    <a:lnTo>
                      <a:pt x="1568" y="689"/>
                    </a:lnTo>
                    <a:lnTo>
                      <a:pt x="1573" y="700"/>
                    </a:lnTo>
                    <a:lnTo>
                      <a:pt x="1574" y="706"/>
                    </a:lnTo>
                    <a:lnTo>
                      <a:pt x="1575" y="711"/>
                    </a:lnTo>
                    <a:lnTo>
                      <a:pt x="1574" y="716"/>
                    </a:lnTo>
                    <a:lnTo>
                      <a:pt x="1572" y="720"/>
                    </a:lnTo>
                    <a:lnTo>
                      <a:pt x="1568" y="724"/>
                    </a:lnTo>
                    <a:lnTo>
                      <a:pt x="1563" y="727"/>
                    </a:lnTo>
                    <a:lnTo>
                      <a:pt x="1556" y="731"/>
                    </a:lnTo>
                    <a:lnTo>
                      <a:pt x="1547" y="732"/>
                    </a:lnTo>
                    <a:lnTo>
                      <a:pt x="1372" y="768"/>
                    </a:lnTo>
                    <a:lnTo>
                      <a:pt x="1363" y="769"/>
                    </a:lnTo>
                    <a:lnTo>
                      <a:pt x="1355" y="769"/>
                    </a:lnTo>
                    <a:lnTo>
                      <a:pt x="1345" y="768"/>
                    </a:lnTo>
                    <a:lnTo>
                      <a:pt x="1335" y="765"/>
                    </a:lnTo>
                    <a:lnTo>
                      <a:pt x="1313" y="758"/>
                    </a:lnTo>
                    <a:lnTo>
                      <a:pt x="1290" y="749"/>
                    </a:lnTo>
                    <a:lnTo>
                      <a:pt x="1267" y="740"/>
                    </a:lnTo>
                    <a:lnTo>
                      <a:pt x="1243" y="730"/>
                    </a:lnTo>
                    <a:lnTo>
                      <a:pt x="1232" y="726"/>
                    </a:lnTo>
                    <a:lnTo>
                      <a:pt x="1221" y="724"/>
                    </a:lnTo>
                    <a:lnTo>
                      <a:pt x="1210" y="721"/>
                    </a:lnTo>
                    <a:lnTo>
                      <a:pt x="1201" y="719"/>
                    </a:lnTo>
                    <a:lnTo>
                      <a:pt x="1185" y="716"/>
                    </a:lnTo>
                    <a:lnTo>
                      <a:pt x="1169" y="713"/>
                    </a:lnTo>
                    <a:lnTo>
                      <a:pt x="1154" y="708"/>
                    </a:lnTo>
                    <a:lnTo>
                      <a:pt x="1141" y="702"/>
                    </a:lnTo>
                    <a:lnTo>
                      <a:pt x="1128" y="694"/>
                    </a:lnTo>
                    <a:lnTo>
                      <a:pt x="1116" y="686"/>
                    </a:lnTo>
                    <a:lnTo>
                      <a:pt x="1105" y="677"/>
                    </a:lnTo>
                    <a:lnTo>
                      <a:pt x="1094" y="667"/>
                    </a:lnTo>
                    <a:lnTo>
                      <a:pt x="1072" y="648"/>
                    </a:lnTo>
                    <a:lnTo>
                      <a:pt x="1051" y="628"/>
                    </a:lnTo>
                    <a:lnTo>
                      <a:pt x="1029" y="607"/>
                    </a:lnTo>
                    <a:lnTo>
                      <a:pt x="1005" y="588"/>
                    </a:lnTo>
                    <a:lnTo>
                      <a:pt x="996" y="583"/>
                    </a:lnTo>
                    <a:lnTo>
                      <a:pt x="989" y="575"/>
                    </a:lnTo>
                    <a:lnTo>
                      <a:pt x="984" y="567"/>
                    </a:lnTo>
                    <a:lnTo>
                      <a:pt x="980" y="558"/>
                    </a:lnTo>
                    <a:lnTo>
                      <a:pt x="978" y="549"/>
                    </a:lnTo>
                    <a:lnTo>
                      <a:pt x="977" y="537"/>
                    </a:lnTo>
                    <a:lnTo>
                      <a:pt x="975" y="526"/>
                    </a:lnTo>
                    <a:lnTo>
                      <a:pt x="975" y="515"/>
                    </a:lnTo>
                    <a:lnTo>
                      <a:pt x="977" y="493"/>
                    </a:lnTo>
                    <a:lnTo>
                      <a:pt x="978" y="470"/>
                    </a:lnTo>
                    <a:lnTo>
                      <a:pt x="978" y="459"/>
                    </a:lnTo>
                    <a:lnTo>
                      <a:pt x="977" y="449"/>
                    </a:lnTo>
                    <a:lnTo>
                      <a:pt x="975" y="440"/>
                    </a:lnTo>
                    <a:lnTo>
                      <a:pt x="972" y="431"/>
                    </a:lnTo>
                    <a:lnTo>
                      <a:pt x="969" y="425"/>
                    </a:lnTo>
                    <a:lnTo>
                      <a:pt x="966" y="420"/>
                    </a:lnTo>
                    <a:lnTo>
                      <a:pt x="963" y="415"/>
                    </a:lnTo>
                    <a:lnTo>
                      <a:pt x="960" y="413"/>
                    </a:lnTo>
                    <a:lnTo>
                      <a:pt x="956" y="410"/>
                    </a:lnTo>
                    <a:lnTo>
                      <a:pt x="953" y="409"/>
                    </a:lnTo>
                    <a:lnTo>
                      <a:pt x="950" y="408"/>
                    </a:lnTo>
                    <a:lnTo>
                      <a:pt x="946" y="408"/>
                    </a:lnTo>
                    <a:lnTo>
                      <a:pt x="939" y="410"/>
                    </a:lnTo>
                    <a:lnTo>
                      <a:pt x="931" y="415"/>
                    </a:lnTo>
                    <a:lnTo>
                      <a:pt x="923" y="421"/>
                    </a:lnTo>
                    <a:lnTo>
                      <a:pt x="915" y="429"/>
                    </a:lnTo>
                    <a:lnTo>
                      <a:pt x="901" y="447"/>
                    </a:lnTo>
                    <a:lnTo>
                      <a:pt x="887" y="465"/>
                    </a:lnTo>
                    <a:lnTo>
                      <a:pt x="875" y="481"/>
                    </a:lnTo>
                    <a:lnTo>
                      <a:pt x="866" y="490"/>
                    </a:lnTo>
                    <a:lnTo>
                      <a:pt x="862" y="493"/>
                    </a:lnTo>
                    <a:lnTo>
                      <a:pt x="857" y="500"/>
                    </a:lnTo>
                    <a:lnTo>
                      <a:pt x="853" y="506"/>
                    </a:lnTo>
                    <a:lnTo>
                      <a:pt x="849" y="512"/>
                    </a:lnTo>
                    <a:lnTo>
                      <a:pt x="842" y="529"/>
                    </a:lnTo>
                    <a:lnTo>
                      <a:pt x="837" y="549"/>
                    </a:lnTo>
                    <a:lnTo>
                      <a:pt x="827" y="590"/>
                    </a:lnTo>
                    <a:lnTo>
                      <a:pt x="818" y="633"/>
                    </a:lnTo>
                    <a:lnTo>
                      <a:pt x="811" y="651"/>
                    </a:lnTo>
                    <a:lnTo>
                      <a:pt x="805" y="666"/>
                    </a:lnTo>
                    <a:lnTo>
                      <a:pt x="802" y="673"/>
                    </a:lnTo>
                    <a:lnTo>
                      <a:pt x="798" y="678"/>
                    </a:lnTo>
                    <a:lnTo>
                      <a:pt x="793" y="683"/>
                    </a:lnTo>
                    <a:lnTo>
                      <a:pt x="788" y="687"/>
                    </a:lnTo>
                    <a:lnTo>
                      <a:pt x="783" y="688"/>
                    </a:lnTo>
                    <a:lnTo>
                      <a:pt x="777" y="688"/>
                    </a:lnTo>
                    <a:lnTo>
                      <a:pt x="771" y="687"/>
                    </a:lnTo>
                    <a:lnTo>
                      <a:pt x="764" y="684"/>
                    </a:lnTo>
                    <a:lnTo>
                      <a:pt x="756" y="680"/>
                    </a:lnTo>
                    <a:lnTo>
                      <a:pt x="748" y="673"/>
                    </a:lnTo>
                    <a:lnTo>
                      <a:pt x="739" y="665"/>
                    </a:lnTo>
                    <a:lnTo>
                      <a:pt x="729" y="654"/>
                    </a:lnTo>
                    <a:lnTo>
                      <a:pt x="722" y="645"/>
                    </a:lnTo>
                    <a:lnTo>
                      <a:pt x="716" y="635"/>
                    </a:lnTo>
                    <a:lnTo>
                      <a:pt x="711" y="627"/>
                    </a:lnTo>
                    <a:lnTo>
                      <a:pt x="706" y="617"/>
                    </a:lnTo>
                    <a:lnTo>
                      <a:pt x="698" y="599"/>
                    </a:lnTo>
                    <a:lnTo>
                      <a:pt x="689" y="582"/>
                    </a:lnTo>
                    <a:lnTo>
                      <a:pt x="684" y="573"/>
                    </a:lnTo>
                    <a:lnTo>
                      <a:pt x="679" y="566"/>
                    </a:lnTo>
                    <a:lnTo>
                      <a:pt x="673" y="560"/>
                    </a:lnTo>
                    <a:lnTo>
                      <a:pt x="666" y="553"/>
                    </a:lnTo>
                    <a:lnTo>
                      <a:pt x="658" y="547"/>
                    </a:lnTo>
                    <a:lnTo>
                      <a:pt x="650" y="544"/>
                    </a:lnTo>
                    <a:lnTo>
                      <a:pt x="639" y="540"/>
                    </a:lnTo>
                    <a:lnTo>
                      <a:pt x="628" y="537"/>
                    </a:lnTo>
                    <a:lnTo>
                      <a:pt x="586" y="531"/>
                    </a:lnTo>
                    <a:lnTo>
                      <a:pt x="552" y="528"/>
                    </a:lnTo>
                    <a:lnTo>
                      <a:pt x="537" y="526"/>
                    </a:lnTo>
                    <a:lnTo>
                      <a:pt x="523" y="525"/>
                    </a:lnTo>
                    <a:lnTo>
                      <a:pt x="509" y="525"/>
                    </a:lnTo>
                    <a:lnTo>
                      <a:pt x="497" y="528"/>
                    </a:lnTo>
                    <a:lnTo>
                      <a:pt x="485" y="530"/>
                    </a:lnTo>
                    <a:lnTo>
                      <a:pt x="471" y="534"/>
                    </a:lnTo>
                    <a:lnTo>
                      <a:pt x="459" y="540"/>
                    </a:lnTo>
                    <a:lnTo>
                      <a:pt x="445" y="547"/>
                    </a:lnTo>
                    <a:lnTo>
                      <a:pt x="431" y="557"/>
                    </a:lnTo>
                    <a:lnTo>
                      <a:pt x="415" y="568"/>
                    </a:lnTo>
                    <a:lnTo>
                      <a:pt x="396" y="582"/>
                    </a:lnTo>
                    <a:lnTo>
                      <a:pt x="378" y="597"/>
                    </a:lnTo>
                    <a:lnTo>
                      <a:pt x="368" y="605"/>
                    </a:lnTo>
                    <a:lnTo>
                      <a:pt x="359" y="610"/>
                    </a:lnTo>
                    <a:lnTo>
                      <a:pt x="349" y="613"/>
                    </a:lnTo>
                    <a:lnTo>
                      <a:pt x="340" y="615"/>
                    </a:lnTo>
                    <a:lnTo>
                      <a:pt x="330" y="615"/>
                    </a:lnTo>
                    <a:lnTo>
                      <a:pt x="322" y="612"/>
                    </a:lnTo>
                    <a:lnTo>
                      <a:pt x="313" y="610"/>
                    </a:lnTo>
                    <a:lnTo>
                      <a:pt x="305" y="607"/>
                    </a:lnTo>
                    <a:lnTo>
                      <a:pt x="288" y="600"/>
                    </a:lnTo>
                    <a:lnTo>
                      <a:pt x="269" y="593"/>
                    </a:lnTo>
                    <a:lnTo>
                      <a:pt x="259" y="589"/>
                    </a:lnTo>
                    <a:lnTo>
                      <a:pt x="250" y="586"/>
                    </a:lnTo>
                    <a:lnTo>
                      <a:pt x="240" y="585"/>
                    </a:lnTo>
                    <a:lnTo>
                      <a:pt x="229" y="584"/>
                    </a:lnTo>
                    <a:lnTo>
                      <a:pt x="192" y="585"/>
                    </a:lnTo>
                    <a:lnTo>
                      <a:pt x="165" y="586"/>
                    </a:lnTo>
                    <a:lnTo>
                      <a:pt x="154" y="585"/>
                    </a:lnTo>
                    <a:lnTo>
                      <a:pt x="144" y="585"/>
                    </a:lnTo>
                    <a:lnTo>
                      <a:pt x="137" y="583"/>
                    </a:lnTo>
                    <a:lnTo>
                      <a:pt x="130" y="580"/>
                    </a:lnTo>
                    <a:lnTo>
                      <a:pt x="122" y="578"/>
                    </a:lnTo>
                    <a:lnTo>
                      <a:pt x="115" y="573"/>
                    </a:lnTo>
                    <a:lnTo>
                      <a:pt x="108" y="567"/>
                    </a:lnTo>
                    <a:lnTo>
                      <a:pt x="100" y="561"/>
                    </a:lnTo>
                    <a:lnTo>
                      <a:pt x="81" y="541"/>
                    </a:lnTo>
                    <a:lnTo>
                      <a:pt x="54" y="517"/>
                    </a:lnTo>
                    <a:lnTo>
                      <a:pt x="29" y="493"/>
                    </a:lnTo>
                    <a:lnTo>
                      <a:pt x="12" y="476"/>
                    </a:lnTo>
                    <a:lnTo>
                      <a:pt x="6" y="470"/>
                    </a:lnTo>
                    <a:lnTo>
                      <a:pt x="2" y="465"/>
                    </a:lnTo>
                    <a:lnTo>
                      <a:pt x="0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6" y="448"/>
                    </a:lnTo>
                    <a:lnTo>
                      <a:pt x="11" y="444"/>
                    </a:lnTo>
                    <a:lnTo>
                      <a:pt x="18" y="438"/>
                    </a:lnTo>
                    <a:lnTo>
                      <a:pt x="37" y="426"/>
                    </a:lnTo>
                    <a:lnTo>
                      <a:pt x="62" y="408"/>
                    </a:lnTo>
                    <a:lnTo>
                      <a:pt x="72" y="409"/>
                    </a:lnTo>
                    <a:lnTo>
                      <a:pt x="81" y="410"/>
                    </a:lnTo>
                    <a:lnTo>
                      <a:pt x="90" y="410"/>
                    </a:lnTo>
                    <a:lnTo>
                      <a:pt x="100" y="410"/>
                    </a:lnTo>
                    <a:lnTo>
                      <a:pt x="120" y="409"/>
                    </a:lnTo>
                    <a:lnTo>
                      <a:pt x="141" y="405"/>
                    </a:lnTo>
                    <a:lnTo>
                      <a:pt x="160" y="403"/>
                    </a:lnTo>
                    <a:lnTo>
                      <a:pt x="179" y="402"/>
                    </a:lnTo>
                    <a:lnTo>
                      <a:pt x="187" y="403"/>
                    </a:lnTo>
                    <a:lnTo>
                      <a:pt x="196" y="403"/>
                    </a:lnTo>
                    <a:lnTo>
                      <a:pt x="202" y="405"/>
                    </a:lnTo>
                    <a:lnTo>
                      <a:pt x="209" y="408"/>
                    </a:lnTo>
                    <a:lnTo>
                      <a:pt x="228" y="416"/>
                    </a:lnTo>
                    <a:lnTo>
                      <a:pt x="243" y="424"/>
                    </a:lnTo>
                    <a:lnTo>
                      <a:pt x="258" y="429"/>
                    </a:lnTo>
                    <a:lnTo>
                      <a:pt x="270" y="431"/>
                    </a:lnTo>
                    <a:lnTo>
                      <a:pt x="281" y="431"/>
                    </a:lnTo>
                    <a:lnTo>
                      <a:pt x="290" y="430"/>
                    </a:lnTo>
                    <a:lnTo>
                      <a:pt x="297" y="426"/>
                    </a:lnTo>
                    <a:lnTo>
                      <a:pt x="303" y="420"/>
                    </a:lnTo>
                    <a:lnTo>
                      <a:pt x="308" y="414"/>
                    </a:lnTo>
                    <a:lnTo>
                      <a:pt x="312" y="405"/>
                    </a:lnTo>
                    <a:lnTo>
                      <a:pt x="314" y="395"/>
                    </a:lnTo>
                    <a:lnTo>
                      <a:pt x="317" y="384"/>
                    </a:lnTo>
                    <a:lnTo>
                      <a:pt x="322" y="359"/>
                    </a:lnTo>
                    <a:lnTo>
                      <a:pt x="325" y="329"/>
                    </a:lnTo>
                    <a:lnTo>
                      <a:pt x="328" y="322"/>
                    </a:lnTo>
                    <a:lnTo>
                      <a:pt x="330" y="315"/>
                    </a:lnTo>
                    <a:lnTo>
                      <a:pt x="334" y="311"/>
                    </a:lnTo>
                    <a:lnTo>
                      <a:pt x="339" y="307"/>
                    </a:lnTo>
                    <a:lnTo>
                      <a:pt x="345" y="305"/>
                    </a:lnTo>
                    <a:lnTo>
                      <a:pt x="351" y="304"/>
                    </a:lnTo>
                    <a:lnTo>
                      <a:pt x="357" y="304"/>
                    </a:lnTo>
                    <a:lnTo>
                      <a:pt x="365" y="304"/>
                    </a:lnTo>
                    <a:lnTo>
                      <a:pt x="379" y="305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6" y="305"/>
                    </a:lnTo>
                    <a:lnTo>
                      <a:pt x="412" y="304"/>
                    </a:lnTo>
                    <a:lnTo>
                      <a:pt x="417" y="301"/>
                    </a:lnTo>
                    <a:lnTo>
                      <a:pt x="438" y="302"/>
                    </a:lnTo>
                    <a:lnTo>
                      <a:pt x="466" y="300"/>
                    </a:lnTo>
                    <a:lnTo>
                      <a:pt x="482" y="298"/>
                    </a:lnTo>
                    <a:lnTo>
                      <a:pt x="499" y="295"/>
                    </a:lnTo>
                    <a:lnTo>
                      <a:pt x="516" y="293"/>
                    </a:lnTo>
                    <a:lnTo>
                      <a:pt x="534" y="288"/>
                    </a:lnTo>
                    <a:lnTo>
                      <a:pt x="549" y="284"/>
                    </a:lnTo>
                    <a:lnTo>
                      <a:pt x="564" y="278"/>
                    </a:lnTo>
                    <a:lnTo>
                      <a:pt x="578" y="272"/>
                    </a:lnTo>
                    <a:lnTo>
                      <a:pt x="589" y="264"/>
                    </a:lnTo>
                    <a:lnTo>
                      <a:pt x="594" y="261"/>
                    </a:lnTo>
                    <a:lnTo>
                      <a:pt x="598" y="257"/>
                    </a:lnTo>
                    <a:lnTo>
                      <a:pt x="601" y="252"/>
                    </a:lnTo>
                    <a:lnTo>
                      <a:pt x="603" y="249"/>
                    </a:lnTo>
                    <a:lnTo>
                      <a:pt x="606" y="244"/>
                    </a:lnTo>
                    <a:lnTo>
                      <a:pt x="606" y="239"/>
                    </a:lnTo>
                    <a:lnTo>
                      <a:pt x="606" y="234"/>
                    </a:lnTo>
                    <a:lnTo>
                      <a:pt x="605" y="228"/>
                    </a:lnTo>
                    <a:lnTo>
                      <a:pt x="605" y="224"/>
                    </a:lnTo>
                    <a:lnTo>
                      <a:pt x="607" y="220"/>
                    </a:lnTo>
                    <a:lnTo>
                      <a:pt x="612" y="215"/>
                    </a:lnTo>
                    <a:lnTo>
                      <a:pt x="617" y="212"/>
                    </a:lnTo>
                    <a:lnTo>
                      <a:pt x="633" y="204"/>
                    </a:lnTo>
                    <a:lnTo>
                      <a:pt x="652" y="197"/>
                    </a:lnTo>
                    <a:lnTo>
                      <a:pt x="672" y="189"/>
                    </a:lnTo>
                    <a:lnTo>
                      <a:pt x="690" y="179"/>
                    </a:lnTo>
                    <a:lnTo>
                      <a:pt x="698" y="173"/>
                    </a:lnTo>
                    <a:lnTo>
                      <a:pt x="704" y="165"/>
                    </a:lnTo>
                    <a:lnTo>
                      <a:pt x="709" y="158"/>
                    </a:lnTo>
                    <a:lnTo>
                      <a:pt x="711" y="151"/>
                    </a:lnTo>
                    <a:lnTo>
                      <a:pt x="711" y="136"/>
                    </a:lnTo>
                    <a:lnTo>
                      <a:pt x="710" y="122"/>
                    </a:lnTo>
                    <a:lnTo>
                      <a:pt x="709" y="110"/>
                    </a:lnTo>
                    <a:lnTo>
                      <a:pt x="706" y="97"/>
                    </a:lnTo>
                    <a:lnTo>
                      <a:pt x="706" y="91"/>
                    </a:lnTo>
                    <a:lnTo>
                      <a:pt x="706" y="86"/>
                    </a:lnTo>
                    <a:lnTo>
                      <a:pt x="707" y="80"/>
                    </a:lnTo>
                    <a:lnTo>
                      <a:pt x="710" y="75"/>
                    </a:lnTo>
                    <a:lnTo>
                      <a:pt x="713" y="69"/>
                    </a:lnTo>
                    <a:lnTo>
                      <a:pt x="718" y="64"/>
                    </a:lnTo>
                    <a:lnTo>
                      <a:pt x="725" y="59"/>
                    </a:lnTo>
                    <a:lnTo>
                      <a:pt x="732" y="55"/>
                    </a:lnTo>
                    <a:lnTo>
                      <a:pt x="743" y="49"/>
                    </a:lnTo>
                    <a:lnTo>
                      <a:pt x="754" y="42"/>
                    </a:lnTo>
                    <a:lnTo>
                      <a:pt x="764" y="36"/>
                    </a:lnTo>
                    <a:lnTo>
                      <a:pt x="771" y="29"/>
                    </a:lnTo>
                    <a:lnTo>
                      <a:pt x="787" y="17"/>
                    </a:lnTo>
                    <a:lnTo>
                      <a:pt x="800" y="7"/>
                    </a:lnTo>
                    <a:lnTo>
                      <a:pt x="807" y="4"/>
                    </a:lnTo>
                    <a:lnTo>
                      <a:pt x="814" y="1"/>
                    </a:lnTo>
                    <a:lnTo>
                      <a:pt x="821" y="0"/>
                    </a:lnTo>
                    <a:lnTo>
                      <a:pt x="830" y="0"/>
                    </a:lnTo>
                    <a:lnTo>
                      <a:pt x="838" y="2"/>
                    </a:lnTo>
                    <a:lnTo>
                      <a:pt x="848" y="6"/>
                    </a:lnTo>
                    <a:lnTo>
                      <a:pt x="859" y="11"/>
                    </a:lnTo>
                    <a:lnTo>
                      <a:pt x="871" y="18"/>
                    </a:lnTo>
                    <a:lnTo>
                      <a:pt x="878" y="23"/>
                    </a:lnTo>
                    <a:lnTo>
                      <a:pt x="885" y="26"/>
                    </a:lnTo>
                    <a:lnTo>
                      <a:pt x="891" y="27"/>
                    </a:lnTo>
                    <a:lnTo>
                      <a:pt x="897" y="28"/>
                    </a:lnTo>
                    <a:lnTo>
                      <a:pt x="903" y="28"/>
                    </a:lnTo>
                    <a:lnTo>
                      <a:pt x="909" y="27"/>
                    </a:lnTo>
                    <a:lnTo>
                      <a:pt x="915" y="25"/>
                    </a:lnTo>
                    <a:lnTo>
                      <a:pt x="920" y="22"/>
                    </a:lnTo>
                    <a:lnTo>
                      <a:pt x="933" y="16"/>
                    </a:lnTo>
                    <a:lnTo>
                      <a:pt x="944" y="10"/>
                    </a:lnTo>
                    <a:lnTo>
                      <a:pt x="956" y="5"/>
                    </a:lnTo>
                    <a:lnTo>
                      <a:pt x="968" y="0"/>
                    </a:lnTo>
                    <a:lnTo>
                      <a:pt x="977" y="0"/>
                    </a:lnTo>
                    <a:lnTo>
                      <a:pt x="986" y="4"/>
                    </a:lnTo>
                    <a:lnTo>
                      <a:pt x="997" y="7"/>
                    </a:lnTo>
                    <a:lnTo>
                      <a:pt x="1008" y="13"/>
                    </a:lnTo>
                    <a:lnTo>
                      <a:pt x="1029" y="27"/>
                    </a:lnTo>
                    <a:lnTo>
                      <a:pt x="1048" y="37"/>
                    </a:lnTo>
                    <a:lnTo>
                      <a:pt x="1062" y="40"/>
                    </a:lnTo>
                    <a:lnTo>
                      <a:pt x="1076" y="47"/>
                    </a:lnTo>
                    <a:lnTo>
                      <a:pt x="1089" y="54"/>
                    </a:lnTo>
                    <a:lnTo>
                      <a:pt x="1102" y="61"/>
                    </a:lnTo>
                    <a:lnTo>
                      <a:pt x="1111" y="66"/>
                    </a:lnTo>
                    <a:lnTo>
                      <a:pt x="1122" y="70"/>
                    </a:lnTo>
                    <a:lnTo>
                      <a:pt x="1131" y="72"/>
                    </a:lnTo>
                    <a:lnTo>
                      <a:pt x="1141" y="75"/>
                    </a:lnTo>
                    <a:lnTo>
                      <a:pt x="1161" y="77"/>
                    </a:lnTo>
                    <a:lnTo>
                      <a:pt x="1182" y="81"/>
                    </a:lnTo>
                    <a:lnTo>
                      <a:pt x="1210" y="81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Freeform 51"/>
              <p:cNvSpPr>
                <a:spLocks/>
              </p:cNvSpPr>
              <p:nvPr/>
            </p:nvSpPr>
            <p:spPr bwMode="auto">
              <a:xfrm>
                <a:off x="474662" y="6381143"/>
                <a:ext cx="180975" cy="117475"/>
              </a:xfrm>
              <a:custGeom>
                <a:avLst/>
                <a:gdLst>
                  <a:gd name="T0" fmla="*/ 184 w 455"/>
                  <a:gd name="T1" fmla="*/ 102 h 294"/>
                  <a:gd name="T2" fmla="*/ 175 w 455"/>
                  <a:gd name="T3" fmla="*/ 92 h 294"/>
                  <a:gd name="T4" fmla="*/ 170 w 455"/>
                  <a:gd name="T5" fmla="*/ 81 h 294"/>
                  <a:gd name="T6" fmla="*/ 170 w 455"/>
                  <a:gd name="T7" fmla="*/ 69 h 294"/>
                  <a:gd name="T8" fmla="*/ 179 w 455"/>
                  <a:gd name="T9" fmla="*/ 38 h 294"/>
                  <a:gd name="T10" fmla="*/ 190 w 455"/>
                  <a:gd name="T11" fmla="*/ 8 h 294"/>
                  <a:gd name="T12" fmla="*/ 186 w 455"/>
                  <a:gd name="T13" fmla="*/ 0 h 294"/>
                  <a:gd name="T14" fmla="*/ 176 w 455"/>
                  <a:gd name="T15" fmla="*/ 1 h 294"/>
                  <a:gd name="T16" fmla="*/ 162 w 455"/>
                  <a:gd name="T17" fmla="*/ 6 h 294"/>
                  <a:gd name="T18" fmla="*/ 121 w 455"/>
                  <a:gd name="T19" fmla="*/ 28 h 294"/>
                  <a:gd name="T20" fmla="*/ 94 w 455"/>
                  <a:gd name="T21" fmla="*/ 47 h 294"/>
                  <a:gd name="T22" fmla="*/ 87 w 455"/>
                  <a:gd name="T23" fmla="*/ 57 h 294"/>
                  <a:gd name="T24" fmla="*/ 89 w 455"/>
                  <a:gd name="T25" fmla="*/ 69 h 294"/>
                  <a:gd name="T26" fmla="*/ 92 w 455"/>
                  <a:gd name="T27" fmla="*/ 86 h 294"/>
                  <a:gd name="T28" fmla="*/ 87 w 455"/>
                  <a:gd name="T29" fmla="*/ 92 h 294"/>
                  <a:gd name="T30" fmla="*/ 71 w 455"/>
                  <a:gd name="T31" fmla="*/ 99 h 294"/>
                  <a:gd name="T32" fmla="*/ 43 w 455"/>
                  <a:gd name="T33" fmla="*/ 107 h 294"/>
                  <a:gd name="T34" fmla="*/ 17 w 455"/>
                  <a:gd name="T35" fmla="*/ 113 h 294"/>
                  <a:gd name="T36" fmla="*/ 5 w 455"/>
                  <a:gd name="T37" fmla="*/ 120 h 294"/>
                  <a:gd name="T38" fmla="*/ 3 w 455"/>
                  <a:gd name="T39" fmla="*/ 129 h 294"/>
                  <a:gd name="T40" fmla="*/ 6 w 455"/>
                  <a:gd name="T41" fmla="*/ 146 h 294"/>
                  <a:gd name="T42" fmla="*/ 11 w 455"/>
                  <a:gd name="T43" fmla="*/ 163 h 294"/>
                  <a:gd name="T44" fmla="*/ 12 w 455"/>
                  <a:gd name="T45" fmla="*/ 175 h 294"/>
                  <a:gd name="T46" fmla="*/ 6 w 455"/>
                  <a:gd name="T47" fmla="*/ 191 h 294"/>
                  <a:gd name="T48" fmla="*/ 3 w 455"/>
                  <a:gd name="T49" fmla="*/ 221 h 294"/>
                  <a:gd name="T50" fmla="*/ 7 w 455"/>
                  <a:gd name="T51" fmla="*/ 237 h 294"/>
                  <a:gd name="T52" fmla="*/ 11 w 455"/>
                  <a:gd name="T53" fmla="*/ 243 h 294"/>
                  <a:gd name="T54" fmla="*/ 20 w 455"/>
                  <a:gd name="T55" fmla="*/ 248 h 294"/>
                  <a:gd name="T56" fmla="*/ 42 w 455"/>
                  <a:gd name="T57" fmla="*/ 251 h 294"/>
                  <a:gd name="T58" fmla="*/ 76 w 455"/>
                  <a:gd name="T59" fmla="*/ 259 h 294"/>
                  <a:gd name="T60" fmla="*/ 118 w 455"/>
                  <a:gd name="T61" fmla="*/ 276 h 294"/>
                  <a:gd name="T62" fmla="*/ 152 w 455"/>
                  <a:gd name="T63" fmla="*/ 288 h 294"/>
                  <a:gd name="T64" fmla="*/ 174 w 455"/>
                  <a:gd name="T65" fmla="*/ 293 h 294"/>
                  <a:gd name="T66" fmla="*/ 193 w 455"/>
                  <a:gd name="T67" fmla="*/ 294 h 294"/>
                  <a:gd name="T68" fmla="*/ 211 w 455"/>
                  <a:gd name="T69" fmla="*/ 290 h 294"/>
                  <a:gd name="T70" fmla="*/ 231 w 455"/>
                  <a:gd name="T71" fmla="*/ 275 h 294"/>
                  <a:gd name="T72" fmla="*/ 257 w 455"/>
                  <a:gd name="T73" fmla="*/ 254 h 294"/>
                  <a:gd name="T74" fmla="*/ 284 w 455"/>
                  <a:gd name="T75" fmla="*/ 238 h 294"/>
                  <a:gd name="T76" fmla="*/ 313 w 455"/>
                  <a:gd name="T77" fmla="*/ 227 h 294"/>
                  <a:gd name="T78" fmla="*/ 355 w 455"/>
                  <a:gd name="T79" fmla="*/ 221 h 294"/>
                  <a:gd name="T80" fmla="*/ 393 w 455"/>
                  <a:gd name="T81" fmla="*/ 218 h 294"/>
                  <a:gd name="T82" fmla="*/ 419 w 455"/>
                  <a:gd name="T83" fmla="*/ 215 h 294"/>
                  <a:gd name="T84" fmla="*/ 436 w 455"/>
                  <a:gd name="T85" fmla="*/ 208 h 294"/>
                  <a:gd name="T86" fmla="*/ 447 w 455"/>
                  <a:gd name="T87" fmla="*/ 199 h 294"/>
                  <a:gd name="T88" fmla="*/ 454 w 455"/>
                  <a:gd name="T89" fmla="*/ 186 h 294"/>
                  <a:gd name="T90" fmla="*/ 455 w 455"/>
                  <a:gd name="T91" fmla="*/ 177 h 294"/>
                  <a:gd name="T92" fmla="*/ 452 w 455"/>
                  <a:gd name="T93" fmla="*/ 170 h 294"/>
                  <a:gd name="T94" fmla="*/ 444 w 455"/>
                  <a:gd name="T95" fmla="*/ 164 h 294"/>
                  <a:gd name="T96" fmla="*/ 433 w 455"/>
                  <a:gd name="T97" fmla="*/ 161 h 294"/>
                  <a:gd name="T98" fmla="*/ 414 w 455"/>
                  <a:gd name="T99" fmla="*/ 157 h 294"/>
                  <a:gd name="T100" fmla="*/ 386 w 455"/>
                  <a:gd name="T101" fmla="*/ 155 h 294"/>
                  <a:gd name="T102" fmla="*/ 359 w 455"/>
                  <a:gd name="T103" fmla="*/ 152 h 294"/>
                  <a:gd name="T104" fmla="*/ 320 w 455"/>
                  <a:gd name="T105" fmla="*/ 141 h 294"/>
                  <a:gd name="T106" fmla="*/ 268 w 455"/>
                  <a:gd name="T107" fmla="*/ 129 h 294"/>
                  <a:gd name="T108" fmla="*/ 238 w 455"/>
                  <a:gd name="T109" fmla="*/ 123 h 294"/>
                  <a:gd name="T110" fmla="*/ 191 w 455"/>
                  <a:gd name="T111" fmla="*/ 108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5" h="294">
                    <a:moveTo>
                      <a:pt x="191" y="108"/>
                    </a:moveTo>
                    <a:lnTo>
                      <a:pt x="184" y="102"/>
                    </a:lnTo>
                    <a:lnTo>
                      <a:pt x="179" y="97"/>
                    </a:lnTo>
                    <a:lnTo>
                      <a:pt x="175" y="92"/>
                    </a:lnTo>
                    <a:lnTo>
                      <a:pt x="171" y="86"/>
                    </a:lnTo>
                    <a:lnTo>
                      <a:pt x="170" y="81"/>
                    </a:lnTo>
                    <a:lnTo>
                      <a:pt x="169" y="75"/>
                    </a:lnTo>
                    <a:lnTo>
                      <a:pt x="170" y="69"/>
                    </a:lnTo>
                    <a:lnTo>
                      <a:pt x="170" y="63"/>
                    </a:lnTo>
                    <a:lnTo>
                      <a:pt x="179" y="38"/>
                    </a:lnTo>
                    <a:lnTo>
                      <a:pt x="189" y="14"/>
                    </a:lnTo>
                    <a:lnTo>
                      <a:pt x="190" y="8"/>
                    </a:lnTo>
                    <a:lnTo>
                      <a:pt x="189" y="3"/>
                    </a:lnTo>
                    <a:lnTo>
                      <a:pt x="186" y="0"/>
                    </a:lnTo>
                    <a:lnTo>
                      <a:pt x="182" y="0"/>
                    </a:lnTo>
                    <a:lnTo>
                      <a:pt x="176" y="1"/>
                    </a:lnTo>
                    <a:lnTo>
                      <a:pt x="169" y="3"/>
                    </a:lnTo>
                    <a:lnTo>
                      <a:pt x="162" y="6"/>
                    </a:lnTo>
                    <a:lnTo>
                      <a:pt x="153" y="10"/>
                    </a:lnTo>
                    <a:lnTo>
                      <a:pt x="121" y="28"/>
                    </a:lnTo>
                    <a:lnTo>
                      <a:pt x="104" y="41"/>
                    </a:lnTo>
                    <a:lnTo>
                      <a:pt x="94" y="47"/>
                    </a:lnTo>
                    <a:lnTo>
                      <a:pt x="89" y="53"/>
                    </a:lnTo>
                    <a:lnTo>
                      <a:pt x="87" y="57"/>
                    </a:lnTo>
                    <a:lnTo>
                      <a:pt x="87" y="60"/>
                    </a:lnTo>
                    <a:lnTo>
                      <a:pt x="89" y="69"/>
                    </a:lnTo>
                    <a:lnTo>
                      <a:pt x="93" y="82"/>
                    </a:lnTo>
                    <a:lnTo>
                      <a:pt x="92" y="86"/>
                    </a:lnTo>
                    <a:lnTo>
                      <a:pt x="91" y="90"/>
                    </a:lnTo>
                    <a:lnTo>
                      <a:pt x="87" y="92"/>
                    </a:lnTo>
                    <a:lnTo>
                      <a:pt x="82" y="95"/>
                    </a:lnTo>
                    <a:lnTo>
                      <a:pt x="71" y="99"/>
                    </a:lnTo>
                    <a:lnTo>
                      <a:pt x="58" y="103"/>
                    </a:lnTo>
                    <a:lnTo>
                      <a:pt x="43" y="107"/>
                    </a:lnTo>
                    <a:lnTo>
                      <a:pt x="28" y="109"/>
                    </a:lnTo>
                    <a:lnTo>
                      <a:pt x="17" y="113"/>
                    </a:lnTo>
                    <a:lnTo>
                      <a:pt x="9" y="117"/>
                    </a:lnTo>
                    <a:lnTo>
                      <a:pt x="5" y="120"/>
                    </a:lnTo>
                    <a:lnTo>
                      <a:pt x="3" y="124"/>
                    </a:lnTo>
                    <a:lnTo>
                      <a:pt x="3" y="129"/>
                    </a:lnTo>
                    <a:lnTo>
                      <a:pt x="3" y="135"/>
                    </a:lnTo>
                    <a:lnTo>
                      <a:pt x="6" y="146"/>
                    </a:lnTo>
                    <a:lnTo>
                      <a:pt x="9" y="155"/>
                    </a:lnTo>
                    <a:lnTo>
                      <a:pt x="11" y="163"/>
                    </a:lnTo>
                    <a:lnTo>
                      <a:pt x="12" y="169"/>
                    </a:lnTo>
                    <a:lnTo>
                      <a:pt x="12" y="175"/>
                    </a:lnTo>
                    <a:lnTo>
                      <a:pt x="11" y="180"/>
                    </a:lnTo>
                    <a:lnTo>
                      <a:pt x="6" y="191"/>
                    </a:lnTo>
                    <a:lnTo>
                      <a:pt x="0" y="205"/>
                    </a:lnTo>
                    <a:lnTo>
                      <a:pt x="3" y="221"/>
                    </a:lnTo>
                    <a:lnTo>
                      <a:pt x="6" y="232"/>
                    </a:lnTo>
                    <a:lnTo>
                      <a:pt x="7" y="237"/>
                    </a:lnTo>
                    <a:lnTo>
                      <a:pt x="9" y="240"/>
                    </a:lnTo>
                    <a:lnTo>
                      <a:pt x="11" y="243"/>
                    </a:lnTo>
                    <a:lnTo>
                      <a:pt x="14" y="245"/>
                    </a:lnTo>
                    <a:lnTo>
                      <a:pt x="20" y="248"/>
                    </a:lnTo>
                    <a:lnTo>
                      <a:pt x="28" y="250"/>
                    </a:lnTo>
                    <a:lnTo>
                      <a:pt x="42" y="251"/>
                    </a:lnTo>
                    <a:lnTo>
                      <a:pt x="59" y="254"/>
                    </a:lnTo>
                    <a:lnTo>
                      <a:pt x="76" y="259"/>
                    </a:lnTo>
                    <a:lnTo>
                      <a:pt x="97" y="267"/>
                    </a:lnTo>
                    <a:lnTo>
                      <a:pt x="118" y="276"/>
                    </a:lnTo>
                    <a:lnTo>
                      <a:pt x="141" y="284"/>
                    </a:lnTo>
                    <a:lnTo>
                      <a:pt x="152" y="288"/>
                    </a:lnTo>
                    <a:lnTo>
                      <a:pt x="163" y="292"/>
                    </a:lnTo>
                    <a:lnTo>
                      <a:pt x="174" y="293"/>
                    </a:lnTo>
                    <a:lnTo>
                      <a:pt x="184" y="294"/>
                    </a:lnTo>
                    <a:lnTo>
                      <a:pt x="193" y="294"/>
                    </a:lnTo>
                    <a:lnTo>
                      <a:pt x="202" y="293"/>
                    </a:lnTo>
                    <a:lnTo>
                      <a:pt x="211" y="290"/>
                    </a:lnTo>
                    <a:lnTo>
                      <a:pt x="218" y="286"/>
                    </a:lnTo>
                    <a:lnTo>
                      <a:pt x="231" y="275"/>
                    </a:lnTo>
                    <a:lnTo>
                      <a:pt x="245" y="263"/>
                    </a:lnTo>
                    <a:lnTo>
                      <a:pt x="257" y="254"/>
                    </a:lnTo>
                    <a:lnTo>
                      <a:pt x="271" y="245"/>
                    </a:lnTo>
                    <a:lnTo>
                      <a:pt x="284" y="238"/>
                    </a:lnTo>
                    <a:lnTo>
                      <a:pt x="299" y="232"/>
                    </a:lnTo>
                    <a:lnTo>
                      <a:pt x="313" y="227"/>
                    </a:lnTo>
                    <a:lnTo>
                      <a:pt x="331" y="223"/>
                    </a:lnTo>
                    <a:lnTo>
                      <a:pt x="355" y="221"/>
                    </a:lnTo>
                    <a:lnTo>
                      <a:pt x="381" y="219"/>
                    </a:lnTo>
                    <a:lnTo>
                      <a:pt x="393" y="218"/>
                    </a:lnTo>
                    <a:lnTo>
                      <a:pt x="406" y="217"/>
                    </a:lnTo>
                    <a:lnTo>
                      <a:pt x="419" y="215"/>
                    </a:lnTo>
                    <a:lnTo>
                      <a:pt x="430" y="211"/>
                    </a:lnTo>
                    <a:lnTo>
                      <a:pt x="436" y="208"/>
                    </a:lnTo>
                    <a:lnTo>
                      <a:pt x="442" y="204"/>
                    </a:lnTo>
                    <a:lnTo>
                      <a:pt x="447" y="199"/>
                    </a:lnTo>
                    <a:lnTo>
                      <a:pt x="452" y="192"/>
                    </a:lnTo>
                    <a:lnTo>
                      <a:pt x="454" y="186"/>
                    </a:lnTo>
                    <a:lnTo>
                      <a:pt x="455" y="179"/>
                    </a:lnTo>
                    <a:lnTo>
                      <a:pt x="455" y="177"/>
                    </a:lnTo>
                    <a:lnTo>
                      <a:pt x="454" y="173"/>
                    </a:lnTo>
                    <a:lnTo>
                      <a:pt x="452" y="170"/>
                    </a:lnTo>
                    <a:lnTo>
                      <a:pt x="449" y="168"/>
                    </a:lnTo>
                    <a:lnTo>
                      <a:pt x="444" y="164"/>
                    </a:lnTo>
                    <a:lnTo>
                      <a:pt x="440" y="162"/>
                    </a:lnTo>
                    <a:lnTo>
                      <a:pt x="433" y="161"/>
                    </a:lnTo>
                    <a:lnTo>
                      <a:pt x="427" y="159"/>
                    </a:lnTo>
                    <a:lnTo>
                      <a:pt x="414" y="157"/>
                    </a:lnTo>
                    <a:lnTo>
                      <a:pt x="399" y="156"/>
                    </a:lnTo>
                    <a:lnTo>
                      <a:pt x="386" y="155"/>
                    </a:lnTo>
                    <a:lnTo>
                      <a:pt x="371" y="153"/>
                    </a:lnTo>
                    <a:lnTo>
                      <a:pt x="359" y="152"/>
                    </a:lnTo>
                    <a:lnTo>
                      <a:pt x="346" y="150"/>
                    </a:lnTo>
                    <a:lnTo>
                      <a:pt x="320" y="141"/>
                    </a:lnTo>
                    <a:lnTo>
                      <a:pt x="287" y="132"/>
                    </a:lnTo>
                    <a:lnTo>
                      <a:pt x="268" y="129"/>
                    </a:lnTo>
                    <a:lnTo>
                      <a:pt x="252" y="125"/>
                    </a:lnTo>
                    <a:lnTo>
                      <a:pt x="238" y="123"/>
                    </a:lnTo>
                    <a:lnTo>
                      <a:pt x="224" y="123"/>
                    </a:lnTo>
                    <a:lnTo>
                      <a:pt x="191" y="1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1" name="Freeform 52"/>
              <p:cNvSpPr>
                <a:spLocks/>
              </p:cNvSpPr>
              <p:nvPr/>
            </p:nvSpPr>
            <p:spPr bwMode="auto">
              <a:xfrm>
                <a:off x="679450" y="6439880"/>
                <a:ext cx="25400" cy="41275"/>
              </a:xfrm>
              <a:custGeom>
                <a:avLst/>
                <a:gdLst>
                  <a:gd name="T0" fmla="*/ 17 w 65"/>
                  <a:gd name="T1" fmla="*/ 96 h 102"/>
                  <a:gd name="T2" fmla="*/ 10 w 65"/>
                  <a:gd name="T3" fmla="*/ 81 h 102"/>
                  <a:gd name="T4" fmla="*/ 5 w 65"/>
                  <a:gd name="T5" fmla="*/ 65 h 102"/>
                  <a:gd name="T6" fmla="*/ 3 w 65"/>
                  <a:gd name="T7" fmla="*/ 58 h 102"/>
                  <a:gd name="T8" fmla="*/ 1 w 65"/>
                  <a:gd name="T9" fmla="*/ 49 h 102"/>
                  <a:gd name="T10" fmla="*/ 0 w 65"/>
                  <a:gd name="T11" fmla="*/ 41 h 102"/>
                  <a:gd name="T12" fmla="*/ 0 w 65"/>
                  <a:gd name="T13" fmla="*/ 32 h 102"/>
                  <a:gd name="T14" fmla="*/ 1 w 65"/>
                  <a:gd name="T15" fmla="*/ 21 h 102"/>
                  <a:gd name="T16" fmla="*/ 4 w 65"/>
                  <a:gd name="T17" fmla="*/ 13 h 102"/>
                  <a:gd name="T18" fmla="*/ 6 w 65"/>
                  <a:gd name="T19" fmla="*/ 9 h 102"/>
                  <a:gd name="T20" fmla="*/ 10 w 65"/>
                  <a:gd name="T21" fmla="*/ 5 h 102"/>
                  <a:gd name="T22" fmla="*/ 14 w 65"/>
                  <a:gd name="T23" fmla="*/ 3 h 102"/>
                  <a:gd name="T24" fmla="*/ 19 w 65"/>
                  <a:gd name="T25" fmla="*/ 2 h 102"/>
                  <a:gd name="T26" fmla="*/ 22 w 65"/>
                  <a:gd name="T27" fmla="*/ 0 h 102"/>
                  <a:gd name="T28" fmla="*/ 25 w 65"/>
                  <a:gd name="T29" fmla="*/ 2 h 102"/>
                  <a:gd name="T30" fmla="*/ 28 w 65"/>
                  <a:gd name="T31" fmla="*/ 4 h 102"/>
                  <a:gd name="T32" fmla="*/ 33 w 65"/>
                  <a:gd name="T33" fmla="*/ 8 h 102"/>
                  <a:gd name="T34" fmla="*/ 41 w 65"/>
                  <a:gd name="T35" fmla="*/ 15 h 102"/>
                  <a:gd name="T36" fmla="*/ 48 w 65"/>
                  <a:gd name="T37" fmla="*/ 26 h 102"/>
                  <a:gd name="T38" fmla="*/ 54 w 65"/>
                  <a:gd name="T39" fmla="*/ 37 h 102"/>
                  <a:gd name="T40" fmla="*/ 59 w 65"/>
                  <a:gd name="T41" fmla="*/ 48 h 102"/>
                  <a:gd name="T42" fmla="*/ 63 w 65"/>
                  <a:gd name="T43" fmla="*/ 58 h 102"/>
                  <a:gd name="T44" fmla="*/ 65 w 65"/>
                  <a:gd name="T45" fmla="*/ 65 h 102"/>
                  <a:gd name="T46" fmla="*/ 65 w 65"/>
                  <a:gd name="T47" fmla="*/ 73 h 102"/>
                  <a:gd name="T48" fmla="*/ 65 w 65"/>
                  <a:gd name="T49" fmla="*/ 81 h 102"/>
                  <a:gd name="T50" fmla="*/ 64 w 65"/>
                  <a:gd name="T51" fmla="*/ 85 h 102"/>
                  <a:gd name="T52" fmla="*/ 63 w 65"/>
                  <a:gd name="T53" fmla="*/ 89 h 102"/>
                  <a:gd name="T54" fmla="*/ 61 w 65"/>
                  <a:gd name="T55" fmla="*/ 92 h 102"/>
                  <a:gd name="T56" fmla="*/ 59 w 65"/>
                  <a:gd name="T57" fmla="*/ 95 h 102"/>
                  <a:gd name="T58" fmla="*/ 54 w 65"/>
                  <a:gd name="T59" fmla="*/ 98 h 102"/>
                  <a:gd name="T60" fmla="*/ 50 w 65"/>
                  <a:gd name="T61" fmla="*/ 100 h 102"/>
                  <a:gd name="T62" fmla="*/ 45 w 65"/>
                  <a:gd name="T63" fmla="*/ 101 h 102"/>
                  <a:gd name="T64" fmla="*/ 42 w 65"/>
                  <a:gd name="T65" fmla="*/ 102 h 102"/>
                  <a:gd name="T66" fmla="*/ 32 w 65"/>
                  <a:gd name="T67" fmla="*/ 101 h 102"/>
                  <a:gd name="T68" fmla="*/ 23 w 65"/>
                  <a:gd name="T69" fmla="*/ 101 h 102"/>
                  <a:gd name="T70" fmla="*/ 17 w 65"/>
                  <a:gd name="T71" fmla="*/ 9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5" h="102">
                    <a:moveTo>
                      <a:pt x="17" y="96"/>
                    </a:moveTo>
                    <a:lnTo>
                      <a:pt x="10" y="81"/>
                    </a:lnTo>
                    <a:lnTo>
                      <a:pt x="5" y="65"/>
                    </a:lnTo>
                    <a:lnTo>
                      <a:pt x="3" y="58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0" y="32"/>
                    </a:lnTo>
                    <a:lnTo>
                      <a:pt x="1" y="21"/>
                    </a:lnTo>
                    <a:lnTo>
                      <a:pt x="4" y="13"/>
                    </a:lnTo>
                    <a:lnTo>
                      <a:pt x="6" y="9"/>
                    </a:lnTo>
                    <a:lnTo>
                      <a:pt x="10" y="5"/>
                    </a:lnTo>
                    <a:lnTo>
                      <a:pt x="14" y="3"/>
                    </a:lnTo>
                    <a:lnTo>
                      <a:pt x="19" y="2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8" y="4"/>
                    </a:lnTo>
                    <a:lnTo>
                      <a:pt x="33" y="8"/>
                    </a:lnTo>
                    <a:lnTo>
                      <a:pt x="41" y="15"/>
                    </a:lnTo>
                    <a:lnTo>
                      <a:pt x="48" y="26"/>
                    </a:lnTo>
                    <a:lnTo>
                      <a:pt x="54" y="37"/>
                    </a:lnTo>
                    <a:lnTo>
                      <a:pt x="59" y="48"/>
                    </a:lnTo>
                    <a:lnTo>
                      <a:pt x="63" y="58"/>
                    </a:lnTo>
                    <a:lnTo>
                      <a:pt x="65" y="65"/>
                    </a:lnTo>
                    <a:lnTo>
                      <a:pt x="65" y="73"/>
                    </a:lnTo>
                    <a:lnTo>
                      <a:pt x="65" y="81"/>
                    </a:lnTo>
                    <a:lnTo>
                      <a:pt x="64" y="85"/>
                    </a:lnTo>
                    <a:lnTo>
                      <a:pt x="63" y="89"/>
                    </a:lnTo>
                    <a:lnTo>
                      <a:pt x="61" y="92"/>
                    </a:lnTo>
                    <a:lnTo>
                      <a:pt x="59" y="95"/>
                    </a:lnTo>
                    <a:lnTo>
                      <a:pt x="54" y="98"/>
                    </a:lnTo>
                    <a:lnTo>
                      <a:pt x="50" y="100"/>
                    </a:lnTo>
                    <a:lnTo>
                      <a:pt x="45" y="101"/>
                    </a:lnTo>
                    <a:lnTo>
                      <a:pt x="42" y="102"/>
                    </a:lnTo>
                    <a:lnTo>
                      <a:pt x="32" y="101"/>
                    </a:lnTo>
                    <a:lnTo>
                      <a:pt x="23" y="101"/>
                    </a:lnTo>
                    <a:lnTo>
                      <a:pt x="17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Freeform 53"/>
              <p:cNvSpPr>
                <a:spLocks/>
              </p:cNvSpPr>
              <p:nvPr/>
            </p:nvSpPr>
            <p:spPr bwMode="auto">
              <a:xfrm>
                <a:off x="2249487" y="5971568"/>
                <a:ext cx="328613" cy="363538"/>
              </a:xfrm>
              <a:custGeom>
                <a:avLst/>
                <a:gdLst>
                  <a:gd name="T0" fmla="*/ 602 w 827"/>
                  <a:gd name="T1" fmla="*/ 730 h 915"/>
                  <a:gd name="T2" fmla="*/ 652 w 827"/>
                  <a:gd name="T3" fmla="*/ 673 h 915"/>
                  <a:gd name="T4" fmla="*/ 770 w 827"/>
                  <a:gd name="T5" fmla="*/ 627 h 915"/>
                  <a:gd name="T6" fmla="*/ 813 w 827"/>
                  <a:gd name="T7" fmla="*/ 606 h 915"/>
                  <a:gd name="T8" fmla="*/ 827 w 827"/>
                  <a:gd name="T9" fmla="*/ 578 h 915"/>
                  <a:gd name="T10" fmla="*/ 809 w 827"/>
                  <a:gd name="T11" fmla="*/ 506 h 915"/>
                  <a:gd name="T12" fmla="*/ 784 w 827"/>
                  <a:gd name="T13" fmla="*/ 420 h 915"/>
                  <a:gd name="T14" fmla="*/ 786 w 827"/>
                  <a:gd name="T15" fmla="*/ 365 h 915"/>
                  <a:gd name="T16" fmla="*/ 776 w 827"/>
                  <a:gd name="T17" fmla="*/ 351 h 915"/>
                  <a:gd name="T18" fmla="*/ 737 w 827"/>
                  <a:gd name="T19" fmla="*/ 368 h 915"/>
                  <a:gd name="T20" fmla="*/ 678 w 827"/>
                  <a:gd name="T21" fmla="*/ 408 h 915"/>
                  <a:gd name="T22" fmla="*/ 647 w 827"/>
                  <a:gd name="T23" fmla="*/ 404 h 915"/>
                  <a:gd name="T24" fmla="*/ 597 w 827"/>
                  <a:gd name="T25" fmla="*/ 353 h 915"/>
                  <a:gd name="T26" fmla="*/ 542 w 827"/>
                  <a:gd name="T27" fmla="*/ 279 h 915"/>
                  <a:gd name="T28" fmla="*/ 515 w 827"/>
                  <a:gd name="T29" fmla="*/ 282 h 915"/>
                  <a:gd name="T30" fmla="*/ 409 w 827"/>
                  <a:gd name="T31" fmla="*/ 346 h 915"/>
                  <a:gd name="T32" fmla="*/ 351 w 827"/>
                  <a:gd name="T33" fmla="*/ 353 h 915"/>
                  <a:gd name="T34" fmla="*/ 308 w 827"/>
                  <a:gd name="T35" fmla="*/ 318 h 915"/>
                  <a:gd name="T36" fmla="*/ 236 w 827"/>
                  <a:gd name="T37" fmla="*/ 146 h 915"/>
                  <a:gd name="T38" fmla="*/ 194 w 827"/>
                  <a:gd name="T39" fmla="*/ 72 h 915"/>
                  <a:gd name="T40" fmla="*/ 171 w 827"/>
                  <a:gd name="T41" fmla="*/ 43 h 915"/>
                  <a:gd name="T42" fmla="*/ 147 w 827"/>
                  <a:gd name="T43" fmla="*/ 7 h 915"/>
                  <a:gd name="T44" fmla="*/ 120 w 827"/>
                  <a:gd name="T45" fmla="*/ 0 h 915"/>
                  <a:gd name="T46" fmla="*/ 67 w 827"/>
                  <a:gd name="T47" fmla="*/ 56 h 915"/>
                  <a:gd name="T48" fmla="*/ 5 w 827"/>
                  <a:gd name="T49" fmla="*/ 119 h 915"/>
                  <a:gd name="T50" fmla="*/ 2 w 827"/>
                  <a:gd name="T51" fmla="*/ 137 h 915"/>
                  <a:gd name="T52" fmla="*/ 51 w 827"/>
                  <a:gd name="T53" fmla="*/ 155 h 915"/>
                  <a:gd name="T54" fmla="*/ 117 w 827"/>
                  <a:gd name="T55" fmla="*/ 153 h 915"/>
                  <a:gd name="T56" fmla="*/ 154 w 827"/>
                  <a:gd name="T57" fmla="*/ 163 h 915"/>
                  <a:gd name="T58" fmla="*/ 163 w 827"/>
                  <a:gd name="T59" fmla="*/ 196 h 915"/>
                  <a:gd name="T60" fmla="*/ 166 w 827"/>
                  <a:gd name="T61" fmla="*/ 257 h 915"/>
                  <a:gd name="T62" fmla="*/ 186 w 827"/>
                  <a:gd name="T63" fmla="*/ 328 h 915"/>
                  <a:gd name="T64" fmla="*/ 174 w 827"/>
                  <a:gd name="T65" fmla="*/ 356 h 915"/>
                  <a:gd name="T66" fmla="*/ 92 w 827"/>
                  <a:gd name="T67" fmla="*/ 408 h 915"/>
                  <a:gd name="T68" fmla="*/ 54 w 827"/>
                  <a:gd name="T69" fmla="*/ 443 h 915"/>
                  <a:gd name="T70" fmla="*/ 49 w 827"/>
                  <a:gd name="T71" fmla="*/ 492 h 915"/>
                  <a:gd name="T72" fmla="*/ 79 w 827"/>
                  <a:gd name="T73" fmla="*/ 550 h 915"/>
                  <a:gd name="T74" fmla="*/ 105 w 827"/>
                  <a:gd name="T75" fmla="*/ 558 h 915"/>
                  <a:gd name="T76" fmla="*/ 172 w 827"/>
                  <a:gd name="T77" fmla="*/ 519 h 915"/>
                  <a:gd name="T78" fmla="*/ 221 w 827"/>
                  <a:gd name="T79" fmla="*/ 495 h 915"/>
                  <a:gd name="T80" fmla="*/ 245 w 827"/>
                  <a:gd name="T81" fmla="*/ 498 h 915"/>
                  <a:gd name="T82" fmla="*/ 285 w 827"/>
                  <a:gd name="T83" fmla="*/ 548 h 915"/>
                  <a:gd name="T84" fmla="*/ 320 w 827"/>
                  <a:gd name="T85" fmla="*/ 599 h 915"/>
                  <a:gd name="T86" fmla="*/ 319 w 827"/>
                  <a:gd name="T87" fmla="*/ 677 h 915"/>
                  <a:gd name="T88" fmla="*/ 355 w 827"/>
                  <a:gd name="T89" fmla="*/ 746 h 915"/>
                  <a:gd name="T90" fmla="*/ 409 w 827"/>
                  <a:gd name="T91" fmla="*/ 806 h 915"/>
                  <a:gd name="T92" fmla="*/ 436 w 827"/>
                  <a:gd name="T93" fmla="*/ 836 h 915"/>
                  <a:gd name="T94" fmla="*/ 416 w 827"/>
                  <a:gd name="T95" fmla="*/ 881 h 915"/>
                  <a:gd name="T96" fmla="*/ 422 w 827"/>
                  <a:gd name="T97" fmla="*/ 913 h 915"/>
                  <a:gd name="T98" fmla="*/ 473 w 827"/>
                  <a:gd name="T99" fmla="*/ 891 h 915"/>
                  <a:gd name="T100" fmla="*/ 515 w 827"/>
                  <a:gd name="T101" fmla="*/ 880 h 915"/>
                  <a:gd name="T102" fmla="*/ 541 w 827"/>
                  <a:gd name="T103" fmla="*/ 85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7" h="915">
                    <a:moveTo>
                      <a:pt x="570" y="806"/>
                    </a:moveTo>
                    <a:lnTo>
                      <a:pt x="578" y="784"/>
                    </a:lnTo>
                    <a:lnTo>
                      <a:pt x="586" y="764"/>
                    </a:lnTo>
                    <a:lnTo>
                      <a:pt x="593" y="746"/>
                    </a:lnTo>
                    <a:lnTo>
                      <a:pt x="602" y="730"/>
                    </a:lnTo>
                    <a:lnTo>
                      <a:pt x="611" y="715"/>
                    </a:lnTo>
                    <a:lnTo>
                      <a:pt x="620" y="703"/>
                    </a:lnTo>
                    <a:lnTo>
                      <a:pt x="630" y="692"/>
                    </a:lnTo>
                    <a:lnTo>
                      <a:pt x="641" y="682"/>
                    </a:lnTo>
                    <a:lnTo>
                      <a:pt x="652" y="673"/>
                    </a:lnTo>
                    <a:lnTo>
                      <a:pt x="666" y="665"/>
                    </a:lnTo>
                    <a:lnTo>
                      <a:pt x="679" y="657"/>
                    </a:lnTo>
                    <a:lnTo>
                      <a:pt x="695" y="651"/>
                    </a:lnTo>
                    <a:lnTo>
                      <a:pt x="729" y="639"/>
                    </a:lnTo>
                    <a:lnTo>
                      <a:pt x="770" y="627"/>
                    </a:lnTo>
                    <a:lnTo>
                      <a:pt x="781" y="623"/>
                    </a:lnTo>
                    <a:lnTo>
                      <a:pt x="791" y="619"/>
                    </a:lnTo>
                    <a:lnTo>
                      <a:pt x="799" y="616"/>
                    </a:lnTo>
                    <a:lnTo>
                      <a:pt x="806" y="611"/>
                    </a:lnTo>
                    <a:lnTo>
                      <a:pt x="813" y="606"/>
                    </a:lnTo>
                    <a:lnTo>
                      <a:pt x="817" y="601"/>
                    </a:lnTo>
                    <a:lnTo>
                      <a:pt x="821" y="596"/>
                    </a:lnTo>
                    <a:lnTo>
                      <a:pt x="824" y="590"/>
                    </a:lnTo>
                    <a:lnTo>
                      <a:pt x="826" y="584"/>
                    </a:lnTo>
                    <a:lnTo>
                      <a:pt x="827" y="578"/>
                    </a:lnTo>
                    <a:lnTo>
                      <a:pt x="827" y="572"/>
                    </a:lnTo>
                    <a:lnTo>
                      <a:pt x="827" y="566"/>
                    </a:lnTo>
                    <a:lnTo>
                      <a:pt x="825" y="552"/>
                    </a:lnTo>
                    <a:lnTo>
                      <a:pt x="820" y="537"/>
                    </a:lnTo>
                    <a:lnTo>
                      <a:pt x="809" y="506"/>
                    </a:lnTo>
                    <a:lnTo>
                      <a:pt x="795" y="473"/>
                    </a:lnTo>
                    <a:lnTo>
                      <a:pt x="791" y="455"/>
                    </a:lnTo>
                    <a:lnTo>
                      <a:pt x="786" y="438"/>
                    </a:lnTo>
                    <a:lnTo>
                      <a:pt x="784" y="428"/>
                    </a:lnTo>
                    <a:lnTo>
                      <a:pt x="784" y="420"/>
                    </a:lnTo>
                    <a:lnTo>
                      <a:pt x="784" y="410"/>
                    </a:lnTo>
                    <a:lnTo>
                      <a:pt x="786" y="402"/>
                    </a:lnTo>
                    <a:lnTo>
                      <a:pt x="787" y="383"/>
                    </a:lnTo>
                    <a:lnTo>
                      <a:pt x="787" y="370"/>
                    </a:lnTo>
                    <a:lnTo>
                      <a:pt x="786" y="365"/>
                    </a:lnTo>
                    <a:lnTo>
                      <a:pt x="784" y="360"/>
                    </a:lnTo>
                    <a:lnTo>
                      <a:pt x="783" y="356"/>
                    </a:lnTo>
                    <a:lnTo>
                      <a:pt x="781" y="354"/>
                    </a:lnTo>
                    <a:lnTo>
                      <a:pt x="778" y="353"/>
                    </a:lnTo>
                    <a:lnTo>
                      <a:pt x="776" y="351"/>
                    </a:lnTo>
                    <a:lnTo>
                      <a:pt x="773" y="350"/>
                    </a:lnTo>
                    <a:lnTo>
                      <a:pt x="770" y="351"/>
                    </a:lnTo>
                    <a:lnTo>
                      <a:pt x="762" y="353"/>
                    </a:lnTo>
                    <a:lnTo>
                      <a:pt x="755" y="356"/>
                    </a:lnTo>
                    <a:lnTo>
                      <a:pt x="737" y="368"/>
                    </a:lnTo>
                    <a:lnTo>
                      <a:pt x="717" y="383"/>
                    </a:lnTo>
                    <a:lnTo>
                      <a:pt x="707" y="390"/>
                    </a:lnTo>
                    <a:lnTo>
                      <a:pt x="697" y="397"/>
                    </a:lnTo>
                    <a:lnTo>
                      <a:pt x="688" y="403"/>
                    </a:lnTo>
                    <a:lnTo>
                      <a:pt x="678" y="408"/>
                    </a:lnTo>
                    <a:lnTo>
                      <a:pt x="673" y="409"/>
                    </a:lnTo>
                    <a:lnTo>
                      <a:pt x="668" y="410"/>
                    </a:lnTo>
                    <a:lnTo>
                      <a:pt x="662" y="409"/>
                    </a:lnTo>
                    <a:lnTo>
                      <a:pt x="657" y="409"/>
                    </a:lnTo>
                    <a:lnTo>
                      <a:pt x="647" y="404"/>
                    </a:lnTo>
                    <a:lnTo>
                      <a:pt x="636" y="397"/>
                    </a:lnTo>
                    <a:lnTo>
                      <a:pt x="626" y="388"/>
                    </a:lnTo>
                    <a:lnTo>
                      <a:pt x="617" y="377"/>
                    </a:lnTo>
                    <a:lnTo>
                      <a:pt x="607" y="365"/>
                    </a:lnTo>
                    <a:lnTo>
                      <a:pt x="597" y="353"/>
                    </a:lnTo>
                    <a:lnTo>
                      <a:pt x="579" y="327"/>
                    </a:lnTo>
                    <a:lnTo>
                      <a:pt x="562" y="302"/>
                    </a:lnTo>
                    <a:lnTo>
                      <a:pt x="554" y="293"/>
                    </a:lnTo>
                    <a:lnTo>
                      <a:pt x="548" y="284"/>
                    </a:lnTo>
                    <a:lnTo>
                      <a:pt x="542" y="279"/>
                    </a:lnTo>
                    <a:lnTo>
                      <a:pt x="537" y="275"/>
                    </a:lnTo>
                    <a:lnTo>
                      <a:pt x="532" y="275"/>
                    </a:lnTo>
                    <a:lnTo>
                      <a:pt x="527" y="277"/>
                    </a:lnTo>
                    <a:lnTo>
                      <a:pt x="521" y="279"/>
                    </a:lnTo>
                    <a:lnTo>
                      <a:pt x="515" y="282"/>
                    </a:lnTo>
                    <a:lnTo>
                      <a:pt x="499" y="290"/>
                    </a:lnTo>
                    <a:lnTo>
                      <a:pt x="481" y="301"/>
                    </a:lnTo>
                    <a:lnTo>
                      <a:pt x="447" y="323"/>
                    </a:lnTo>
                    <a:lnTo>
                      <a:pt x="422" y="339"/>
                    </a:lnTo>
                    <a:lnTo>
                      <a:pt x="409" y="346"/>
                    </a:lnTo>
                    <a:lnTo>
                      <a:pt x="395" y="351"/>
                    </a:lnTo>
                    <a:lnTo>
                      <a:pt x="383" y="355"/>
                    </a:lnTo>
                    <a:lnTo>
                      <a:pt x="372" y="356"/>
                    </a:lnTo>
                    <a:lnTo>
                      <a:pt x="361" y="355"/>
                    </a:lnTo>
                    <a:lnTo>
                      <a:pt x="351" y="353"/>
                    </a:lnTo>
                    <a:lnTo>
                      <a:pt x="341" y="349"/>
                    </a:lnTo>
                    <a:lnTo>
                      <a:pt x="333" y="343"/>
                    </a:lnTo>
                    <a:lnTo>
                      <a:pt x="324" y="337"/>
                    </a:lnTo>
                    <a:lnTo>
                      <a:pt x="316" y="328"/>
                    </a:lnTo>
                    <a:lnTo>
                      <a:pt x="308" y="318"/>
                    </a:lnTo>
                    <a:lnTo>
                      <a:pt x="301" y="307"/>
                    </a:lnTo>
                    <a:lnTo>
                      <a:pt x="289" y="284"/>
                    </a:lnTo>
                    <a:lnTo>
                      <a:pt x="276" y="258"/>
                    </a:lnTo>
                    <a:lnTo>
                      <a:pt x="256" y="201"/>
                    </a:lnTo>
                    <a:lnTo>
                      <a:pt x="236" y="146"/>
                    </a:lnTo>
                    <a:lnTo>
                      <a:pt x="225" y="120"/>
                    </a:lnTo>
                    <a:lnTo>
                      <a:pt x="214" y="98"/>
                    </a:lnTo>
                    <a:lnTo>
                      <a:pt x="208" y="88"/>
                    </a:lnTo>
                    <a:lnTo>
                      <a:pt x="202" y="80"/>
                    </a:lnTo>
                    <a:lnTo>
                      <a:pt x="194" y="72"/>
                    </a:lnTo>
                    <a:lnTo>
                      <a:pt x="188" y="67"/>
                    </a:lnTo>
                    <a:lnTo>
                      <a:pt x="182" y="61"/>
                    </a:lnTo>
                    <a:lnTo>
                      <a:pt x="177" y="55"/>
                    </a:lnTo>
                    <a:lnTo>
                      <a:pt x="174" y="49"/>
                    </a:lnTo>
                    <a:lnTo>
                      <a:pt x="171" y="43"/>
                    </a:lnTo>
                    <a:lnTo>
                      <a:pt x="167" y="35"/>
                    </a:lnTo>
                    <a:lnTo>
                      <a:pt x="165" y="28"/>
                    </a:lnTo>
                    <a:lnTo>
                      <a:pt x="161" y="22"/>
                    </a:lnTo>
                    <a:lnTo>
                      <a:pt x="156" y="16"/>
                    </a:lnTo>
                    <a:lnTo>
                      <a:pt x="147" y="7"/>
                    </a:lnTo>
                    <a:lnTo>
                      <a:pt x="137" y="2"/>
                    </a:lnTo>
                    <a:lnTo>
                      <a:pt x="133" y="1"/>
                    </a:lnTo>
                    <a:lnTo>
                      <a:pt x="128" y="0"/>
                    </a:lnTo>
                    <a:lnTo>
                      <a:pt x="125" y="0"/>
                    </a:lnTo>
                    <a:lnTo>
                      <a:pt x="120" y="0"/>
                    </a:lnTo>
                    <a:lnTo>
                      <a:pt x="112" y="2"/>
                    </a:lnTo>
                    <a:lnTo>
                      <a:pt x="105" y="7"/>
                    </a:lnTo>
                    <a:lnTo>
                      <a:pt x="98" y="13"/>
                    </a:lnTo>
                    <a:lnTo>
                      <a:pt x="90" y="20"/>
                    </a:lnTo>
                    <a:lnTo>
                      <a:pt x="67" y="56"/>
                    </a:lnTo>
                    <a:lnTo>
                      <a:pt x="46" y="88"/>
                    </a:lnTo>
                    <a:lnTo>
                      <a:pt x="30" y="99"/>
                    </a:lnTo>
                    <a:lnTo>
                      <a:pt x="12" y="111"/>
                    </a:lnTo>
                    <a:lnTo>
                      <a:pt x="8" y="115"/>
                    </a:lnTo>
                    <a:lnTo>
                      <a:pt x="5" y="119"/>
                    </a:lnTo>
                    <a:lnTo>
                      <a:pt x="2" y="122"/>
                    </a:lnTo>
                    <a:lnTo>
                      <a:pt x="0" y="126"/>
                    </a:lnTo>
                    <a:lnTo>
                      <a:pt x="0" y="130"/>
                    </a:lnTo>
                    <a:lnTo>
                      <a:pt x="0" y="133"/>
                    </a:lnTo>
                    <a:lnTo>
                      <a:pt x="2" y="137"/>
                    </a:lnTo>
                    <a:lnTo>
                      <a:pt x="6" y="142"/>
                    </a:lnTo>
                    <a:lnTo>
                      <a:pt x="17" y="144"/>
                    </a:lnTo>
                    <a:lnTo>
                      <a:pt x="28" y="148"/>
                    </a:lnTo>
                    <a:lnTo>
                      <a:pt x="40" y="152"/>
                    </a:lnTo>
                    <a:lnTo>
                      <a:pt x="51" y="155"/>
                    </a:lnTo>
                    <a:lnTo>
                      <a:pt x="63" y="157"/>
                    </a:lnTo>
                    <a:lnTo>
                      <a:pt x="76" y="157"/>
                    </a:lnTo>
                    <a:lnTo>
                      <a:pt x="90" y="155"/>
                    </a:lnTo>
                    <a:lnTo>
                      <a:pt x="104" y="154"/>
                    </a:lnTo>
                    <a:lnTo>
                      <a:pt x="117" y="153"/>
                    </a:lnTo>
                    <a:lnTo>
                      <a:pt x="131" y="154"/>
                    </a:lnTo>
                    <a:lnTo>
                      <a:pt x="137" y="155"/>
                    </a:lnTo>
                    <a:lnTo>
                      <a:pt x="143" y="157"/>
                    </a:lnTo>
                    <a:lnTo>
                      <a:pt x="149" y="159"/>
                    </a:lnTo>
                    <a:lnTo>
                      <a:pt x="154" y="163"/>
                    </a:lnTo>
                    <a:lnTo>
                      <a:pt x="159" y="166"/>
                    </a:lnTo>
                    <a:lnTo>
                      <a:pt x="161" y="173"/>
                    </a:lnTo>
                    <a:lnTo>
                      <a:pt x="164" y="177"/>
                    </a:lnTo>
                    <a:lnTo>
                      <a:pt x="164" y="184"/>
                    </a:lnTo>
                    <a:lnTo>
                      <a:pt x="163" y="196"/>
                    </a:lnTo>
                    <a:lnTo>
                      <a:pt x="160" y="208"/>
                    </a:lnTo>
                    <a:lnTo>
                      <a:pt x="160" y="222"/>
                    </a:lnTo>
                    <a:lnTo>
                      <a:pt x="160" y="234"/>
                    </a:lnTo>
                    <a:lnTo>
                      <a:pt x="163" y="246"/>
                    </a:lnTo>
                    <a:lnTo>
                      <a:pt x="166" y="257"/>
                    </a:lnTo>
                    <a:lnTo>
                      <a:pt x="175" y="279"/>
                    </a:lnTo>
                    <a:lnTo>
                      <a:pt x="182" y="304"/>
                    </a:lnTo>
                    <a:lnTo>
                      <a:pt x="185" y="312"/>
                    </a:lnTo>
                    <a:lnTo>
                      <a:pt x="186" y="321"/>
                    </a:lnTo>
                    <a:lnTo>
                      <a:pt x="186" y="328"/>
                    </a:lnTo>
                    <a:lnTo>
                      <a:pt x="185" y="335"/>
                    </a:lnTo>
                    <a:lnTo>
                      <a:pt x="182" y="342"/>
                    </a:lnTo>
                    <a:lnTo>
                      <a:pt x="180" y="346"/>
                    </a:lnTo>
                    <a:lnTo>
                      <a:pt x="177" y="351"/>
                    </a:lnTo>
                    <a:lnTo>
                      <a:pt x="174" y="356"/>
                    </a:lnTo>
                    <a:lnTo>
                      <a:pt x="153" y="373"/>
                    </a:lnTo>
                    <a:lnTo>
                      <a:pt x="127" y="392"/>
                    </a:lnTo>
                    <a:lnTo>
                      <a:pt x="114" y="397"/>
                    </a:lnTo>
                    <a:lnTo>
                      <a:pt x="103" y="403"/>
                    </a:lnTo>
                    <a:lnTo>
                      <a:pt x="92" y="408"/>
                    </a:lnTo>
                    <a:lnTo>
                      <a:pt x="81" y="414"/>
                    </a:lnTo>
                    <a:lnTo>
                      <a:pt x="72" y="420"/>
                    </a:lnTo>
                    <a:lnTo>
                      <a:pt x="65" y="427"/>
                    </a:lnTo>
                    <a:lnTo>
                      <a:pt x="59" y="435"/>
                    </a:lnTo>
                    <a:lnTo>
                      <a:pt x="54" y="443"/>
                    </a:lnTo>
                    <a:lnTo>
                      <a:pt x="50" y="452"/>
                    </a:lnTo>
                    <a:lnTo>
                      <a:pt x="48" y="462"/>
                    </a:lnTo>
                    <a:lnTo>
                      <a:pt x="46" y="470"/>
                    </a:lnTo>
                    <a:lnTo>
                      <a:pt x="46" y="481"/>
                    </a:lnTo>
                    <a:lnTo>
                      <a:pt x="49" y="492"/>
                    </a:lnTo>
                    <a:lnTo>
                      <a:pt x="52" y="503"/>
                    </a:lnTo>
                    <a:lnTo>
                      <a:pt x="57" y="515"/>
                    </a:lnTo>
                    <a:lnTo>
                      <a:pt x="63" y="529"/>
                    </a:lnTo>
                    <a:lnTo>
                      <a:pt x="71" y="541"/>
                    </a:lnTo>
                    <a:lnTo>
                      <a:pt x="79" y="550"/>
                    </a:lnTo>
                    <a:lnTo>
                      <a:pt x="83" y="552"/>
                    </a:lnTo>
                    <a:lnTo>
                      <a:pt x="88" y="555"/>
                    </a:lnTo>
                    <a:lnTo>
                      <a:pt x="92" y="557"/>
                    </a:lnTo>
                    <a:lnTo>
                      <a:pt x="97" y="557"/>
                    </a:lnTo>
                    <a:lnTo>
                      <a:pt x="105" y="558"/>
                    </a:lnTo>
                    <a:lnTo>
                      <a:pt x="114" y="556"/>
                    </a:lnTo>
                    <a:lnTo>
                      <a:pt x="123" y="552"/>
                    </a:lnTo>
                    <a:lnTo>
                      <a:pt x="133" y="547"/>
                    </a:lnTo>
                    <a:lnTo>
                      <a:pt x="153" y="534"/>
                    </a:lnTo>
                    <a:lnTo>
                      <a:pt x="172" y="519"/>
                    </a:lnTo>
                    <a:lnTo>
                      <a:pt x="183" y="512"/>
                    </a:lnTo>
                    <a:lnTo>
                      <a:pt x="193" y="506"/>
                    </a:lnTo>
                    <a:lnTo>
                      <a:pt x="204" y="501"/>
                    </a:lnTo>
                    <a:lnTo>
                      <a:pt x="215" y="496"/>
                    </a:lnTo>
                    <a:lnTo>
                      <a:pt x="221" y="495"/>
                    </a:lnTo>
                    <a:lnTo>
                      <a:pt x="227" y="493"/>
                    </a:lnTo>
                    <a:lnTo>
                      <a:pt x="234" y="493"/>
                    </a:lnTo>
                    <a:lnTo>
                      <a:pt x="237" y="495"/>
                    </a:lnTo>
                    <a:lnTo>
                      <a:pt x="242" y="496"/>
                    </a:lnTo>
                    <a:lnTo>
                      <a:pt x="245" y="498"/>
                    </a:lnTo>
                    <a:lnTo>
                      <a:pt x="248" y="501"/>
                    </a:lnTo>
                    <a:lnTo>
                      <a:pt x="251" y="504"/>
                    </a:lnTo>
                    <a:lnTo>
                      <a:pt x="262" y="520"/>
                    </a:lnTo>
                    <a:lnTo>
                      <a:pt x="275" y="539"/>
                    </a:lnTo>
                    <a:lnTo>
                      <a:pt x="285" y="548"/>
                    </a:lnTo>
                    <a:lnTo>
                      <a:pt x="297" y="558"/>
                    </a:lnTo>
                    <a:lnTo>
                      <a:pt x="308" y="569"/>
                    </a:lnTo>
                    <a:lnTo>
                      <a:pt x="317" y="580"/>
                    </a:lnTo>
                    <a:lnTo>
                      <a:pt x="319" y="588"/>
                    </a:lnTo>
                    <a:lnTo>
                      <a:pt x="320" y="599"/>
                    </a:lnTo>
                    <a:lnTo>
                      <a:pt x="320" y="613"/>
                    </a:lnTo>
                    <a:lnTo>
                      <a:pt x="319" y="629"/>
                    </a:lnTo>
                    <a:lnTo>
                      <a:pt x="319" y="645"/>
                    </a:lnTo>
                    <a:lnTo>
                      <a:pt x="318" y="662"/>
                    </a:lnTo>
                    <a:lnTo>
                      <a:pt x="319" y="677"/>
                    </a:lnTo>
                    <a:lnTo>
                      <a:pt x="322" y="689"/>
                    </a:lnTo>
                    <a:lnTo>
                      <a:pt x="327" y="699"/>
                    </a:lnTo>
                    <a:lnTo>
                      <a:pt x="334" y="712"/>
                    </a:lnTo>
                    <a:lnTo>
                      <a:pt x="344" y="728"/>
                    </a:lnTo>
                    <a:lnTo>
                      <a:pt x="355" y="746"/>
                    </a:lnTo>
                    <a:lnTo>
                      <a:pt x="366" y="763"/>
                    </a:lnTo>
                    <a:lnTo>
                      <a:pt x="377" y="777"/>
                    </a:lnTo>
                    <a:lnTo>
                      <a:pt x="387" y="788"/>
                    </a:lnTo>
                    <a:lnTo>
                      <a:pt x="393" y="795"/>
                    </a:lnTo>
                    <a:lnTo>
                      <a:pt x="409" y="806"/>
                    </a:lnTo>
                    <a:lnTo>
                      <a:pt x="423" y="815"/>
                    </a:lnTo>
                    <a:lnTo>
                      <a:pt x="429" y="821"/>
                    </a:lnTo>
                    <a:lnTo>
                      <a:pt x="434" y="829"/>
                    </a:lnTo>
                    <a:lnTo>
                      <a:pt x="436" y="832"/>
                    </a:lnTo>
                    <a:lnTo>
                      <a:pt x="436" y="836"/>
                    </a:lnTo>
                    <a:lnTo>
                      <a:pt x="434" y="840"/>
                    </a:lnTo>
                    <a:lnTo>
                      <a:pt x="433" y="845"/>
                    </a:lnTo>
                    <a:lnTo>
                      <a:pt x="425" y="859"/>
                    </a:lnTo>
                    <a:lnTo>
                      <a:pt x="418" y="874"/>
                    </a:lnTo>
                    <a:lnTo>
                      <a:pt x="416" y="881"/>
                    </a:lnTo>
                    <a:lnTo>
                      <a:pt x="415" y="889"/>
                    </a:lnTo>
                    <a:lnTo>
                      <a:pt x="415" y="897"/>
                    </a:lnTo>
                    <a:lnTo>
                      <a:pt x="417" y="906"/>
                    </a:lnTo>
                    <a:lnTo>
                      <a:pt x="418" y="911"/>
                    </a:lnTo>
                    <a:lnTo>
                      <a:pt x="422" y="913"/>
                    </a:lnTo>
                    <a:lnTo>
                      <a:pt x="425" y="915"/>
                    </a:lnTo>
                    <a:lnTo>
                      <a:pt x="429" y="915"/>
                    </a:lnTo>
                    <a:lnTo>
                      <a:pt x="439" y="912"/>
                    </a:lnTo>
                    <a:lnTo>
                      <a:pt x="450" y="906"/>
                    </a:lnTo>
                    <a:lnTo>
                      <a:pt x="473" y="891"/>
                    </a:lnTo>
                    <a:lnTo>
                      <a:pt x="492" y="883"/>
                    </a:lnTo>
                    <a:lnTo>
                      <a:pt x="500" y="881"/>
                    </a:lnTo>
                    <a:lnTo>
                      <a:pt x="508" y="881"/>
                    </a:lnTo>
                    <a:lnTo>
                      <a:pt x="511" y="881"/>
                    </a:lnTo>
                    <a:lnTo>
                      <a:pt x="515" y="880"/>
                    </a:lnTo>
                    <a:lnTo>
                      <a:pt x="519" y="879"/>
                    </a:lnTo>
                    <a:lnTo>
                      <a:pt x="522" y="878"/>
                    </a:lnTo>
                    <a:lnTo>
                      <a:pt x="529" y="870"/>
                    </a:lnTo>
                    <a:lnTo>
                      <a:pt x="535" y="861"/>
                    </a:lnTo>
                    <a:lnTo>
                      <a:pt x="541" y="850"/>
                    </a:lnTo>
                    <a:lnTo>
                      <a:pt x="543" y="842"/>
                    </a:lnTo>
                    <a:lnTo>
                      <a:pt x="570" y="80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3" name="Freeform 54"/>
              <p:cNvSpPr>
                <a:spLocks/>
              </p:cNvSpPr>
              <p:nvPr/>
            </p:nvSpPr>
            <p:spPr bwMode="auto">
              <a:xfrm>
                <a:off x="2740025" y="6352568"/>
                <a:ext cx="49213" cy="85725"/>
              </a:xfrm>
              <a:custGeom>
                <a:avLst/>
                <a:gdLst>
                  <a:gd name="T0" fmla="*/ 14 w 123"/>
                  <a:gd name="T1" fmla="*/ 106 h 217"/>
                  <a:gd name="T2" fmla="*/ 12 w 123"/>
                  <a:gd name="T3" fmla="*/ 93 h 217"/>
                  <a:gd name="T4" fmla="*/ 4 w 123"/>
                  <a:gd name="T5" fmla="*/ 74 h 217"/>
                  <a:gd name="T6" fmla="*/ 0 w 123"/>
                  <a:gd name="T7" fmla="*/ 59 h 217"/>
                  <a:gd name="T8" fmla="*/ 4 w 123"/>
                  <a:gd name="T9" fmla="*/ 50 h 217"/>
                  <a:gd name="T10" fmla="*/ 20 w 123"/>
                  <a:gd name="T11" fmla="*/ 33 h 217"/>
                  <a:gd name="T12" fmla="*/ 40 w 123"/>
                  <a:gd name="T13" fmla="*/ 14 h 217"/>
                  <a:gd name="T14" fmla="*/ 55 w 123"/>
                  <a:gd name="T15" fmla="*/ 6 h 217"/>
                  <a:gd name="T16" fmla="*/ 68 w 123"/>
                  <a:gd name="T17" fmla="*/ 1 h 217"/>
                  <a:gd name="T18" fmla="*/ 79 w 123"/>
                  <a:gd name="T19" fmla="*/ 2 h 217"/>
                  <a:gd name="T20" fmla="*/ 85 w 123"/>
                  <a:gd name="T21" fmla="*/ 12 h 217"/>
                  <a:gd name="T22" fmla="*/ 87 w 123"/>
                  <a:gd name="T23" fmla="*/ 35 h 217"/>
                  <a:gd name="T24" fmla="*/ 88 w 123"/>
                  <a:gd name="T25" fmla="*/ 48 h 217"/>
                  <a:gd name="T26" fmla="*/ 91 w 123"/>
                  <a:gd name="T27" fmla="*/ 56 h 217"/>
                  <a:gd name="T28" fmla="*/ 100 w 123"/>
                  <a:gd name="T29" fmla="*/ 68 h 217"/>
                  <a:gd name="T30" fmla="*/ 112 w 123"/>
                  <a:gd name="T31" fmla="*/ 83 h 217"/>
                  <a:gd name="T32" fmla="*/ 118 w 123"/>
                  <a:gd name="T33" fmla="*/ 94 h 217"/>
                  <a:gd name="T34" fmla="*/ 120 w 123"/>
                  <a:gd name="T35" fmla="*/ 103 h 217"/>
                  <a:gd name="T36" fmla="*/ 113 w 123"/>
                  <a:gd name="T37" fmla="*/ 122 h 217"/>
                  <a:gd name="T38" fmla="*/ 106 w 123"/>
                  <a:gd name="T39" fmla="*/ 141 h 217"/>
                  <a:gd name="T40" fmla="*/ 107 w 123"/>
                  <a:gd name="T41" fmla="*/ 155 h 217"/>
                  <a:gd name="T42" fmla="*/ 117 w 123"/>
                  <a:gd name="T43" fmla="*/ 180 h 217"/>
                  <a:gd name="T44" fmla="*/ 123 w 123"/>
                  <a:gd name="T45" fmla="*/ 205 h 217"/>
                  <a:gd name="T46" fmla="*/ 122 w 123"/>
                  <a:gd name="T47" fmla="*/ 212 h 217"/>
                  <a:gd name="T48" fmla="*/ 117 w 123"/>
                  <a:gd name="T49" fmla="*/ 215 h 217"/>
                  <a:gd name="T50" fmla="*/ 109 w 123"/>
                  <a:gd name="T51" fmla="*/ 215 h 217"/>
                  <a:gd name="T52" fmla="*/ 91 w 123"/>
                  <a:gd name="T53" fmla="*/ 208 h 217"/>
                  <a:gd name="T54" fmla="*/ 69 w 123"/>
                  <a:gd name="T55" fmla="*/ 201 h 217"/>
                  <a:gd name="T56" fmla="*/ 52 w 123"/>
                  <a:gd name="T57" fmla="*/ 190 h 217"/>
                  <a:gd name="T58" fmla="*/ 44 w 123"/>
                  <a:gd name="T59" fmla="*/ 177 h 217"/>
                  <a:gd name="T60" fmla="*/ 35 w 123"/>
                  <a:gd name="T61" fmla="*/ 159 h 217"/>
                  <a:gd name="T62" fmla="*/ 14 w 123"/>
                  <a:gd name="T63" fmla="*/ 11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3" h="217">
                    <a:moveTo>
                      <a:pt x="14" y="114"/>
                    </a:moveTo>
                    <a:lnTo>
                      <a:pt x="14" y="106"/>
                    </a:lnTo>
                    <a:lnTo>
                      <a:pt x="14" y="100"/>
                    </a:lnTo>
                    <a:lnTo>
                      <a:pt x="12" y="93"/>
                    </a:lnTo>
                    <a:lnTo>
                      <a:pt x="9" y="87"/>
                    </a:lnTo>
                    <a:lnTo>
                      <a:pt x="4" y="74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2" y="55"/>
                    </a:lnTo>
                    <a:lnTo>
                      <a:pt x="4" y="50"/>
                    </a:lnTo>
                    <a:lnTo>
                      <a:pt x="9" y="45"/>
                    </a:lnTo>
                    <a:lnTo>
                      <a:pt x="20" y="33"/>
                    </a:lnTo>
                    <a:lnTo>
                      <a:pt x="34" y="21"/>
                    </a:lnTo>
                    <a:lnTo>
                      <a:pt x="40" y="14"/>
                    </a:lnTo>
                    <a:lnTo>
                      <a:pt x="47" y="10"/>
                    </a:lnTo>
                    <a:lnTo>
                      <a:pt x="55" y="6"/>
                    </a:lnTo>
                    <a:lnTo>
                      <a:pt x="62" y="2"/>
                    </a:lnTo>
                    <a:lnTo>
                      <a:pt x="68" y="1"/>
                    </a:lnTo>
                    <a:lnTo>
                      <a:pt x="74" y="0"/>
                    </a:lnTo>
                    <a:lnTo>
                      <a:pt x="79" y="2"/>
                    </a:lnTo>
                    <a:lnTo>
                      <a:pt x="83" y="5"/>
                    </a:lnTo>
                    <a:lnTo>
                      <a:pt x="85" y="12"/>
                    </a:lnTo>
                    <a:lnTo>
                      <a:pt x="87" y="23"/>
                    </a:lnTo>
                    <a:lnTo>
                      <a:pt x="87" y="35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9" y="52"/>
                    </a:lnTo>
                    <a:lnTo>
                      <a:pt x="91" y="56"/>
                    </a:lnTo>
                    <a:lnTo>
                      <a:pt x="94" y="60"/>
                    </a:lnTo>
                    <a:lnTo>
                      <a:pt x="100" y="68"/>
                    </a:lnTo>
                    <a:lnTo>
                      <a:pt x="106" y="76"/>
                    </a:lnTo>
                    <a:lnTo>
                      <a:pt x="112" y="83"/>
                    </a:lnTo>
                    <a:lnTo>
                      <a:pt x="117" y="90"/>
                    </a:lnTo>
                    <a:lnTo>
                      <a:pt x="118" y="94"/>
                    </a:lnTo>
                    <a:lnTo>
                      <a:pt x="120" y="99"/>
                    </a:lnTo>
                    <a:lnTo>
                      <a:pt x="120" y="103"/>
                    </a:lnTo>
                    <a:lnTo>
                      <a:pt x="118" y="108"/>
                    </a:lnTo>
                    <a:lnTo>
                      <a:pt x="113" y="122"/>
                    </a:lnTo>
                    <a:lnTo>
                      <a:pt x="107" y="134"/>
                    </a:lnTo>
                    <a:lnTo>
                      <a:pt x="106" y="141"/>
                    </a:lnTo>
                    <a:lnTo>
                      <a:pt x="106" y="147"/>
                    </a:lnTo>
                    <a:lnTo>
                      <a:pt x="107" y="155"/>
                    </a:lnTo>
                    <a:lnTo>
                      <a:pt x="111" y="164"/>
                    </a:lnTo>
                    <a:lnTo>
                      <a:pt x="117" y="180"/>
                    </a:lnTo>
                    <a:lnTo>
                      <a:pt x="122" y="201"/>
                    </a:lnTo>
                    <a:lnTo>
                      <a:pt x="123" y="205"/>
                    </a:lnTo>
                    <a:lnTo>
                      <a:pt x="123" y="209"/>
                    </a:lnTo>
                    <a:lnTo>
                      <a:pt x="122" y="212"/>
                    </a:lnTo>
                    <a:lnTo>
                      <a:pt x="120" y="214"/>
                    </a:lnTo>
                    <a:lnTo>
                      <a:pt x="117" y="215"/>
                    </a:lnTo>
                    <a:lnTo>
                      <a:pt x="113" y="217"/>
                    </a:lnTo>
                    <a:lnTo>
                      <a:pt x="109" y="215"/>
                    </a:lnTo>
                    <a:lnTo>
                      <a:pt x="102" y="212"/>
                    </a:lnTo>
                    <a:lnTo>
                      <a:pt x="91" y="208"/>
                    </a:lnTo>
                    <a:lnTo>
                      <a:pt x="80" y="204"/>
                    </a:lnTo>
                    <a:lnTo>
                      <a:pt x="69" y="201"/>
                    </a:lnTo>
                    <a:lnTo>
                      <a:pt x="60" y="194"/>
                    </a:lnTo>
                    <a:lnTo>
                      <a:pt x="52" y="190"/>
                    </a:lnTo>
                    <a:lnTo>
                      <a:pt x="47" y="183"/>
                    </a:lnTo>
                    <a:lnTo>
                      <a:pt x="44" y="177"/>
                    </a:lnTo>
                    <a:lnTo>
                      <a:pt x="41" y="171"/>
                    </a:lnTo>
                    <a:lnTo>
                      <a:pt x="35" y="159"/>
                    </a:lnTo>
                    <a:lnTo>
                      <a:pt x="28" y="146"/>
                    </a:lnTo>
                    <a:lnTo>
                      <a:pt x="14" y="1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Freeform 55"/>
              <p:cNvSpPr>
                <a:spLocks/>
              </p:cNvSpPr>
              <p:nvPr/>
            </p:nvSpPr>
            <p:spPr bwMode="auto">
              <a:xfrm>
                <a:off x="2805112" y="5903305"/>
                <a:ext cx="177800" cy="520700"/>
              </a:xfrm>
              <a:custGeom>
                <a:avLst/>
                <a:gdLst>
                  <a:gd name="T0" fmla="*/ 358 w 447"/>
                  <a:gd name="T1" fmla="*/ 1127 h 1309"/>
                  <a:gd name="T2" fmla="*/ 327 w 447"/>
                  <a:gd name="T3" fmla="*/ 1132 h 1309"/>
                  <a:gd name="T4" fmla="*/ 269 w 447"/>
                  <a:gd name="T5" fmla="*/ 1129 h 1309"/>
                  <a:gd name="T6" fmla="*/ 210 w 447"/>
                  <a:gd name="T7" fmla="*/ 1151 h 1309"/>
                  <a:gd name="T8" fmla="*/ 182 w 447"/>
                  <a:gd name="T9" fmla="*/ 1180 h 1309"/>
                  <a:gd name="T10" fmla="*/ 144 w 447"/>
                  <a:gd name="T11" fmla="*/ 1256 h 1309"/>
                  <a:gd name="T12" fmla="*/ 93 w 447"/>
                  <a:gd name="T13" fmla="*/ 1304 h 1309"/>
                  <a:gd name="T14" fmla="*/ 56 w 447"/>
                  <a:gd name="T15" fmla="*/ 1305 h 1309"/>
                  <a:gd name="T16" fmla="*/ 34 w 447"/>
                  <a:gd name="T17" fmla="*/ 1283 h 1309"/>
                  <a:gd name="T18" fmla="*/ 13 w 447"/>
                  <a:gd name="T19" fmla="*/ 1212 h 1309"/>
                  <a:gd name="T20" fmla="*/ 15 w 447"/>
                  <a:gd name="T21" fmla="*/ 1124 h 1309"/>
                  <a:gd name="T22" fmla="*/ 8 w 447"/>
                  <a:gd name="T23" fmla="*/ 1065 h 1309"/>
                  <a:gd name="T24" fmla="*/ 4 w 447"/>
                  <a:gd name="T25" fmla="*/ 1009 h 1309"/>
                  <a:gd name="T26" fmla="*/ 44 w 447"/>
                  <a:gd name="T27" fmla="*/ 985 h 1309"/>
                  <a:gd name="T28" fmla="*/ 106 w 447"/>
                  <a:gd name="T29" fmla="*/ 987 h 1309"/>
                  <a:gd name="T30" fmla="*/ 130 w 447"/>
                  <a:gd name="T31" fmla="*/ 958 h 1309"/>
                  <a:gd name="T32" fmla="*/ 180 w 447"/>
                  <a:gd name="T33" fmla="*/ 831 h 1309"/>
                  <a:gd name="T34" fmla="*/ 181 w 447"/>
                  <a:gd name="T35" fmla="*/ 800 h 1309"/>
                  <a:gd name="T36" fmla="*/ 153 w 447"/>
                  <a:gd name="T37" fmla="*/ 798 h 1309"/>
                  <a:gd name="T38" fmla="*/ 112 w 447"/>
                  <a:gd name="T39" fmla="*/ 792 h 1309"/>
                  <a:gd name="T40" fmla="*/ 72 w 447"/>
                  <a:gd name="T41" fmla="*/ 767 h 1309"/>
                  <a:gd name="T42" fmla="*/ 68 w 447"/>
                  <a:gd name="T43" fmla="*/ 739 h 1309"/>
                  <a:gd name="T44" fmla="*/ 130 w 447"/>
                  <a:gd name="T45" fmla="*/ 687 h 1309"/>
                  <a:gd name="T46" fmla="*/ 157 w 447"/>
                  <a:gd name="T47" fmla="*/ 651 h 1309"/>
                  <a:gd name="T48" fmla="*/ 148 w 447"/>
                  <a:gd name="T49" fmla="*/ 632 h 1309"/>
                  <a:gd name="T50" fmla="*/ 73 w 447"/>
                  <a:gd name="T51" fmla="*/ 591 h 1309"/>
                  <a:gd name="T52" fmla="*/ 24 w 447"/>
                  <a:gd name="T53" fmla="*/ 552 h 1309"/>
                  <a:gd name="T54" fmla="*/ 12 w 447"/>
                  <a:gd name="T55" fmla="*/ 485 h 1309"/>
                  <a:gd name="T56" fmla="*/ 28 w 447"/>
                  <a:gd name="T57" fmla="*/ 420 h 1309"/>
                  <a:gd name="T58" fmla="*/ 79 w 447"/>
                  <a:gd name="T59" fmla="*/ 332 h 1309"/>
                  <a:gd name="T60" fmla="*/ 68 w 447"/>
                  <a:gd name="T61" fmla="*/ 245 h 1309"/>
                  <a:gd name="T62" fmla="*/ 38 w 447"/>
                  <a:gd name="T63" fmla="*/ 105 h 1309"/>
                  <a:gd name="T64" fmla="*/ 45 w 447"/>
                  <a:gd name="T65" fmla="*/ 68 h 1309"/>
                  <a:gd name="T66" fmla="*/ 79 w 447"/>
                  <a:gd name="T67" fmla="*/ 66 h 1309"/>
                  <a:gd name="T68" fmla="*/ 126 w 447"/>
                  <a:gd name="T69" fmla="*/ 62 h 1309"/>
                  <a:gd name="T70" fmla="*/ 155 w 447"/>
                  <a:gd name="T71" fmla="*/ 29 h 1309"/>
                  <a:gd name="T72" fmla="*/ 208 w 447"/>
                  <a:gd name="T73" fmla="*/ 10 h 1309"/>
                  <a:gd name="T74" fmla="*/ 274 w 447"/>
                  <a:gd name="T75" fmla="*/ 7 h 1309"/>
                  <a:gd name="T76" fmla="*/ 294 w 447"/>
                  <a:gd name="T77" fmla="*/ 12 h 1309"/>
                  <a:gd name="T78" fmla="*/ 280 w 447"/>
                  <a:gd name="T79" fmla="*/ 72 h 1309"/>
                  <a:gd name="T80" fmla="*/ 247 w 447"/>
                  <a:gd name="T81" fmla="*/ 126 h 1309"/>
                  <a:gd name="T82" fmla="*/ 267 w 447"/>
                  <a:gd name="T83" fmla="*/ 176 h 1309"/>
                  <a:gd name="T84" fmla="*/ 307 w 447"/>
                  <a:gd name="T85" fmla="*/ 243 h 1309"/>
                  <a:gd name="T86" fmla="*/ 333 w 447"/>
                  <a:gd name="T87" fmla="*/ 281 h 1309"/>
                  <a:gd name="T88" fmla="*/ 372 w 447"/>
                  <a:gd name="T89" fmla="*/ 281 h 1309"/>
                  <a:gd name="T90" fmla="*/ 433 w 447"/>
                  <a:gd name="T91" fmla="*/ 268 h 1309"/>
                  <a:gd name="T92" fmla="*/ 445 w 447"/>
                  <a:gd name="T93" fmla="*/ 283 h 1309"/>
                  <a:gd name="T94" fmla="*/ 400 w 447"/>
                  <a:gd name="T95" fmla="*/ 343 h 1309"/>
                  <a:gd name="T96" fmla="*/ 377 w 447"/>
                  <a:gd name="T97" fmla="*/ 398 h 1309"/>
                  <a:gd name="T98" fmla="*/ 374 w 447"/>
                  <a:gd name="T99" fmla="*/ 472 h 1309"/>
                  <a:gd name="T100" fmla="*/ 319 w 447"/>
                  <a:gd name="T101" fmla="*/ 563 h 1309"/>
                  <a:gd name="T102" fmla="*/ 287 w 447"/>
                  <a:gd name="T103" fmla="*/ 673 h 1309"/>
                  <a:gd name="T104" fmla="*/ 278 w 447"/>
                  <a:gd name="T105" fmla="*/ 774 h 1309"/>
                  <a:gd name="T106" fmla="*/ 294 w 447"/>
                  <a:gd name="T107" fmla="*/ 823 h 1309"/>
                  <a:gd name="T108" fmla="*/ 345 w 447"/>
                  <a:gd name="T109" fmla="*/ 840 h 1309"/>
                  <a:gd name="T110" fmla="*/ 384 w 447"/>
                  <a:gd name="T111" fmla="*/ 858 h 1309"/>
                  <a:gd name="T112" fmla="*/ 388 w 447"/>
                  <a:gd name="T113" fmla="*/ 891 h 1309"/>
                  <a:gd name="T114" fmla="*/ 409 w 447"/>
                  <a:gd name="T115" fmla="*/ 935 h 1309"/>
                  <a:gd name="T116" fmla="*/ 410 w 447"/>
                  <a:gd name="T117" fmla="*/ 966 h 1309"/>
                  <a:gd name="T118" fmla="*/ 392 w 447"/>
                  <a:gd name="T119" fmla="*/ 1012 h 1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7" h="1309">
                    <a:moveTo>
                      <a:pt x="384" y="1036"/>
                    </a:moveTo>
                    <a:lnTo>
                      <a:pt x="373" y="1061"/>
                    </a:lnTo>
                    <a:lnTo>
                      <a:pt x="366" y="1081"/>
                    </a:lnTo>
                    <a:lnTo>
                      <a:pt x="362" y="1100"/>
                    </a:lnTo>
                    <a:lnTo>
                      <a:pt x="358" y="1127"/>
                    </a:lnTo>
                    <a:lnTo>
                      <a:pt x="354" y="1130"/>
                    </a:lnTo>
                    <a:lnTo>
                      <a:pt x="349" y="1131"/>
                    </a:lnTo>
                    <a:lnTo>
                      <a:pt x="343" y="1132"/>
                    </a:lnTo>
                    <a:lnTo>
                      <a:pt x="338" y="1132"/>
                    </a:lnTo>
                    <a:lnTo>
                      <a:pt x="327" y="1132"/>
                    </a:lnTo>
                    <a:lnTo>
                      <a:pt x="316" y="1131"/>
                    </a:lnTo>
                    <a:lnTo>
                      <a:pt x="305" y="1130"/>
                    </a:lnTo>
                    <a:lnTo>
                      <a:pt x="292" y="1127"/>
                    </a:lnTo>
                    <a:lnTo>
                      <a:pt x="281" y="1127"/>
                    </a:lnTo>
                    <a:lnTo>
                      <a:pt x="269" y="1129"/>
                    </a:lnTo>
                    <a:lnTo>
                      <a:pt x="250" y="1132"/>
                    </a:lnTo>
                    <a:lnTo>
                      <a:pt x="232" y="1138"/>
                    </a:lnTo>
                    <a:lnTo>
                      <a:pt x="225" y="1142"/>
                    </a:lnTo>
                    <a:lnTo>
                      <a:pt x="218" y="1146"/>
                    </a:lnTo>
                    <a:lnTo>
                      <a:pt x="210" y="1151"/>
                    </a:lnTo>
                    <a:lnTo>
                      <a:pt x="204" y="1156"/>
                    </a:lnTo>
                    <a:lnTo>
                      <a:pt x="198" y="1160"/>
                    </a:lnTo>
                    <a:lnTo>
                      <a:pt x="193" y="1167"/>
                    </a:lnTo>
                    <a:lnTo>
                      <a:pt x="187" y="1173"/>
                    </a:lnTo>
                    <a:lnTo>
                      <a:pt x="182" y="1180"/>
                    </a:lnTo>
                    <a:lnTo>
                      <a:pt x="174" y="1196"/>
                    </a:lnTo>
                    <a:lnTo>
                      <a:pt x="166" y="1214"/>
                    </a:lnTo>
                    <a:lnTo>
                      <a:pt x="160" y="1229"/>
                    </a:lnTo>
                    <a:lnTo>
                      <a:pt x="153" y="1242"/>
                    </a:lnTo>
                    <a:lnTo>
                      <a:pt x="144" y="1256"/>
                    </a:lnTo>
                    <a:lnTo>
                      <a:pt x="134" y="1268"/>
                    </a:lnTo>
                    <a:lnTo>
                      <a:pt x="125" y="1279"/>
                    </a:lnTo>
                    <a:lnTo>
                      <a:pt x="115" y="1289"/>
                    </a:lnTo>
                    <a:lnTo>
                      <a:pt x="104" y="1298"/>
                    </a:lnTo>
                    <a:lnTo>
                      <a:pt x="93" y="1304"/>
                    </a:lnTo>
                    <a:lnTo>
                      <a:pt x="82" y="1307"/>
                    </a:lnTo>
                    <a:lnTo>
                      <a:pt x="71" y="1309"/>
                    </a:lnTo>
                    <a:lnTo>
                      <a:pt x="66" y="1309"/>
                    </a:lnTo>
                    <a:lnTo>
                      <a:pt x="61" y="1307"/>
                    </a:lnTo>
                    <a:lnTo>
                      <a:pt x="56" y="1305"/>
                    </a:lnTo>
                    <a:lnTo>
                      <a:pt x="51" y="1302"/>
                    </a:lnTo>
                    <a:lnTo>
                      <a:pt x="46" y="1299"/>
                    </a:lnTo>
                    <a:lnTo>
                      <a:pt x="43" y="1295"/>
                    </a:lnTo>
                    <a:lnTo>
                      <a:pt x="39" y="1289"/>
                    </a:lnTo>
                    <a:lnTo>
                      <a:pt x="34" y="1283"/>
                    </a:lnTo>
                    <a:lnTo>
                      <a:pt x="32" y="1276"/>
                    </a:lnTo>
                    <a:lnTo>
                      <a:pt x="28" y="1267"/>
                    </a:lnTo>
                    <a:lnTo>
                      <a:pt x="26" y="1258"/>
                    </a:lnTo>
                    <a:lnTo>
                      <a:pt x="23" y="1247"/>
                    </a:lnTo>
                    <a:lnTo>
                      <a:pt x="13" y="1212"/>
                    </a:lnTo>
                    <a:lnTo>
                      <a:pt x="6" y="1186"/>
                    </a:lnTo>
                    <a:lnTo>
                      <a:pt x="5" y="1174"/>
                    </a:lnTo>
                    <a:lnTo>
                      <a:pt x="6" y="1160"/>
                    </a:lnTo>
                    <a:lnTo>
                      <a:pt x="8" y="1144"/>
                    </a:lnTo>
                    <a:lnTo>
                      <a:pt x="15" y="1124"/>
                    </a:lnTo>
                    <a:lnTo>
                      <a:pt x="17" y="1115"/>
                    </a:lnTo>
                    <a:lnTo>
                      <a:pt x="18" y="1105"/>
                    </a:lnTo>
                    <a:lnTo>
                      <a:pt x="17" y="1096"/>
                    </a:lnTo>
                    <a:lnTo>
                      <a:pt x="15" y="1085"/>
                    </a:lnTo>
                    <a:lnTo>
                      <a:pt x="8" y="1065"/>
                    </a:lnTo>
                    <a:lnTo>
                      <a:pt x="4" y="1044"/>
                    </a:lnTo>
                    <a:lnTo>
                      <a:pt x="1" y="1034"/>
                    </a:lnTo>
                    <a:lnTo>
                      <a:pt x="0" y="1026"/>
                    </a:lnTo>
                    <a:lnTo>
                      <a:pt x="1" y="1017"/>
                    </a:lnTo>
                    <a:lnTo>
                      <a:pt x="4" y="1009"/>
                    </a:lnTo>
                    <a:lnTo>
                      <a:pt x="7" y="1001"/>
                    </a:lnTo>
                    <a:lnTo>
                      <a:pt x="13" y="995"/>
                    </a:lnTo>
                    <a:lnTo>
                      <a:pt x="23" y="990"/>
                    </a:lnTo>
                    <a:lnTo>
                      <a:pt x="35" y="985"/>
                    </a:lnTo>
                    <a:lnTo>
                      <a:pt x="44" y="985"/>
                    </a:lnTo>
                    <a:lnTo>
                      <a:pt x="54" y="984"/>
                    </a:lnTo>
                    <a:lnTo>
                      <a:pt x="63" y="985"/>
                    </a:lnTo>
                    <a:lnTo>
                      <a:pt x="75" y="987"/>
                    </a:lnTo>
                    <a:lnTo>
                      <a:pt x="94" y="988"/>
                    </a:lnTo>
                    <a:lnTo>
                      <a:pt x="106" y="987"/>
                    </a:lnTo>
                    <a:lnTo>
                      <a:pt x="111" y="984"/>
                    </a:lnTo>
                    <a:lnTo>
                      <a:pt x="116" y="980"/>
                    </a:lnTo>
                    <a:lnTo>
                      <a:pt x="120" y="976"/>
                    </a:lnTo>
                    <a:lnTo>
                      <a:pt x="123" y="971"/>
                    </a:lnTo>
                    <a:lnTo>
                      <a:pt x="130" y="958"/>
                    </a:lnTo>
                    <a:lnTo>
                      <a:pt x="133" y="944"/>
                    </a:lnTo>
                    <a:lnTo>
                      <a:pt x="141" y="916"/>
                    </a:lnTo>
                    <a:lnTo>
                      <a:pt x="147" y="892"/>
                    </a:lnTo>
                    <a:lnTo>
                      <a:pt x="161" y="865"/>
                    </a:lnTo>
                    <a:lnTo>
                      <a:pt x="180" y="831"/>
                    </a:lnTo>
                    <a:lnTo>
                      <a:pt x="182" y="823"/>
                    </a:lnTo>
                    <a:lnTo>
                      <a:pt x="183" y="815"/>
                    </a:lnTo>
                    <a:lnTo>
                      <a:pt x="183" y="808"/>
                    </a:lnTo>
                    <a:lnTo>
                      <a:pt x="182" y="803"/>
                    </a:lnTo>
                    <a:lnTo>
                      <a:pt x="181" y="800"/>
                    </a:lnTo>
                    <a:lnTo>
                      <a:pt x="179" y="798"/>
                    </a:lnTo>
                    <a:lnTo>
                      <a:pt x="176" y="797"/>
                    </a:lnTo>
                    <a:lnTo>
                      <a:pt x="172" y="797"/>
                    </a:lnTo>
                    <a:lnTo>
                      <a:pt x="164" y="796"/>
                    </a:lnTo>
                    <a:lnTo>
                      <a:pt x="153" y="798"/>
                    </a:lnTo>
                    <a:lnTo>
                      <a:pt x="148" y="798"/>
                    </a:lnTo>
                    <a:lnTo>
                      <a:pt x="142" y="798"/>
                    </a:lnTo>
                    <a:lnTo>
                      <a:pt x="136" y="798"/>
                    </a:lnTo>
                    <a:lnTo>
                      <a:pt x="128" y="796"/>
                    </a:lnTo>
                    <a:lnTo>
                      <a:pt x="112" y="792"/>
                    </a:lnTo>
                    <a:lnTo>
                      <a:pt x="97" y="785"/>
                    </a:lnTo>
                    <a:lnTo>
                      <a:pt x="90" y="781"/>
                    </a:lnTo>
                    <a:lnTo>
                      <a:pt x="83" y="777"/>
                    </a:lnTo>
                    <a:lnTo>
                      <a:pt x="77" y="772"/>
                    </a:lnTo>
                    <a:lnTo>
                      <a:pt x="72" y="767"/>
                    </a:lnTo>
                    <a:lnTo>
                      <a:pt x="68" y="763"/>
                    </a:lnTo>
                    <a:lnTo>
                      <a:pt x="66" y="756"/>
                    </a:lnTo>
                    <a:lnTo>
                      <a:pt x="65" y="751"/>
                    </a:lnTo>
                    <a:lnTo>
                      <a:pt x="65" y="745"/>
                    </a:lnTo>
                    <a:lnTo>
                      <a:pt x="68" y="739"/>
                    </a:lnTo>
                    <a:lnTo>
                      <a:pt x="73" y="733"/>
                    </a:lnTo>
                    <a:lnTo>
                      <a:pt x="81" y="726"/>
                    </a:lnTo>
                    <a:lnTo>
                      <a:pt x="89" y="718"/>
                    </a:lnTo>
                    <a:lnTo>
                      <a:pt x="110" y="703"/>
                    </a:lnTo>
                    <a:lnTo>
                      <a:pt x="130" y="687"/>
                    </a:lnTo>
                    <a:lnTo>
                      <a:pt x="139" y="679"/>
                    </a:lnTo>
                    <a:lnTo>
                      <a:pt x="147" y="671"/>
                    </a:lnTo>
                    <a:lnTo>
                      <a:pt x="153" y="662"/>
                    </a:lnTo>
                    <a:lnTo>
                      <a:pt x="155" y="655"/>
                    </a:lnTo>
                    <a:lnTo>
                      <a:pt x="157" y="651"/>
                    </a:lnTo>
                    <a:lnTo>
                      <a:pt x="157" y="646"/>
                    </a:lnTo>
                    <a:lnTo>
                      <a:pt x="155" y="643"/>
                    </a:lnTo>
                    <a:lnTo>
                      <a:pt x="154" y="639"/>
                    </a:lnTo>
                    <a:lnTo>
                      <a:pt x="152" y="635"/>
                    </a:lnTo>
                    <a:lnTo>
                      <a:pt x="148" y="632"/>
                    </a:lnTo>
                    <a:lnTo>
                      <a:pt x="143" y="628"/>
                    </a:lnTo>
                    <a:lnTo>
                      <a:pt x="137" y="624"/>
                    </a:lnTo>
                    <a:lnTo>
                      <a:pt x="111" y="611"/>
                    </a:lnTo>
                    <a:lnTo>
                      <a:pt x="86" y="598"/>
                    </a:lnTo>
                    <a:lnTo>
                      <a:pt x="73" y="591"/>
                    </a:lnTo>
                    <a:lnTo>
                      <a:pt x="62" y="585"/>
                    </a:lnTo>
                    <a:lnTo>
                      <a:pt x="51" y="578"/>
                    </a:lnTo>
                    <a:lnTo>
                      <a:pt x="40" y="569"/>
                    </a:lnTo>
                    <a:lnTo>
                      <a:pt x="32" y="560"/>
                    </a:lnTo>
                    <a:lnTo>
                      <a:pt x="24" y="552"/>
                    </a:lnTo>
                    <a:lnTo>
                      <a:pt x="18" y="541"/>
                    </a:lnTo>
                    <a:lnTo>
                      <a:pt x="13" y="529"/>
                    </a:lnTo>
                    <a:lnTo>
                      <a:pt x="11" y="515"/>
                    </a:lnTo>
                    <a:lnTo>
                      <a:pt x="11" y="501"/>
                    </a:lnTo>
                    <a:lnTo>
                      <a:pt x="12" y="485"/>
                    </a:lnTo>
                    <a:lnTo>
                      <a:pt x="17" y="466"/>
                    </a:lnTo>
                    <a:lnTo>
                      <a:pt x="17" y="454"/>
                    </a:lnTo>
                    <a:lnTo>
                      <a:pt x="19" y="442"/>
                    </a:lnTo>
                    <a:lnTo>
                      <a:pt x="23" y="431"/>
                    </a:lnTo>
                    <a:lnTo>
                      <a:pt x="28" y="420"/>
                    </a:lnTo>
                    <a:lnTo>
                      <a:pt x="40" y="399"/>
                    </a:lnTo>
                    <a:lnTo>
                      <a:pt x="54" y="381"/>
                    </a:lnTo>
                    <a:lnTo>
                      <a:pt x="66" y="361"/>
                    </a:lnTo>
                    <a:lnTo>
                      <a:pt x="76" y="341"/>
                    </a:lnTo>
                    <a:lnTo>
                      <a:pt x="79" y="332"/>
                    </a:lnTo>
                    <a:lnTo>
                      <a:pt x="82" y="321"/>
                    </a:lnTo>
                    <a:lnTo>
                      <a:pt x="83" y="310"/>
                    </a:lnTo>
                    <a:lnTo>
                      <a:pt x="82" y="297"/>
                    </a:lnTo>
                    <a:lnTo>
                      <a:pt x="77" y="278"/>
                    </a:lnTo>
                    <a:lnTo>
                      <a:pt x="68" y="245"/>
                    </a:lnTo>
                    <a:lnTo>
                      <a:pt x="57" y="205"/>
                    </a:lnTo>
                    <a:lnTo>
                      <a:pt x="46" y="163"/>
                    </a:lnTo>
                    <a:lnTo>
                      <a:pt x="43" y="143"/>
                    </a:lnTo>
                    <a:lnTo>
                      <a:pt x="39" y="123"/>
                    </a:lnTo>
                    <a:lnTo>
                      <a:pt x="38" y="105"/>
                    </a:lnTo>
                    <a:lnTo>
                      <a:pt x="38" y="90"/>
                    </a:lnTo>
                    <a:lnTo>
                      <a:pt x="39" y="83"/>
                    </a:lnTo>
                    <a:lnTo>
                      <a:pt x="40" y="78"/>
                    </a:lnTo>
                    <a:lnTo>
                      <a:pt x="43" y="73"/>
                    </a:lnTo>
                    <a:lnTo>
                      <a:pt x="45" y="68"/>
                    </a:lnTo>
                    <a:lnTo>
                      <a:pt x="49" y="66"/>
                    </a:lnTo>
                    <a:lnTo>
                      <a:pt x="54" y="63"/>
                    </a:lnTo>
                    <a:lnTo>
                      <a:pt x="59" y="63"/>
                    </a:lnTo>
                    <a:lnTo>
                      <a:pt x="65" y="63"/>
                    </a:lnTo>
                    <a:lnTo>
                      <a:pt x="79" y="66"/>
                    </a:lnTo>
                    <a:lnTo>
                      <a:pt x="93" y="67"/>
                    </a:lnTo>
                    <a:lnTo>
                      <a:pt x="104" y="68"/>
                    </a:lnTo>
                    <a:lnTo>
                      <a:pt x="112" y="67"/>
                    </a:lnTo>
                    <a:lnTo>
                      <a:pt x="120" y="65"/>
                    </a:lnTo>
                    <a:lnTo>
                      <a:pt x="126" y="62"/>
                    </a:lnTo>
                    <a:lnTo>
                      <a:pt x="131" y="59"/>
                    </a:lnTo>
                    <a:lnTo>
                      <a:pt x="134" y="55"/>
                    </a:lnTo>
                    <a:lnTo>
                      <a:pt x="142" y="45"/>
                    </a:lnTo>
                    <a:lnTo>
                      <a:pt x="150" y="35"/>
                    </a:lnTo>
                    <a:lnTo>
                      <a:pt x="155" y="29"/>
                    </a:lnTo>
                    <a:lnTo>
                      <a:pt x="163" y="24"/>
                    </a:lnTo>
                    <a:lnTo>
                      <a:pt x="170" y="19"/>
                    </a:lnTo>
                    <a:lnTo>
                      <a:pt x="181" y="16"/>
                    </a:lnTo>
                    <a:lnTo>
                      <a:pt x="194" y="12"/>
                    </a:lnTo>
                    <a:lnTo>
                      <a:pt x="208" y="10"/>
                    </a:lnTo>
                    <a:lnTo>
                      <a:pt x="223" y="10"/>
                    </a:lnTo>
                    <a:lnTo>
                      <a:pt x="239" y="10"/>
                    </a:lnTo>
                    <a:lnTo>
                      <a:pt x="253" y="10"/>
                    </a:lnTo>
                    <a:lnTo>
                      <a:pt x="268" y="8"/>
                    </a:lnTo>
                    <a:lnTo>
                      <a:pt x="274" y="7"/>
                    </a:lnTo>
                    <a:lnTo>
                      <a:pt x="280" y="6"/>
                    </a:lnTo>
                    <a:lnTo>
                      <a:pt x="286" y="3"/>
                    </a:lnTo>
                    <a:lnTo>
                      <a:pt x="292" y="0"/>
                    </a:lnTo>
                    <a:lnTo>
                      <a:pt x="294" y="5"/>
                    </a:lnTo>
                    <a:lnTo>
                      <a:pt x="294" y="12"/>
                    </a:lnTo>
                    <a:lnTo>
                      <a:pt x="291" y="24"/>
                    </a:lnTo>
                    <a:lnTo>
                      <a:pt x="289" y="36"/>
                    </a:lnTo>
                    <a:lnTo>
                      <a:pt x="286" y="50"/>
                    </a:lnTo>
                    <a:lnTo>
                      <a:pt x="283" y="62"/>
                    </a:lnTo>
                    <a:lnTo>
                      <a:pt x="280" y="72"/>
                    </a:lnTo>
                    <a:lnTo>
                      <a:pt x="278" y="77"/>
                    </a:lnTo>
                    <a:lnTo>
                      <a:pt x="265" y="90"/>
                    </a:lnTo>
                    <a:lnTo>
                      <a:pt x="256" y="104"/>
                    </a:lnTo>
                    <a:lnTo>
                      <a:pt x="250" y="115"/>
                    </a:lnTo>
                    <a:lnTo>
                      <a:pt x="247" y="126"/>
                    </a:lnTo>
                    <a:lnTo>
                      <a:pt x="246" y="134"/>
                    </a:lnTo>
                    <a:lnTo>
                      <a:pt x="247" y="143"/>
                    </a:lnTo>
                    <a:lnTo>
                      <a:pt x="250" y="152"/>
                    </a:lnTo>
                    <a:lnTo>
                      <a:pt x="254" y="160"/>
                    </a:lnTo>
                    <a:lnTo>
                      <a:pt x="267" y="176"/>
                    </a:lnTo>
                    <a:lnTo>
                      <a:pt x="280" y="194"/>
                    </a:lnTo>
                    <a:lnTo>
                      <a:pt x="289" y="205"/>
                    </a:lnTo>
                    <a:lnTo>
                      <a:pt x="295" y="216"/>
                    </a:lnTo>
                    <a:lnTo>
                      <a:pt x="302" y="229"/>
                    </a:lnTo>
                    <a:lnTo>
                      <a:pt x="307" y="243"/>
                    </a:lnTo>
                    <a:lnTo>
                      <a:pt x="313" y="259"/>
                    </a:lnTo>
                    <a:lnTo>
                      <a:pt x="321" y="270"/>
                    </a:lnTo>
                    <a:lnTo>
                      <a:pt x="324" y="275"/>
                    </a:lnTo>
                    <a:lnTo>
                      <a:pt x="328" y="279"/>
                    </a:lnTo>
                    <a:lnTo>
                      <a:pt x="333" y="281"/>
                    </a:lnTo>
                    <a:lnTo>
                      <a:pt x="336" y="284"/>
                    </a:lnTo>
                    <a:lnTo>
                      <a:pt x="345" y="286"/>
                    </a:lnTo>
                    <a:lnTo>
                      <a:pt x="354" y="286"/>
                    </a:lnTo>
                    <a:lnTo>
                      <a:pt x="362" y="285"/>
                    </a:lnTo>
                    <a:lnTo>
                      <a:pt x="372" y="281"/>
                    </a:lnTo>
                    <a:lnTo>
                      <a:pt x="390" y="275"/>
                    </a:lnTo>
                    <a:lnTo>
                      <a:pt x="410" y="269"/>
                    </a:lnTo>
                    <a:lnTo>
                      <a:pt x="420" y="267"/>
                    </a:lnTo>
                    <a:lnTo>
                      <a:pt x="428" y="268"/>
                    </a:lnTo>
                    <a:lnTo>
                      <a:pt x="433" y="268"/>
                    </a:lnTo>
                    <a:lnTo>
                      <a:pt x="438" y="270"/>
                    </a:lnTo>
                    <a:lnTo>
                      <a:pt x="443" y="272"/>
                    </a:lnTo>
                    <a:lnTo>
                      <a:pt x="447" y="275"/>
                    </a:lnTo>
                    <a:lnTo>
                      <a:pt x="447" y="279"/>
                    </a:lnTo>
                    <a:lnTo>
                      <a:pt x="445" y="283"/>
                    </a:lnTo>
                    <a:lnTo>
                      <a:pt x="442" y="287"/>
                    </a:lnTo>
                    <a:lnTo>
                      <a:pt x="439" y="294"/>
                    </a:lnTo>
                    <a:lnTo>
                      <a:pt x="431" y="305"/>
                    </a:lnTo>
                    <a:lnTo>
                      <a:pt x="421" y="318"/>
                    </a:lnTo>
                    <a:lnTo>
                      <a:pt x="400" y="343"/>
                    </a:lnTo>
                    <a:lnTo>
                      <a:pt x="385" y="362"/>
                    </a:lnTo>
                    <a:lnTo>
                      <a:pt x="382" y="372"/>
                    </a:lnTo>
                    <a:lnTo>
                      <a:pt x="379" y="381"/>
                    </a:lnTo>
                    <a:lnTo>
                      <a:pt x="377" y="389"/>
                    </a:lnTo>
                    <a:lnTo>
                      <a:pt x="377" y="398"/>
                    </a:lnTo>
                    <a:lnTo>
                      <a:pt x="376" y="415"/>
                    </a:lnTo>
                    <a:lnTo>
                      <a:pt x="377" y="431"/>
                    </a:lnTo>
                    <a:lnTo>
                      <a:pt x="377" y="448"/>
                    </a:lnTo>
                    <a:lnTo>
                      <a:pt x="376" y="464"/>
                    </a:lnTo>
                    <a:lnTo>
                      <a:pt x="374" y="472"/>
                    </a:lnTo>
                    <a:lnTo>
                      <a:pt x="372" y="480"/>
                    </a:lnTo>
                    <a:lnTo>
                      <a:pt x="368" y="488"/>
                    </a:lnTo>
                    <a:lnTo>
                      <a:pt x="363" y="497"/>
                    </a:lnTo>
                    <a:lnTo>
                      <a:pt x="338" y="535"/>
                    </a:lnTo>
                    <a:lnTo>
                      <a:pt x="319" y="563"/>
                    </a:lnTo>
                    <a:lnTo>
                      <a:pt x="312" y="578"/>
                    </a:lnTo>
                    <a:lnTo>
                      <a:pt x="306" y="594"/>
                    </a:lnTo>
                    <a:lnTo>
                      <a:pt x="300" y="614"/>
                    </a:lnTo>
                    <a:lnTo>
                      <a:pt x="292" y="640"/>
                    </a:lnTo>
                    <a:lnTo>
                      <a:pt x="287" y="673"/>
                    </a:lnTo>
                    <a:lnTo>
                      <a:pt x="283" y="706"/>
                    </a:lnTo>
                    <a:lnTo>
                      <a:pt x="280" y="723"/>
                    </a:lnTo>
                    <a:lnTo>
                      <a:pt x="279" y="740"/>
                    </a:lnTo>
                    <a:lnTo>
                      <a:pt x="278" y="758"/>
                    </a:lnTo>
                    <a:lnTo>
                      <a:pt x="278" y="774"/>
                    </a:lnTo>
                    <a:lnTo>
                      <a:pt x="279" y="788"/>
                    </a:lnTo>
                    <a:lnTo>
                      <a:pt x="281" y="800"/>
                    </a:lnTo>
                    <a:lnTo>
                      <a:pt x="284" y="809"/>
                    </a:lnTo>
                    <a:lnTo>
                      <a:pt x="289" y="818"/>
                    </a:lnTo>
                    <a:lnTo>
                      <a:pt x="294" y="823"/>
                    </a:lnTo>
                    <a:lnTo>
                      <a:pt x="300" y="827"/>
                    </a:lnTo>
                    <a:lnTo>
                      <a:pt x="306" y="831"/>
                    </a:lnTo>
                    <a:lnTo>
                      <a:pt x="313" y="834"/>
                    </a:lnTo>
                    <a:lnTo>
                      <a:pt x="329" y="836"/>
                    </a:lnTo>
                    <a:lnTo>
                      <a:pt x="345" y="840"/>
                    </a:lnTo>
                    <a:lnTo>
                      <a:pt x="354" y="841"/>
                    </a:lnTo>
                    <a:lnTo>
                      <a:pt x="363" y="845"/>
                    </a:lnTo>
                    <a:lnTo>
                      <a:pt x="372" y="848"/>
                    </a:lnTo>
                    <a:lnTo>
                      <a:pt x="379" y="853"/>
                    </a:lnTo>
                    <a:lnTo>
                      <a:pt x="384" y="858"/>
                    </a:lnTo>
                    <a:lnTo>
                      <a:pt x="385" y="863"/>
                    </a:lnTo>
                    <a:lnTo>
                      <a:pt x="387" y="870"/>
                    </a:lnTo>
                    <a:lnTo>
                      <a:pt x="387" y="876"/>
                    </a:lnTo>
                    <a:lnTo>
                      <a:pt x="387" y="884"/>
                    </a:lnTo>
                    <a:lnTo>
                      <a:pt x="388" y="891"/>
                    </a:lnTo>
                    <a:lnTo>
                      <a:pt x="388" y="898"/>
                    </a:lnTo>
                    <a:lnTo>
                      <a:pt x="390" y="905"/>
                    </a:lnTo>
                    <a:lnTo>
                      <a:pt x="396" y="914"/>
                    </a:lnTo>
                    <a:lnTo>
                      <a:pt x="405" y="928"/>
                    </a:lnTo>
                    <a:lnTo>
                      <a:pt x="409" y="935"/>
                    </a:lnTo>
                    <a:lnTo>
                      <a:pt x="411" y="942"/>
                    </a:lnTo>
                    <a:lnTo>
                      <a:pt x="412" y="947"/>
                    </a:lnTo>
                    <a:lnTo>
                      <a:pt x="411" y="951"/>
                    </a:lnTo>
                    <a:lnTo>
                      <a:pt x="411" y="957"/>
                    </a:lnTo>
                    <a:lnTo>
                      <a:pt x="410" y="966"/>
                    </a:lnTo>
                    <a:lnTo>
                      <a:pt x="407" y="976"/>
                    </a:lnTo>
                    <a:lnTo>
                      <a:pt x="404" y="985"/>
                    </a:lnTo>
                    <a:lnTo>
                      <a:pt x="400" y="995"/>
                    </a:lnTo>
                    <a:lnTo>
                      <a:pt x="396" y="1004"/>
                    </a:lnTo>
                    <a:lnTo>
                      <a:pt x="392" y="1012"/>
                    </a:lnTo>
                    <a:lnTo>
                      <a:pt x="388" y="1017"/>
                    </a:lnTo>
                    <a:lnTo>
                      <a:pt x="384" y="1036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5" name="Freeform 56"/>
              <p:cNvSpPr>
                <a:spLocks/>
              </p:cNvSpPr>
              <p:nvPr/>
            </p:nvSpPr>
            <p:spPr bwMode="auto">
              <a:xfrm>
                <a:off x="2976562" y="6349393"/>
                <a:ext cx="25400" cy="23813"/>
              </a:xfrm>
              <a:custGeom>
                <a:avLst/>
                <a:gdLst>
                  <a:gd name="T0" fmla="*/ 8 w 62"/>
                  <a:gd name="T1" fmla="*/ 55 h 59"/>
                  <a:gd name="T2" fmla="*/ 3 w 62"/>
                  <a:gd name="T3" fmla="*/ 46 h 59"/>
                  <a:gd name="T4" fmla="*/ 1 w 62"/>
                  <a:gd name="T5" fmla="*/ 37 h 59"/>
                  <a:gd name="T6" fmla="*/ 0 w 62"/>
                  <a:gd name="T7" fmla="*/ 32 h 59"/>
                  <a:gd name="T8" fmla="*/ 0 w 62"/>
                  <a:gd name="T9" fmla="*/ 27 h 59"/>
                  <a:gd name="T10" fmla="*/ 0 w 62"/>
                  <a:gd name="T11" fmla="*/ 22 h 59"/>
                  <a:gd name="T12" fmla="*/ 1 w 62"/>
                  <a:gd name="T13" fmla="*/ 16 h 59"/>
                  <a:gd name="T14" fmla="*/ 2 w 62"/>
                  <a:gd name="T15" fmla="*/ 11 h 59"/>
                  <a:gd name="T16" fmla="*/ 5 w 62"/>
                  <a:gd name="T17" fmla="*/ 8 h 59"/>
                  <a:gd name="T18" fmla="*/ 7 w 62"/>
                  <a:gd name="T19" fmla="*/ 5 h 59"/>
                  <a:gd name="T20" fmla="*/ 11 w 62"/>
                  <a:gd name="T21" fmla="*/ 3 h 59"/>
                  <a:gd name="T22" fmla="*/ 18 w 62"/>
                  <a:gd name="T23" fmla="*/ 0 h 59"/>
                  <a:gd name="T24" fmla="*/ 28 w 62"/>
                  <a:gd name="T25" fmla="*/ 0 h 59"/>
                  <a:gd name="T26" fmla="*/ 34 w 62"/>
                  <a:gd name="T27" fmla="*/ 1 h 59"/>
                  <a:gd name="T28" fmla="*/ 40 w 62"/>
                  <a:gd name="T29" fmla="*/ 3 h 59"/>
                  <a:gd name="T30" fmla="*/ 47 w 62"/>
                  <a:gd name="T31" fmla="*/ 5 h 59"/>
                  <a:gd name="T32" fmla="*/ 52 w 62"/>
                  <a:gd name="T33" fmla="*/ 9 h 59"/>
                  <a:gd name="T34" fmla="*/ 57 w 62"/>
                  <a:gd name="T35" fmla="*/ 14 h 59"/>
                  <a:gd name="T36" fmla="*/ 61 w 62"/>
                  <a:gd name="T37" fmla="*/ 20 h 59"/>
                  <a:gd name="T38" fmla="*/ 62 w 62"/>
                  <a:gd name="T39" fmla="*/ 26 h 59"/>
                  <a:gd name="T40" fmla="*/ 62 w 62"/>
                  <a:gd name="T41" fmla="*/ 32 h 59"/>
                  <a:gd name="T42" fmla="*/ 61 w 62"/>
                  <a:gd name="T43" fmla="*/ 37 h 59"/>
                  <a:gd name="T44" fmla="*/ 58 w 62"/>
                  <a:gd name="T45" fmla="*/ 42 h 59"/>
                  <a:gd name="T46" fmla="*/ 55 w 62"/>
                  <a:gd name="T47" fmla="*/ 47 h 59"/>
                  <a:gd name="T48" fmla="*/ 51 w 62"/>
                  <a:gd name="T49" fmla="*/ 52 h 59"/>
                  <a:gd name="T50" fmla="*/ 46 w 62"/>
                  <a:gd name="T51" fmla="*/ 55 h 59"/>
                  <a:gd name="T52" fmla="*/ 41 w 62"/>
                  <a:gd name="T53" fmla="*/ 59 h 59"/>
                  <a:gd name="T54" fmla="*/ 36 w 62"/>
                  <a:gd name="T55" fmla="*/ 59 h 59"/>
                  <a:gd name="T56" fmla="*/ 32 w 62"/>
                  <a:gd name="T57" fmla="*/ 59 h 59"/>
                  <a:gd name="T58" fmla="*/ 8 w 62"/>
                  <a:gd name="T59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" h="59">
                    <a:moveTo>
                      <a:pt x="8" y="55"/>
                    </a:moveTo>
                    <a:lnTo>
                      <a:pt x="3" y="46"/>
                    </a:lnTo>
                    <a:lnTo>
                      <a:pt x="1" y="37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1" y="16"/>
                    </a:lnTo>
                    <a:lnTo>
                      <a:pt x="2" y="11"/>
                    </a:lnTo>
                    <a:lnTo>
                      <a:pt x="5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34" y="1"/>
                    </a:lnTo>
                    <a:lnTo>
                      <a:pt x="40" y="3"/>
                    </a:lnTo>
                    <a:lnTo>
                      <a:pt x="47" y="5"/>
                    </a:lnTo>
                    <a:lnTo>
                      <a:pt x="52" y="9"/>
                    </a:lnTo>
                    <a:lnTo>
                      <a:pt x="57" y="14"/>
                    </a:lnTo>
                    <a:lnTo>
                      <a:pt x="61" y="20"/>
                    </a:lnTo>
                    <a:lnTo>
                      <a:pt x="62" y="26"/>
                    </a:lnTo>
                    <a:lnTo>
                      <a:pt x="62" y="32"/>
                    </a:lnTo>
                    <a:lnTo>
                      <a:pt x="61" y="37"/>
                    </a:lnTo>
                    <a:lnTo>
                      <a:pt x="58" y="42"/>
                    </a:lnTo>
                    <a:lnTo>
                      <a:pt x="55" y="47"/>
                    </a:lnTo>
                    <a:lnTo>
                      <a:pt x="51" y="52"/>
                    </a:lnTo>
                    <a:lnTo>
                      <a:pt x="46" y="55"/>
                    </a:lnTo>
                    <a:lnTo>
                      <a:pt x="41" y="59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8" y="5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Freeform 57"/>
              <p:cNvSpPr>
                <a:spLocks/>
              </p:cNvSpPr>
              <p:nvPr/>
            </p:nvSpPr>
            <p:spPr bwMode="auto">
              <a:xfrm>
                <a:off x="2992437" y="6220805"/>
                <a:ext cx="304800" cy="88900"/>
              </a:xfrm>
              <a:custGeom>
                <a:avLst/>
                <a:gdLst>
                  <a:gd name="T0" fmla="*/ 430 w 767"/>
                  <a:gd name="T1" fmla="*/ 216 h 223"/>
                  <a:gd name="T2" fmla="*/ 361 w 767"/>
                  <a:gd name="T3" fmla="*/ 218 h 223"/>
                  <a:gd name="T4" fmla="*/ 334 w 767"/>
                  <a:gd name="T5" fmla="*/ 206 h 223"/>
                  <a:gd name="T6" fmla="*/ 312 w 767"/>
                  <a:gd name="T7" fmla="*/ 197 h 223"/>
                  <a:gd name="T8" fmla="*/ 292 w 767"/>
                  <a:gd name="T9" fmla="*/ 197 h 223"/>
                  <a:gd name="T10" fmla="*/ 266 w 767"/>
                  <a:gd name="T11" fmla="*/ 196 h 223"/>
                  <a:gd name="T12" fmla="*/ 228 w 767"/>
                  <a:gd name="T13" fmla="*/ 184 h 223"/>
                  <a:gd name="T14" fmla="*/ 190 w 767"/>
                  <a:gd name="T15" fmla="*/ 170 h 223"/>
                  <a:gd name="T16" fmla="*/ 166 w 767"/>
                  <a:gd name="T17" fmla="*/ 168 h 223"/>
                  <a:gd name="T18" fmla="*/ 128 w 767"/>
                  <a:gd name="T19" fmla="*/ 179 h 223"/>
                  <a:gd name="T20" fmla="*/ 75 w 767"/>
                  <a:gd name="T21" fmla="*/ 218 h 223"/>
                  <a:gd name="T22" fmla="*/ 57 w 767"/>
                  <a:gd name="T23" fmla="*/ 223 h 223"/>
                  <a:gd name="T24" fmla="*/ 41 w 767"/>
                  <a:gd name="T25" fmla="*/ 211 h 223"/>
                  <a:gd name="T26" fmla="*/ 17 w 767"/>
                  <a:gd name="T27" fmla="*/ 168 h 223"/>
                  <a:gd name="T28" fmla="*/ 6 w 767"/>
                  <a:gd name="T29" fmla="*/ 142 h 223"/>
                  <a:gd name="T30" fmla="*/ 2 w 767"/>
                  <a:gd name="T31" fmla="*/ 129 h 223"/>
                  <a:gd name="T32" fmla="*/ 2 w 767"/>
                  <a:gd name="T33" fmla="*/ 104 h 223"/>
                  <a:gd name="T34" fmla="*/ 10 w 767"/>
                  <a:gd name="T35" fmla="*/ 76 h 223"/>
                  <a:gd name="T36" fmla="*/ 25 w 767"/>
                  <a:gd name="T37" fmla="*/ 50 h 223"/>
                  <a:gd name="T38" fmla="*/ 42 w 767"/>
                  <a:gd name="T39" fmla="*/ 33 h 223"/>
                  <a:gd name="T40" fmla="*/ 80 w 767"/>
                  <a:gd name="T41" fmla="*/ 58 h 223"/>
                  <a:gd name="T42" fmla="*/ 128 w 767"/>
                  <a:gd name="T43" fmla="*/ 110 h 223"/>
                  <a:gd name="T44" fmla="*/ 157 w 767"/>
                  <a:gd name="T45" fmla="*/ 131 h 223"/>
                  <a:gd name="T46" fmla="*/ 175 w 767"/>
                  <a:gd name="T47" fmla="*/ 137 h 223"/>
                  <a:gd name="T48" fmla="*/ 195 w 767"/>
                  <a:gd name="T49" fmla="*/ 136 h 223"/>
                  <a:gd name="T50" fmla="*/ 217 w 767"/>
                  <a:gd name="T51" fmla="*/ 126 h 223"/>
                  <a:gd name="T52" fmla="*/ 240 w 767"/>
                  <a:gd name="T53" fmla="*/ 108 h 223"/>
                  <a:gd name="T54" fmla="*/ 266 w 767"/>
                  <a:gd name="T55" fmla="*/ 79 h 223"/>
                  <a:gd name="T56" fmla="*/ 303 w 767"/>
                  <a:gd name="T57" fmla="*/ 32 h 223"/>
                  <a:gd name="T58" fmla="*/ 334 w 767"/>
                  <a:gd name="T59" fmla="*/ 5 h 223"/>
                  <a:gd name="T60" fmla="*/ 359 w 767"/>
                  <a:gd name="T61" fmla="*/ 0 h 223"/>
                  <a:gd name="T62" fmla="*/ 382 w 767"/>
                  <a:gd name="T63" fmla="*/ 15 h 223"/>
                  <a:gd name="T64" fmla="*/ 403 w 767"/>
                  <a:gd name="T65" fmla="*/ 32 h 223"/>
                  <a:gd name="T66" fmla="*/ 430 w 767"/>
                  <a:gd name="T67" fmla="*/ 38 h 223"/>
                  <a:gd name="T68" fmla="*/ 470 w 767"/>
                  <a:gd name="T69" fmla="*/ 38 h 223"/>
                  <a:gd name="T70" fmla="*/ 512 w 767"/>
                  <a:gd name="T71" fmla="*/ 38 h 223"/>
                  <a:gd name="T72" fmla="*/ 539 w 767"/>
                  <a:gd name="T73" fmla="*/ 41 h 223"/>
                  <a:gd name="T74" fmla="*/ 568 w 767"/>
                  <a:gd name="T75" fmla="*/ 44 h 223"/>
                  <a:gd name="T76" fmla="*/ 617 w 767"/>
                  <a:gd name="T77" fmla="*/ 53 h 223"/>
                  <a:gd name="T78" fmla="*/ 644 w 767"/>
                  <a:gd name="T79" fmla="*/ 48 h 223"/>
                  <a:gd name="T80" fmla="*/ 689 w 767"/>
                  <a:gd name="T81" fmla="*/ 20 h 223"/>
                  <a:gd name="T82" fmla="*/ 721 w 767"/>
                  <a:gd name="T83" fmla="*/ 5 h 223"/>
                  <a:gd name="T84" fmla="*/ 742 w 767"/>
                  <a:gd name="T85" fmla="*/ 4 h 223"/>
                  <a:gd name="T86" fmla="*/ 753 w 767"/>
                  <a:gd name="T87" fmla="*/ 10 h 223"/>
                  <a:gd name="T88" fmla="*/ 765 w 767"/>
                  <a:gd name="T89" fmla="*/ 33 h 223"/>
                  <a:gd name="T90" fmla="*/ 764 w 767"/>
                  <a:gd name="T91" fmla="*/ 58 h 223"/>
                  <a:gd name="T92" fmla="*/ 748 w 767"/>
                  <a:gd name="T93" fmla="*/ 81 h 223"/>
                  <a:gd name="T94" fmla="*/ 709 w 767"/>
                  <a:gd name="T95" fmla="*/ 104 h 223"/>
                  <a:gd name="T96" fmla="*/ 678 w 767"/>
                  <a:gd name="T97" fmla="*/ 128 h 223"/>
                  <a:gd name="T98" fmla="*/ 653 w 767"/>
                  <a:gd name="T99" fmla="*/ 156 h 223"/>
                  <a:gd name="T100" fmla="*/ 623 w 767"/>
                  <a:gd name="T101" fmla="*/ 174 h 223"/>
                  <a:gd name="T102" fmla="*/ 590 w 767"/>
                  <a:gd name="T103" fmla="*/ 180 h 223"/>
                  <a:gd name="T104" fmla="*/ 539 w 767"/>
                  <a:gd name="T105" fmla="*/ 194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7" h="223">
                    <a:moveTo>
                      <a:pt x="487" y="206"/>
                    </a:moveTo>
                    <a:lnTo>
                      <a:pt x="461" y="211"/>
                    </a:lnTo>
                    <a:lnTo>
                      <a:pt x="430" y="216"/>
                    </a:lnTo>
                    <a:lnTo>
                      <a:pt x="401" y="218"/>
                    </a:lnTo>
                    <a:lnTo>
                      <a:pt x="374" y="219"/>
                    </a:lnTo>
                    <a:lnTo>
                      <a:pt x="361" y="218"/>
                    </a:lnTo>
                    <a:lnTo>
                      <a:pt x="352" y="216"/>
                    </a:lnTo>
                    <a:lnTo>
                      <a:pt x="343" y="211"/>
                    </a:lnTo>
                    <a:lnTo>
                      <a:pt x="334" y="206"/>
                    </a:lnTo>
                    <a:lnTo>
                      <a:pt x="327" y="201"/>
                    </a:lnTo>
                    <a:lnTo>
                      <a:pt x="317" y="199"/>
                    </a:lnTo>
                    <a:lnTo>
                      <a:pt x="312" y="197"/>
                    </a:lnTo>
                    <a:lnTo>
                      <a:pt x="306" y="196"/>
                    </a:lnTo>
                    <a:lnTo>
                      <a:pt x="299" y="196"/>
                    </a:lnTo>
                    <a:lnTo>
                      <a:pt x="292" y="197"/>
                    </a:lnTo>
                    <a:lnTo>
                      <a:pt x="283" y="197"/>
                    </a:lnTo>
                    <a:lnTo>
                      <a:pt x="274" y="197"/>
                    </a:lnTo>
                    <a:lnTo>
                      <a:pt x="266" y="196"/>
                    </a:lnTo>
                    <a:lnTo>
                      <a:pt x="259" y="195"/>
                    </a:lnTo>
                    <a:lnTo>
                      <a:pt x="243" y="190"/>
                    </a:lnTo>
                    <a:lnTo>
                      <a:pt x="228" y="184"/>
                    </a:lnTo>
                    <a:lnTo>
                      <a:pt x="212" y="178"/>
                    </a:lnTo>
                    <a:lnTo>
                      <a:pt x="197" y="173"/>
                    </a:lnTo>
                    <a:lnTo>
                      <a:pt x="190" y="170"/>
                    </a:lnTo>
                    <a:lnTo>
                      <a:pt x="181" y="169"/>
                    </a:lnTo>
                    <a:lnTo>
                      <a:pt x="174" y="168"/>
                    </a:lnTo>
                    <a:lnTo>
                      <a:pt x="166" y="168"/>
                    </a:lnTo>
                    <a:lnTo>
                      <a:pt x="151" y="169"/>
                    </a:lnTo>
                    <a:lnTo>
                      <a:pt x="139" y="173"/>
                    </a:lnTo>
                    <a:lnTo>
                      <a:pt x="128" y="179"/>
                    </a:lnTo>
                    <a:lnTo>
                      <a:pt x="117" y="185"/>
                    </a:lnTo>
                    <a:lnTo>
                      <a:pt x="96" y="201"/>
                    </a:lnTo>
                    <a:lnTo>
                      <a:pt x="75" y="218"/>
                    </a:lnTo>
                    <a:lnTo>
                      <a:pt x="69" y="222"/>
                    </a:lnTo>
                    <a:lnTo>
                      <a:pt x="63" y="223"/>
                    </a:lnTo>
                    <a:lnTo>
                      <a:pt x="57" y="223"/>
                    </a:lnTo>
                    <a:lnTo>
                      <a:pt x="52" y="221"/>
                    </a:lnTo>
                    <a:lnTo>
                      <a:pt x="46" y="217"/>
                    </a:lnTo>
                    <a:lnTo>
                      <a:pt x="41" y="211"/>
                    </a:lnTo>
                    <a:lnTo>
                      <a:pt x="37" y="206"/>
                    </a:lnTo>
                    <a:lnTo>
                      <a:pt x="32" y="199"/>
                    </a:lnTo>
                    <a:lnTo>
                      <a:pt x="17" y="168"/>
                    </a:lnTo>
                    <a:lnTo>
                      <a:pt x="8" y="146"/>
                    </a:lnTo>
                    <a:lnTo>
                      <a:pt x="8" y="143"/>
                    </a:lnTo>
                    <a:lnTo>
                      <a:pt x="6" y="142"/>
                    </a:lnTo>
                    <a:lnTo>
                      <a:pt x="6" y="140"/>
                    </a:lnTo>
                    <a:lnTo>
                      <a:pt x="3" y="135"/>
                    </a:lnTo>
                    <a:lnTo>
                      <a:pt x="2" y="129"/>
                    </a:lnTo>
                    <a:lnTo>
                      <a:pt x="0" y="121"/>
                    </a:lnTo>
                    <a:lnTo>
                      <a:pt x="0" y="113"/>
                    </a:lnTo>
                    <a:lnTo>
                      <a:pt x="2" y="104"/>
                    </a:lnTo>
                    <a:lnTo>
                      <a:pt x="4" y="95"/>
                    </a:lnTo>
                    <a:lnTo>
                      <a:pt x="6" y="86"/>
                    </a:lnTo>
                    <a:lnTo>
                      <a:pt x="10" y="76"/>
                    </a:lnTo>
                    <a:lnTo>
                      <a:pt x="15" y="68"/>
                    </a:lnTo>
                    <a:lnTo>
                      <a:pt x="20" y="59"/>
                    </a:lnTo>
                    <a:lnTo>
                      <a:pt x="25" y="50"/>
                    </a:lnTo>
                    <a:lnTo>
                      <a:pt x="31" y="43"/>
                    </a:lnTo>
                    <a:lnTo>
                      <a:pt x="36" y="38"/>
                    </a:lnTo>
                    <a:lnTo>
                      <a:pt x="42" y="33"/>
                    </a:lnTo>
                    <a:lnTo>
                      <a:pt x="48" y="31"/>
                    </a:lnTo>
                    <a:lnTo>
                      <a:pt x="53" y="30"/>
                    </a:lnTo>
                    <a:lnTo>
                      <a:pt x="80" y="58"/>
                    </a:lnTo>
                    <a:lnTo>
                      <a:pt x="104" y="86"/>
                    </a:lnTo>
                    <a:lnTo>
                      <a:pt x="115" y="98"/>
                    </a:lnTo>
                    <a:lnTo>
                      <a:pt x="128" y="110"/>
                    </a:lnTo>
                    <a:lnTo>
                      <a:pt x="139" y="120"/>
                    </a:lnTo>
                    <a:lnTo>
                      <a:pt x="151" y="129"/>
                    </a:lnTo>
                    <a:lnTo>
                      <a:pt x="157" y="131"/>
                    </a:lnTo>
                    <a:lnTo>
                      <a:pt x="163" y="134"/>
                    </a:lnTo>
                    <a:lnTo>
                      <a:pt x="169" y="136"/>
                    </a:lnTo>
                    <a:lnTo>
                      <a:pt x="175" y="137"/>
                    </a:lnTo>
                    <a:lnTo>
                      <a:pt x="183" y="137"/>
                    </a:lnTo>
                    <a:lnTo>
                      <a:pt x="189" y="137"/>
                    </a:lnTo>
                    <a:lnTo>
                      <a:pt x="195" y="136"/>
                    </a:lnTo>
                    <a:lnTo>
                      <a:pt x="202" y="134"/>
                    </a:lnTo>
                    <a:lnTo>
                      <a:pt x="210" y="131"/>
                    </a:lnTo>
                    <a:lnTo>
                      <a:pt x="217" y="126"/>
                    </a:lnTo>
                    <a:lnTo>
                      <a:pt x="224" y="121"/>
                    </a:lnTo>
                    <a:lnTo>
                      <a:pt x="232" y="115"/>
                    </a:lnTo>
                    <a:lnTo>
                      <a:pt x="240" y="108"/>
                    </a:lnTo>
                    <a:lnTo>
                      <a:pt x="249" y="99"/>
                    </a:lnTo>
                    <a:lnTo>
                      <a:pt x="257" y="90"/>
                    </a:lnTo>
                    <a:lnTo>
                      <a:pt x="266" y="79"/>
                    </a:lnTo>
                    <a:lnTo>
                      <a:pt x="276" y="65"/>
                    </a:lnTo>
                    <a:lnTo>
                      <a:pt x="288" y="49"/>
                    </a:lnTo>
                    <a:lnTo>
                      <a:pt x="303" y="32"/>
                    </a:lnTo>
                    <a:lnTo>
                      <a:pt x="317" y="17"/>
                    </a:lnTo>
                    <a:lnTo>
                      <a:pt x="326" y="11"/>
                    </a:lnTo>
                    <a:lnTo>
                      <a:pt x="334" y="5"/>
                    </a:lnTo>
                    <a:lnTo>
                      <a:pt x="343" y="1"/>
                    </a:lnTo>
                    <a:lnTo>
                      <a:pt x="350" y="0"/>
                    </a:lnTo>
                    <a:lnTo>
                      <a:pt x="359" y="0"/>
                    </a:lnTo>
                    <a:lnTo>
                      <a:pt x="368" y="3"/>
                    </a:lnTo>
                    <a:lnTo>
                      <a:pt x="375" y="8"/>
                    </a:lnTo>
                    <a:lnTo>
                      <a:pt x="382" y="15"/>
                    </a:lnTo>
                    <a:lnTo>
                      <a:pt x="388" y="22"/>
                    </a:lnTo>
                    <a:lnTo>
                      <a:pt x="396" y="27"/>
                    </a:lnTo>
                    <a:lnTo>
                      <a:pt x="403" y="32"/>
                    </a:lnTo>
                    <a:lnTo>
                      <a:pt x="412" y="35"/>
                    </a:lnTo>
                    <a:lnTo>
                      <a:pt x="420" y="37"/>
                    </a:lnTo>
                    <a:lnTo>
                      <a:pt x="430" y="38"/>
                    </a:lnTo>
                    <a:lnTo>
                      <a:pt x="440" y="38"/>
                    </a:lnTo>
                    <a:lnTo>
                      <a:pt x="450" y="38"/>
                    </a:lnTo>
                    <a:lnTo>
                      <a:pt x="470" y="38"/>
                    </a:lnTo>
                    <a:lnTo>
                      <a:pt x="492" y="38"/>
                    </a:lnTo>
                    <a:lnTo>
                      <a:pt x="502" y="38"/>
                    </a:lnTo>
                    <a:lnTo>
                      <a:pt x="512" y="38"/>
                    </a:lnTo>
                    <a:lnTo>
                      <a:pt x="522" y="41"/>
                    </a:lnTo>
                    <a:lnTo>
                      <a:pt x="532" y="42"/>
                    </a:lnTo>
                    <a:lnTo>
                      <a:pt x="539" y="41"/>
                    </a:lnTo>
                    <a:lnTo>
                      <a:pt x="549" y="41"/>
                    </a:lnTo>
                    <a:lnTo>
                      <a:pt x="558" y="42"/>
                    </a:lnTo>
                    <a:lnTo>
                      <a:pt x="568" y="44"/>
                    </a:lnTo>
                    <a:lnTo>
                      <a:pt x="589" y="49"/>
                    </a:lnTo>
                    <a:lnTo>
                      <a:pt x="607" y="53"/>
                    </a:lnTo>
                    <a:lnTo>
                      <a:pt x="617" y="53"/>
                    </a:lnTo>
                    <a:lnTo>
                      <a:pt x="626" y="53"/>
                    </a:lnTo>
                    <a:lnTo>
                      <a:pt x="636" y="50"/>
                    </a:lnTo>
                    <a:lnTo>
                      <a:pt x="644" y="48"/>
                    </a:lnTo>
                    <a:lnTo>
                      <a:pt x="660" y="39"/>
                    </a:lnTo>
                    <a:lnTo>
                      <a:pt x="675" y="30"/>
                    </a:lnTo>
                    <a:lnTo>
                      <a:pt x="689" y="20"/>
                    </a:lnTo>
                    <a:lnTo>
                      <a:pt x="705" y="11"/>
                    </a:lnTo>
                    <a:lnTo>
                      <a:pt x="713" y="8"/>
                    </a:lnTo>
                    <a:lnTo>
                      <a:pt x="721" y="5"/>
                    </a:lnTo>
                    <a:lnTo>
                      <a:pt x="730" y="4"/>
                    </a:lnTo>
                    <a:lnTo>
                      <a:pt x="738" y="4"/>
                    </a:lnTo>
                    <a:lnTo>
                      <a:pt x="742" y="4"/>
                    </a:lnTo>
                    <a:lnTo>
                      <a:pt x="746" y="6"/>
                    </a:lnTo>
                    <a:lnTo>
                      <a:pt x="749" y="8"/>
                    </a:lnTo>
                    <a:lnTo>
                      <a:pt x="753" y="10"/>
                    </a:lnTo>
                    <a:lnTo>
                      <a:pt x="758" y="17"/>
                    </a:lnTo>
                    <a:lnTo>
                      <a:pt x="763" y="25"/>
                    </a:lnTo>
                    <a:lnTo>
                      <a:pt x="765" y="33"/>
                    </a:lnTo>
                    <a:lnTo>
                      <a:pt x="767" y="43"/>
                    </a:lnTo>
                    <a:lnTo>
                      <a:pt x="767" y="52"/>
                    </a:lnTo>
                    <a:lnTo>
                      <a:pt x="764" y="58"/>
                    </a:lnTo>
                    <a:lnTo>
                      <a:pt x="759" y="68"/>
                    </a:lnTo>
                    <a:lnTo>
                      <a:pt x="754" y="75"/>
                    </a:lnTo>
                    <a:lnTo>
                      <a:pt x="748" y="81"/>
                    </a:lnTo>
                    <a:lnTo>
                      <a:pt x="741" y="86"/>
                    </a:lnTo>
                    <a:lnTo>
                      <a:pt x="726" y="96"/>
                    </a:lnTo>
                    <a:lnTo>
                      <a:pt x="709" y="104"/>
                    </a:lnTo>
                    <a:lnTo>
                      <a:pt x="697" y="110"/>
                    </a:lnTo>
                    <a:lnTo>
                      <a:pt x="687" y="119"/>
                    </a:lnTo>
                    <a:lnTo>
                      <a:pt x="678" y="128"/>
                    </a:lnTo>
                    <a:lnTo>
                      <a:pt x="669" y="137"/>
                    </a:lnTo>
                    <a:lnTo>
                      <a:pt x="661" y="147"/>
                    </a:lnTo>
                    <a:lnTo>
                      <a:pt x="653" y="156"/>
                    </a:lnTo>
                    <a:lnTo>
                      <a:pt x="643" y="164"/>
                    </a:lnTo>
                    <a:lnTo>
                      <a:pt x="633" y="170"/>
                    </a:lnTo>
                    <a:lnTo>
                      <a:pt x="623" y="174"/>
                    </a:lnTo>
                    <a:lnTo>
                      <a:pt x="612" y="177"/>
                    </a:lnTo>
                    <a:lnTo>
                      <a:pt x="601" y="178"/>
                    </a:lnTo>
                    <a:lnTo>
                      <a:pt x="590" y="180"/>
                    </a:lnTo>
                    <a:lnTo>
                      <a:pt x="573" y="185"/>
                    </a:lnTo>
                    <a:lnTo>
                      <a:pt x="556" y="190"/>
                    </a:lnTo>
                    <a:lnTo>
                      <a:pt x="539" y="194"/>
                    </a:lnTo>
                    <a:lnTo>
                      <a:pt x="521" y="195"/>
                    </a:lnTo>
                    <a:lnTo>
                      <a:pt x="487" y="20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95" name="Group 394"/>
            <p:cNvGrpSpPr>
              <a:grpSpLocks noChangeAspect="1"/>
            </p:cNvGrpSpPr>
            <p:nvPr/>
          </p:nvGrpSpPr>
          <p:grpSpPr>
            <a:xfrm>
              <a:off x="788703" y="4593410"/>
              <a:ext cx="902875" cy="800404"/>
              <a:chOff x="74613" y="1690688"/>
              <a:chExt cx="7623175" cy="6757988"/>
            </a:xfrm>
            <a:solidFill>
              <a:srgbClr val="EBF5FB"/>
            </a:solidFill>
          </p:grpSpPr>
          <p:sp>
            <p:nvSpPr>
              <p:cNvPr id="396" name="Freeform 7"/>
              <p:cNvSpPr>
                <a:spLocks/>
              </p:cNvSpPr>
              <p:nvPr/>
            </p:nvSpPr>
            <p:spPr bwMode="auto">
              <a:xfrm>
                <a:off x="74613" y="3786188"/>
                <a:ext cx="814388" cy="1144588"/>
              </a:xfrm>
              <a:custGeom>
                <a:avLst/>
                <a:gdLst>
                  <a:gd name="T0" fmla="*/ 52 w 2053"/>
                  <a:gd name="T1" fmla="*/ 624 h 2885"/>
                  <a:gd name="T2" fmla="*/ 74 w 2053"/>
                  <a:gd name="T3" fmla="*/ 831 h 2885"/>
                  <a:gd name="T4" fmla="*/ 179 w 2053"/>
                  <a:gd name="T5" fmla="*/ 757 h 2885"/>
                  <a:gd name="T6" fmla="*/ 259 w 2053"/>
                  <a:gd name="T7" fmla="*/ 770 h 2885"/>
                  <a:gd name="T8" fmla="*/ 300 w 2053"/>
                  <a:gd name="T9" fmla="*/ 869 h 2885"/>
                  <a:gd name="T10" fmla="*/ 367 w 2053"/>
                  <a:gd name="T11" fmla="*/ 752 h 2885"/>
                  <a:gd name="T12" fmla="*/ 229 w 2053"/>
                  <a:gd name="T13" fmla="*/ 598 h 2885"/>
                  <a:gd name="T14" fmla="*/ 263 w 2053"/>
                  <a:gd name="T15" fmla="*/ 495 h 2885"/>
                  <a:gd name="T16" fmla="*/ 251 w 2053"/>
                  <a:gd name="T17" fmla="*/ 163 h 2885"/>
                  <a:gd name="T18" fmla="*/ 167 w 2053"/>
                  <a:gd name="T19" fmla="*/ 64 h 2885"/>
                  <a:gd name="T20" fmla="*/ 368 w 2053"/>
                  <a:gd name="T21" fmla="*/ 35 h 2885"/>
                  <a:gd name="T22" fmla="*/ 574 w 2053"/>
                  <a:gd name="T23" fmla="*/ 110 h 2885"/>
                  <a:gd name="T24" fmla="*/ 568 w 2053"/>
                  <a:gd name="T25" fmla="*/ 299 h 2885"/>
                  <a:gd name="T26" fmla="*/ 612 w 2053"/>
                  <a:gd name="T27" fmla="*/ 156 h 2885"/>
                  <a:gd name="T28" fmla="*/ 728 w 2053"/>
                  <a:gd name="T29" fmla="*/ 235 h 2885"/>
                  <a:gd name="T30" fmla="*/ 871 w 2053"/>
                  <a:gd name="T31" fmla="*/ 213 h 2885"/>
                  <a:gd name="T32" fmla="*/ 889 w 2053"/>
                  <a:gd name="T33" fmla="*/ 145 h 2885"/>
                  <a:gd name="T34" fmla="*/ 815 w 2053"/>
                  <a:gd name="T35" fmla="*/ 111 h 2885"/>
                  <a:gd name="T36" fmla="*/ 1165 w 2053"/>
                  <a:gd name="T37" fmla="*/ 171 h 2885"/>
                  <a:gd name="T38" fmla="*/ 1242 w 2053"/>
                  <a:gd name="T39" fmla="*/ 295 h 2885"/>
                  <a:gd name="T40" fmla="*/ 1339 w 2053"/>
                  <a:gd name="T41" fmla="*/ 450 h 2885"/>
                  <a:gd name="T42" fmla="*/ 1467 w 2053"/>
                  <a:gd name="T43" fmla="*/ 588 h 2885"/>
                  <a:gd name="T44" fmla="*/ 1670 w 2053"/>
                  <a:gd name="T45" fmla="*/ 780 h 2885"/>
                  <a:gd name="T46" fmla="*/ 1670 w 2053"/>
                  <a:gd name="T47" fmla="*/ 914 h 2885"/>
                  <a:gd name="T48" fmla="*/ 1815 w 2053"/>
                  <a:gd name="T49" fmla="*/ 863 h 2885"/>
                  <a:gd name="T50" fmla="*/ 1804 w 2053"/>
                  <a:gd name="T51" fmla="*/ 991 h 2885"/>
                  <a:gd name="T52" fmla="*/ 1953 w 2053"/>
                  <a:gd name="T53" fmla="*/ 1012 h 2885"/>
                  <a:gd name="T54" fmla="*/ 2046 w 2053"/>
                  <a:gd name="T55" fmla="*/ 1115 h 2885"/>
                  <a:gd name="T56" fmla="*/ 1904 w 2053"/>
                  <a:gd name="T57" fmla="*/ 1113 h 2885"/>
                  <a:gd name="T58" fmla="*/ 1676 w 2053"/>
                  <a:gd name="T59" fmla="*/ 1317 h 2885"/>
                  <a:gd name="T60" fmla="*/ 1685 w 2053"/>
                  <a:gd name="T61" fmla="*/ 1530 h 2885"/>
                  <a:gd name="T62" fmla="*/ 1446 w 2053"/>
                  <a:gd name="T63" fmla="*/ 1435 h 2885"/>
                  <a:gd name="T64" fmla="*/ 1310 w 2053"/>
                  <a:gd name="T65" fmla="*/ 1335 h 2885"/>
                  <a:gd name="T66" fmla="*/ 1483 w 2053"/>
                  <a:gd name="T67" fmla="*/ 1550 h 2885"/>
                  <a:gd name="T68" fmla="*/ 1462 w 2053"/>
                  <a:gd name="T69" fmla="*/ 1692 h 2885"/>
                  <a:gd name="T70" fmla="*/ 1345 w 2053"/>
                  <a:gd name="T71" fmla="*/ 1642 h 2885"/>
                  <a:gd name="T72" fmla="*/ 1025 w 2053"/>
                  <a:gd name="T73" fmla="*/ 1620 h 2885"/>
                  <a:gd name="T74" fmla="*/ 838 w 2053"/>
                  <a:gd name="T75" fmla="*/ 1482 h 2885"/>
                  <a:gd name="T76" fmla="*/ 887 w 2053"/>
                  <a:gd name="T77" fmla="*/ 1578 h 2885"/>
                  <a:gd name="T78" fmla="*/ 954 w 2053"/>
                  <a:gd name="T79" fmla="*/ 1751 h 2885"/>
                  <a:gd name="T80" fmla="*/ 995 w 2053"/>
                  <a:gd name="T81" fmla="*/ 1878 h 2885"/>
                  <a:gd name="T82" fmla="*/ 868 w 2053"/>
                  <a:gd name="T83" fmla="*/ 1917 h 2885"/>
                  <a:gd name="T84" fmla="*/ 809 w 2053"/>
                  <a:gd name="T85" fmla="*/ 1951 h 2885"/>
                  <a:gd name="T86" fmla="*/ 1025 w 2053"/>
                  <a:gd name="T87" fmla="*/ 2033 h 2885"/>
                  <a:gd name="T88" fmla="*/ 1045 w 2053"/>
                  <a:gd name="T89" fmla="*/ 2092 h 2885"/>
                  <a:gd name="T90" fmla="*/ 947 w 2053"/>
                  <a:gd name="T91" fmla="*/ 2225 h 2885"/>
                  <a:gd name="T92" fmla="*/ 786 w 2053"/>
                  <a:gd name="T93" fmla="*/ 2308 h 2885"/>
                  <a:gd name="T94" fmla="*/ 633 w 2053"/>
                  <a:gd name="T95" fmla="*/ 2345 h 2885"/>
                  <a:gd name="T96" fmla="*/ 671 w 2053"/>
                  <a:gd name="T97" fmla="*/ 2358 h 2885"/>
                  <a:gd name="T98" fmla="*/ 756 w 2053"/>
                  <a:gd name="T99" fmla="*/ 2413 h 2885"/>
                  <a:gd name="T100" fmla="*/ 705 w 2053"/>
                  <a:gd name="T101" fmla="*/ 2490 h 2885"/>
                  <a:gd name="T102" fmla="*/ 708 w 2053"/>
                  <a:gd name="T103" fmla="*/ 2596 h 2885"/>
                  <a:gd name="T104" fmla="*/ 834 w 2053"/>
                  <a:gd name="T105" fmla="*/ 2595 h 2885"/>
                  <a:gd name="T106" fmla="*/ 977 w 2053"/>
                  <a:gd name="T107" fmla="*/ 2730 h 2885"/>
                  <a:gd name="T108" fmla="*/ 780 w 2053"/>
                  <a:gd name="T109" fmla="*/ 2697 h 2885"/>
                  <a:gd name="T110" fmla="*/ 692 w 2053"/>
                  <a:gd name="T111" fmla="*/ 2697 h 2885"/>
                  <a:gd name="T112" fmla="*/ 685 w 2053"/>
                  <a:gd name="T113" fmla="*/ 2875 h 2885"/>
                  <a:gd name="T114" fmla="*/ 519 w 2053"/>
                  <a:gd name="T115" fmla="*/ 2833 h 2885"/>
                  <a:gd name="T116" fmla="*/ 557 w 2053"/>
                  <a:gd name="T117" fmla="*/ 2591 h 2885"/>
                  <a:gd name="T118" fmla="*/ 511 w 2053"/>
                  <a:gd name="T119" fmla="*/ 2732 h 2885"/>
                  <a:gd name="T120" fmla="*/ 255 w 2053"/>
                  <a:gd name="T121" fmla="*/ 2707 h 2885"/>
                  <a:gd name="T122" fmla="*/ 137 w 2053"/>
                  <a:gd name="T123" fmla="*/ 2517 h 2885"/>
                  <a:gd name="T124" fmla="*/ 0 w 2053"/>
                  <a:gd name="T125" fmla="*/ 580 h 2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53" h="2885">
                    <a:moveTo>
                      <a:pt x="0" y="580"/>
                    </a:moveTo>
                    <a:lnTo>
                      <a:pt x="2" y="582"/>
                    </a:lnTo>
                    <a:lnTo>
                      <a:pt x="7" y="582"/>
                    </a:lnTo>
                    <a:lnTo>
                      <a:pt x="9" y="584"/>
                    </a:lnTo>
                    <a:lnTo>
                      <a:pt x="12" y="586"/>
                    </a:lnTo>
                    <a:lnTo>
                      <a:pt x="14" y="586"/>
                    </a:lnTo>
                    <a:lnTo>
                      <a:pt x="16" y="586"/>
                    </a:lnTo>
                    <a:lnTo>
                      <a:pt x="17" y="588"/>
                    </a:lnTo>
                    <a:lnTo>
                      <a:pt x="17" y="589"/>
                    </a:lnTo>
                    <a:lnTo>
                      <a:pt x="22" y="591"/>
                    </a:lnTo>
                    <a:lnTo>
                      <a:pt x="26" y="595"/>
                    </a:lnTo>
                    <a:lnTo>
                      <a:pt x="31" y="600"/>
                    </a:lnTo>
                    <a:lnTo>
                      <a:pt x="34" y="603"/>
                    </a:lnTo>
                    <a:lnTo>
                      <a:pt x="40" y="606"/>
                    </a:lnTo>
                    <a:lnTo>
                      <a:pt x="44" y="610"/>
                    </a:lnTo>
                    <a:lnTo>
                      <a:pt x="49" y="616"/>
                    </a:lnTo>
                    <a:lnTo>
                      <a:pt x="52" y="624"/>
                    </a:lnTo>
                    <a:lnTo>
                      <a:pt x="54" y="632"/>
                    </a:lnTo>
                    <a:lnTo>
                      <a:pt x="55" y="642"/>
                    </a:lnTo>
                    <a:lnTo>
                      <a:pt x="56" y="651"/>
                    </a:lnTo>
                    <a:lnTo>
                      <a:pt x="56" y="662"/>
                    </a:lnTo>
                    <a:lnTo>
                      <a:pt x="54" y="703"/>
                    </a:lnTo>
                    <a:lnTo>
                      <a:pt x="53" y="733"/>
                    </a:lnTo>
                    <a:lnTo>
                      <a:pt x="53" y="748"/>
                    </a:lnTo>
                    <a:lnTo>
                      <a:pt x="55" y="764"/>
                    </a:lnTo>
                    <a:lnTo>
                      <a:pt x="58" y="772"/>
                    </a:lnTo>
                    <a:lnTo>
                      <a:pt x="60" y="779"/>
                    </a:lnTo>
                    <a:lnTo>
                      <a:pt x="64" y="786"/>
                    </a:lnTo>
                    <a:lnTo>
                      <a:pt x="67" y="791"/>
                    </a:lnTo>
                    <a:lnTo>
                      <a:pt x="72" y="797"/>
                    </a:lnTo>
                    <a:lnTo>
                      <a:pt x="74" y="803"/>
                    </a:lnTo>
                    <a:lnTo>
                      <a:pt x="76" y="810"/>
                    </a:lnTo>
                    <a:lnTo>
                      <a:pt x="76" y="816"/>
                    </a:lnTo>
                    <a:lnTo>
                      <a:pt x="74" y="831"/>
                    </a:lnTo>
                    <a:lnTo>
                      <a:pt x="74" y="845"/>
                    </a:lnTo>
                    <a:lnTo>
                      <a:pt x="85" y="850"/>
                    </a:lnTo>
                    <a:lnTo>
                      <a:pt x="94" y="854"/>
                    </a:lnTo>
                    <a:lnTo>
                      <a:pt x="101" y="856"/>
                    </a:lnTo>
                    <a:lnTo>
                      <a:pt x="107" y="857"/>
                    </a:lnTo>
                    <a:lnTo>
                      <a:pt x="112" y="857"/>
                    </a:lnTo>
                    <a:lnTo>
                      <a:pt x="115" y="856"/>
                    </a:lnTo>
                    <a:lnTo>
                      <a:pt x="119" y="854"/>
                    </a:lnTo>
                    <a:lnTo>
                      <a:pt x="121" y="850"/>
                    </a:lnTo>
                    <a:lnTo>
                      <a:pt x="130" y="828"/>
                    </a:lnTo>
                    <a:lnTo>
                      <a:pt x="143" y="795"/>
                    </a:lnTo>
                    <a:lnTo>
                      <a:pt x="145" y="790"/>
                    </a:lnTo>
                    <a:lnTo>
                      <a:pt x="150" y="784"/>
                    </a:lnTo>
                    <a:lnTo>
                      <a:pt x="155" y="779"/>
                    </a:lnTo>
                    <a:lnTo>
                      <a:pt x="160" y="774"/>
                    </a:lnTo>
                    <a:lnTo>
                      <a:pt x="170" y="766"/>
                    </a:lnTo>
                    <a:lnTo>
                      <a:pt x="179" y="757"/>
                    </a:lnTo>
                    <a:lnTo>
                      <a:pt x="184" y="745"/>
                    </a:lnTo>
                    <a:lnTo>
                      <a:pt x="188" y="730"/>
                    </a:lnTo>
                    <a:lnTo>
                      <a:pt x="190" y="721"/>
                    </a:lnTo>
                    <a:lnTo>
                      <a:pt x="192" y="714"/>
                    </a:lnTo>
                    <a:lnTo>
                      <a:pt x="195" y="709"/>
                    </a:lnTo>
                    <a:lnTo>
                      <a:pt x="197" y="707"/>
                    </a:lnTo>
                    <a:lnTo>
                      <a:pt x="204" y="703"/>
                    </a:lnTo>
                    <a:lnTo>
                      <a:pt x="218" y="697"/>
                    </a:lnTo>
                    <a:lnTo>
                      <a:pt x="233" y="693"/>
                    </a:lnTo>
                    <a:lnTo>
                      <a:pt x="242" y="691"/>
                    </a:lnTo>
                    <a:lnTo>
                      <a:pt x="243" y="693"/>
                    </a:lnTo>
                    <a:lnTo>
                      <a:pt x="245" y="695"/>
                    </a:lnTo>
                    <a:lnTo>
                      <a:pt x="247" y="709"/>
                    </a:lnTo>
                    <a:lnTo>
                      <a:pt x="249" y="725"/>
                    </a:lnTo>
                    <a:lnTo>
                      <a:pt x="253" y="740"/>
                    </a:lnTo>
                    <a:lnTo>
                      <a:pt x="256" y="756"/>
                    </a:lnTo>
                    <a:lnTo>
                      <a:pt x="259" y="770"/>
                    </a:lnTo>
                    <a:lnTo>
                      <a:pt x="261" y="786"/>
                    </a:lnTo>
                    <a:lnTo>
                      <a:pt x="261" y="801"/>
                    </a:lnTo>
                    <a:lnTo>
                      <a:pt x="260" y="814"/>
                    </a:lnTo>
                    <a:lnTo>
                      <a:pt x="255" y="816"/>
                    </a:lnTo>
                    <a:lnTo>
                      <a:pt x="250" y="819"/>
                    </a:lnTo>
                    <a:lnTo>
                      <a:pt x="248" y="822"/>
                    </a:lnTo>
                    <a:lnTo>
                      <a:pt x="244" y="826"/>
                    </a:lnTo>
                    <a:lnTo>
                      <a:pt x="242" y="835"/>
                    </a:lnTo>
                    <a:lnTo>
                      <a:pt x="241" y="845"/>
                    </a:lnTo>
                    <a:lnTo>
                      <a:pt x="242" y="845"/>
                    </a:lnTo>
                    <a:lnTo>
                      <a:pt x="242" y="847"/>
                    </a:lnTo>
                    <a:lnTo>
                      <a:pt x="261" y="856"/>
                    </a:lnTo>
                    <a:lnTo>
                      <a:pt x="280" y="867"/>
                    </a:lnTo>
                    <a:lnTo>
                      <a:pt x="285" y="869"/>
                    </a:lnTo>
                    <a:lnTo>
                      <a:pt x="290" y="870"/>
                    </a:lnTo>
                    <a:lnTo>
                      <a:pt x="295" y="870"/>
                    </a:lnTo>
                    <a:lnTo>
                      <a:pt x="300" y="869"/>
                    </a:lnTo>
                    <a:lnTo>
                      <a:pt x="304" y="867"/>
                    </a:lnTo>
                    <a:lnTo>
                      <a:pt x="309" y="863"/>
                    </a:lnTo>
                    <a:lnTo>
                      <a:pt x="314" y="858"/>
                    </a:lnTo>
                    <a:lnTo>
                      <a:pt x="319" y="851"/>
                    </a:lnTo>
                    <a:lnTo>
                      <a:pt x="315" y="845"/>
                    </a:lnTo>
                    <a:lnTo>
                      <a:pt x="313" y="838"/>
                    </a:lnTo>
                    <a:lnTo>
                      <a:pt x="310" y="829"/>
                    </a:lnTo>
                    <a:lnTo>
                      <a:pt x="309" y="822"/>
                    </a:lnTo>
                    <a:lnTo>
                      <a:pt x="330" y="816"/>
                    </a:lnTo>
                    <a:lnTo>
                      <a:pt x="344" y="810"/>
                    </a:lnTo>
                    <a:lnTo>
                      <a:pt x="349" y="807"/>
                    </a:lnTo>
                    <a:lnTo>
                      <a:pt x="354" y="803"/>
                    </a:lnTo>
                    <a:lnTo>
                      <a:pt x="356" y="799"/>
                    </a:lnTo>
                    <a:lnTo>
                      <a:pt x="360" y="795"/>
                    </a:lnTo>
                    <a:lnTo>
                      <a:pt x="363" y="784"/>
                    </a:lnTo>
                    <a:lnTo>
                      <a:pt x="365" y="769"/>
                    </a:lnTo>
                    <a:lnTo>
                      <a:pt x="367" y="752"/>
                    </a:lnTo>
                    <a:lnTo>
                      <a:pt x="371" y="732"/>
                    </a:lnTo>
                    <a:lnTo>
                      <a:pt x="372" y="726"/>
                    </a:lnTo>
                    <a:lnTo>
                      <a:pt x="371" y="720"/>
                    </a:lnTo>
                    <a:lnTo>
                      <a:pt x="368" y="713"/>
                    </a:lnTo>
                    <a:lnTo>
                      <a:pt x="366" y="707"/>
                    </a:lnTo>
                    <a:lnTo>
                      <a:pt x="357" y="695"/>
                    </a:lnTo>
                    <a:lnTo>
                      <a:pt x="348" y="683"/>
                    </a:lnTo>
                    <a:lnTo>
                      <a:pt x="336" y="671"/>
                    </a:lnTo>
                    <a:lnTo>
                      <a:pt x="326" y="657"/>
                    </a:lnTo>
                    <a:lnTo>
                      <a:pt x="321" y="651"/>
                    </a:lnTo>
                    <a:lnTo>
                      <a:pt x="316" y="644"/>
                    </a:lnTo>
                    <a:lnTo>
                      <a:pt x="314" y="638"/>
                    </a:lnTo>
                    <a:lnTo>
                      <a:pt x="312" y="631"/>
                    </a:lnTo>
                    <a:lnTo>
                      <a:pt x="298" y="628"/>
                    </a:lnTo>
                    <a:lnTo>
                      <a:pt x="279" y="621"/>
                    </a:lnTo>
                    <a:lnTo>
                      <a:pt x="255" y="612"/>
                    </a:lnTo>
                    <a:lnTo>
                      <a:pt x="229" y="598"/>
                    </a:lnTo>
                    <a:lnTo>
                      <a:pt x="216" y="592"/>
                    </a:lnTo>
                    <a:lnTo>
                      <a:pt x="204" y="585"/>
                    </a:lnTo>
                    <a:lnTo>
                      <a:pt x="194" y="578"/>
                    </a:lnTo>
                    <a:lnTo>
                      <a:pt x="184" y="571"/>
                    </a:lnTo>
                    <a:lnTo>
                      <a:pt x="177" y="563"/>
                    </a:lnTo>
                    <a:lnTo>
                      <a:pt x="171" y="557"/>
                    </a:lnTo>
                    <a:lnTo>
                      <a:pt x="170" y="554"/>
                    </a:lnTo>
                    <a:lnTo>
                      <a:pt x="168" y="551"/>
                    </a:lnTo>
                    <a:lnTo>
                      <a:pt x="167" y="548"/>
                    </a:lnTo>
                    <a:lnTo>
                      <a:pt x="168" y="545"/>
                    </a:lnTo>
                    <a:lnTo>
                      <a:pt x="183" y="541"/>
                    </a:lnTo>
                    <a:lnTo>
                      <a:pt x="201" y="535"/>
                    </a:lnTo>
                    <a:lnTo>
                      <a:pt x="220" y="525"/>
                    </a:lnTo>
                    <a:lnTo>
                      <a:pt x="238" y="514"/>
                    </a:lnTo>
                    <a:lnTo>
                      <a:pt x="248" y="508"/>
                    </a:lnTo>
                    <a:lnTo>
                      <a:pt x="256" y="502"/>
                    </a:lnTo>
                    <a:lnTo>
                      <a:pt x="263" y="495"/>
                    </a:lnTo>
                    <a:lnTo>
                      <a:pt x="269" y="488"/>
                    </a:lnTo>
                    <a:lnTo>
                      <a:pt x="275" y="480"/>
                    </a:lnTo>
                    <a:lnTo>
                      <a:pt x="279" y="472"/>
                    </a:lnTo>
                    <a:lnTo>
                      <a:pt x="281" y="465"/>
                    </a:lnTo>
                    <a:lnTo>
                      <a:pt x="283" y="456"/>
                    </a:lnTo>
                    <a:lnTo>
                      <a:pt x="281" y="426"/>
                    </a:lnTo>
                    <a:lnTo>
                      <a:pt x="279" y="396"/>
                    </a:lnTo>
                    <a:lnTo>
                      <a:pt x="275" y="366"/>
                    </a:lnTo>
                    <a:lnTo>
                      <a:pt x="271" y="337"/>
                    </a:lnTo>
                    <a:lnTo>
                      <a:pt x="266" y="307"/>
                    </a:lnTo>
                    <a:lnTo>
                      <a:pt x="262" y="278"/>
                    </a:lnTo>
                    <a:lnTo>
                      <a:pt x="260" y="248"/>
                    </a:lnTo>
                    <a:lnTo>
                      <a:pt x="259" y="219"/>
                    </a:lnTo>
                    <a:lnTo>
                      <a:pt x="257" y="201"/>
                    </a:lnTo>
                    <a:lnTo>
                      <a:pt x="257" y="186"/>
                    </a:lnTo>
                    <a:lnTo>
                      <a:pt x="255" y="174"/>
                    </a:lnTo>
                    <a:lnTo>
                      <a:pt x="251" y="163"/>
                    </a:lnTo>
                    <a:lnTo>
                      <a:pt x="249" y="158"/>
                    </a:lnTo>
                    <a:lnTo>
                      <a:pt x="247" y="154"/>
                    </a:lnTo>
                    <a:lnTo>
                      <a:pt x="243" y="150"/>
                    </a:lnTo>
                    <a:lnTo>
                      <a:pt x="238" y="147"/>
                    </a:lnTo>
                    <a:lnTo>
                      <a:pt x="226" y="140"/>
                    </a:lnTo>
                    <a:lnTo>
                      <a:pt x="210" y="135"/>
                    </a:lnTo>
                    <a:lnTo>
                      <a:pt x="189" y="131"/>
                    </a:lnTo>
                    <a:lnTo>
                      <a:pt x="174" y="129"/>
                    </a:lnTo>
                    <a:lnTo>
                      <a:pt x="171" y="128"/>
                    </a:lnTo>
                    <a:lnTo>
                      <a:pt x="168" y="127"/>
                    </a:lnTo>
                    <a:lnTo>
                      <a:pt x="166" y="124"/>
                    </a:lnTo>
                    <a:lnTo>
                      <a:pt x="165" y="121"/>
                    </a:lnTo>
                    <a:lnTo>
                      <a:pt x="162" y="112"/>
                    </a:lnTo>
                    <a:lnTo>
                      <a:pt x="161" y="99"/>
                    </a:lnTo>
                    <a:lnTo>
                      <a:pt x="162" y="86"/>
                    </a:lnTo>
                    <a:lnTo>
                      <a:pt x="164" y="75"/>
                    </a:lnTo>
                    <a:lnTo>
                      <a:pt x="167" y="64"/>
                    </a:lnTo>
                    <a:lnTo>
                      <a:pt x="171" y="57"/>
                    </a:lnTo>
                    <a:lnTo>
                      <a:pt x="176" y="50"/>
                    </a:lnTo>
                    <a:lnTo>
                      <a:pt x="182" y="44"/>
                    </a:lnTo>
                    <a:lnTo>
                      <a:pt x="188" y="39"/>
                    </a:lnTo>
                    <a:lnTo>
                      <a:pt x="195" y="35"/>
                    </a:lnTo>
                    <a:lnTo>
                      <a:pt x="203" y="33"/>
                    </a:lnTo>
                    <a:lnTo>
                      <a:pt x="212" y="32"/>
                    </a:lnTo>
                    <a:lnTo>
                      <a:pt x="220" y="30"/>
                    </a:lnTo>
                    <a:lnTo>
                      <a:pt x="230" y="29"/>
                    </a:lnTo>
                    <a:lnTo>
                      <a:pt x="250" y="30"/>
                    </a:lnTo>
                    <a:lnTo>
                      <a:pt x="271" y="33"/>
                    </a:lnTo>
                    <a:lnTo>
                      <a:pt x="292" y="35"/>
                    </a:lnTo>
                    <a:lnTo>
                      <a:pt x="313" y="38"/>
                    </a:lnTo>
                    <a:lnTo>
                      <a:pt x="333" y="39"/>
                    </a:lnTo>
                    <a:lnTo>
                      <a:pt x="351" y="39"/>
                    </a:lnTo>
                    <a:lnTo>
                      <a:pt x="360" y="38"/>
                    </a:lnTo>
                    <a:lnTo>
                      <a:pt x="368" y="35"/>
                    </a:lnTo>
                    <a:lnTo>
                      <a:pt x="375" y="32"/>
                    </a:lnTo>
                    <a:lnTo>
                      <a:pt x="381" y="28"/>
                    </a:lnTo>
                    <a:lnTo>
                      <a:pt x="387" y="23"/>
                    </a:lnTo>
                    <a:lnTo>
                      <a:pt x="392" y="17"/>
                    </a:lnTo>
                    <a:lnTo>
                      <a:pt x="397" y="9"/>
                    </a:lnTo>
                    <a:lnTo>
                      <a:pt x="399" y="0"/>
                    </a:lnTo>
                    <a:lnTo>
                      <a:pt x="411" y="4"/>
                    </a:lnTo>
                    <a:lnTo>
                      <a:pt x="434" y="15"/>
                    </a:lnTo>
                    <a:lnTo>
                      <a:pt x="463" y="30"/>
                    </a:lnTo>
                    <a:lnTo>
                      <a:pt x="495" y="50"/>
                    </a:lnTo>
                    <a:lnTo>
                      <a:pt x="525" y="68"/>
                    </a:lnTo>
                    <a:lnTo>
                      <a:pt x="551" y="86"/>
                    </a:lnTo>
                    <a:lnTo>
                      <a:pt x="562" y="94"/>
                    </a:lnTo>
                    <a:lnTo>
                      <a:pt x="569" y="100"/>
                    </a:lnTo>
                    <a:lnTo>
                      <a:pt x="575" y="106"/>
                    </a:lnTo>
                    <a:lnTo>
                      <a:pt x="576" y="110"/>
                    </a:lnTo>
                    <a:lnTo>
                      <a:pt x="574" y="110"/>
                    </a:lnTo>
                    <a:lnTo>
                      <a:pt x="569" y="115"/>
                    </a:lnTo>
                    <a:lnTo>
                      <a:pt x="558" y="125"/>
                    </a:lnTo>
                    <a:lnTo>
                      <a:pt x="546" y="137"/>
                    </a:lnTo>
                    <a:lnTo>
                      <a:pt x="538" y="148"/>
                    </a:lnTo>
                    <a:lnTo>
                      <a:pt x="534" y="162"/>
                    </a:lnTo>
                    <a:lnTo>
                      <a:pt x="531" y="176"/>
                    </a:lnTo>
                    <a:lnTo>
                      <a:pt x="531" y="192"/>
                    </a:lnTo>
                    <a:lnTo>
                      <a:pt x="531" y="207"/>
                    </a:lnTo>
                    <a:lnTo>
                      <a:pt x="533" y="240"/>
                    </a:lnTo>
                    <a:lnTo>
                      <a:pt x="537" y="269"/>
                    </a:lnTo>
                    <a:lnTo>
                      <a:pt x="538" y="275"/>
                    </a:lnTo>
                    <a:lnTo>
                      <a:pt x="540" y="281"/>
                    </a:lnTo>
                    <a:lnTo>
                      <a:pt x="544" y="285"/>
                    </a:lnTo>
                    <a:lnTo>
                      <a:pt x="550" y="290"/>
                    </a:lnTo>
                    <a:lnTo>
                      <a:pt x="555" y="294"/>
                    </a:lnTo>
                    <a:lnTo>
                      <a:pt x="562" y="296"/>
                    </a:lnTo>
                    <a:lnTo>
                      <a:pt x="568" y="299"/>
                    </a:lnTo>
                    <a:lnTo>
                      <a:pt x="575" y="300"/>
                    </a:lnTo>
                    <a:lnTo>
                      <a:pt x="582" y="301"/>
                    </a:lnTo>
                    <a:lnTo>
                      <a:pt x="588" y="301"/>
                    </a:lnTo>
                    <a:lnTo>
                      <a:pt x="594" y="300"/>
                    </a:lnTo>
                    <a:lnTo>
                      <a:pt x="600" y="299"/>
                    </a:lnTo>
                    <a:lnTo>
                      <a:pt x="605" y="296"/>
                    </a:lnTo>
                    <a:lnTo>
                      <a:pt x="608" y="293"/>
                    </a:lnTo>
                    <a:lnTo>
                      <a:pt x="610" y="289"/>
                    </a:lnTo>
                    <a:lnTo>
                      <a:pt x="610" y="284"/>
                    </a:lnTo>
                    <a:lnTo>
                      <a:pt x="606" y="265"/>
                    </a:lnTo>
                    <a:lnTo>
                      <a:pt x="599" y="241"/>
                    </a:lnTo>
                    <a:lnTo>
                      <a:pt x="596" y="230"/>
                    </a:lnTo>
                    <a:lnTo>
                      <a:pt x="593" y="219"/>
                    </a:lnTo>
                    <a:lnTo>
                      <a:pt x="592" y="210"/>
                    </a:lnTo>
                    <a:lnTo>
                      <a:pt x="593" y="201"/>
                    </a:lnTo>
                    <a:lnTo>
                      <a:pt x="605" y="172"/>
                    </a:lnTo>
                    <a:lnTo>
                      <a:pt x="612" y="156"/>
                    </a:lnTo>
                    <a:lnTo>
                      <a:pt x="616" y="151"/>
                    </a:lnTo>
                    <a:lnTo>
                      <a:pt x="617" y="150"/>
                    </a:lnTo>
                    <a:lnTo>
                      <a:pt x="620" y="151"/>
                    </a:lnTo>
                    <a:lnTo>
                      <a:pt x="622" y="153"/>
                    </a:lnTo>
                    <a:lnTo>
                      <a:pt x="627" y="163"/>
                    </a:lnTo>
                    <a:lnTo>
                      <a:pt x="634" y="177"/>
                    </a:lnTo>
                    <a:lnTo>
                      <a:pt x="640" y="186"/>
                    </a:lnTo>
                    <a:lnTo>
                      <a:pt x="647" y="194"/>
                    </a:lnTo>
                    <a:lnTo>
                      <a:pt x="656" y="202"/>
                    </a:lnTo>
                    <a:lnTo>
                      <a:pt x="665" y="211"/>
                    </a:lnTo>
                    <a:lnTo>
                      <a:pt x="673" y="216"/>
                    </a:lnTo>
                    <a:lnTo>
                      <a:pt x="681" y="221"/>
                    </a:lnTo>
                    <a:lnTo>
                      <a:pt x="689" y="224"/>
                    </a:lnTo>
                    <a:lnTo>
                      <a:pt x="699" y="228"/>
                    </a:lnTo>
                    <a:lnTo>
                      <a:pt x="709" y="231"/>
                    </a:lnTo>
                    <a:lnTo>
                      <a:pt x="718" y="234"/>
                    </a:lnTo>
                    <a:lnTo>
                      <a:pt x="728" y="235"/>
                    </a:lnTo>
                    <a:lnTo>
                      <a:pt x="739" y="236"/>
                    </a:lnTo>
                    <a:lnTo>
                      <a:pt x="748" y="237"/>
                    </a:lnTo>
                    <a:lnTo>
                      <a:pt x="759" y="236"/>
                    </a:lnTo>
                    <a:lnTo>
                      <a:pt x="769" y="236"/>
                    </a:lnTo>
                    <a:lnTo>
                      <a:pt x="779" y="234"/>
                    </a:lnTo>
                    <a:lnTo>
                      <a:pt x="788" y="231"/>
                    </a:lnTo>
                    <a:lnTo>
                      <a:pt x="798" y="228"/>
                    </a:lnTo>
                    <a:lnTo>
                      <a:pt x="806" y="224"/>
                    </a:lnTo>
                    <a:lnTo>
                      <a:pt x="813" y="219"/>
                    </a:lnTo>
                    <a:lnTo>
                      <a:pt x="818" y="216"/>
                    </a:lnTo>
                    <a:lnTo>
                      <a:pt x="822" y="213"/>
                    </a:lnTo>
                    <a:lnTo>
                      <a:pt x="827" y="212"/>
                    </a:lnTo>
                    <a:lnTo>
                      <a:pt x="831" y="212"/>
                    </a:lnTo>
                    <a:lnTo>
                      <a:pt x="840" y="212"/>
                    </a:lnTo>
                    <a:lnTo>
                      <a:pt x="850" y="213"/>
                    </a:lnTo>
                    <a:lnTo>
                      <a:pt x="860" y="213"/>
                    </a:lnTo>
                    <a:lnTo>
                      <a:pt x="871" y="213"/>
                    </a:lnTo>
                    <a:lnTo>
                      <a:pt x="877" y="212"/>
                    </a:lnTo>
                    <a:lnTo>
                      <a:pt x="884" y="210"/>
                    </a:lnTo>
                    <a:lnTo>
                      <a:pt x="892" y="207"/>
                    </a:lnTo>
                    <a:lnTo>
                      <a:pt x="899" y="202"/>
                    </a:lnTo>
                    <a:lnTo>
                      <a:pt x="912" y="194"/>
                    </a:lnTo>
                    <a:lnTo>
                      <a:pt x="921" y="187"/>
                    </a:lnTo>
                    <a:lnTo>
                      <a:pt x="923" y="183"/>
                    </a:lnTo>
                    <a:lnTo>
                      <a:pt x="925" y="180"/>
                    </a:lnTo>
                    <a:lnTo>
                      <a:pt x="927" y="176"/>
                    </a:lnTo>
                    <a:lnTo>
                      <a:pt x="928" y="174"/>
                    </a:lnTo>
                    <a:lnTo>
                      <a:pt x="927" y="170"/>
                    </a:lnTo>
                    <a:lnTo>
                      <a:pt x="927" y="168"/>
                    </a:lnTo>
                    <a:lnTo>
                      <a:pt x="924" y="164"/>
                    </a:lnTo>
                    <a:lnTo>
                      <a:pt x="923" y="162"/>
                    </a:lnTo>
                    <a:lnTo>
                      <a:pt x="917" y="157"/>
                    </a:lnTo>
                    <a:lnTo>
                      <a:pt x="909" y="152"/>
                    </a:lnTo>
                    <a:lnTo>
                      <a:pt x="889" y="145"/>
                    </a:lnTo>
                    <a:lnTo>
                      <a:pt x="866" y="137"/>
                    </a:lnTo>
                    <a:lnTo>
                      <a:pt x="844" y="133"/>
                    </a:lnTo>
                    <a:lnTo>
                      <a:pt x="824" y="128"/>
                    </a:lnTo>
                    <a:lnTo>
                      <a:pt x="787" y="121"/>
                    </a:lnTo>
                    <a:lnTo>
                      <a:pt x="730" y="109"/>
                    </a:lnTo>
                    <a:lnTo>
                      <a:pt x="702" y="103"/>
                    </a:lnTo>
                    <a:lnTo>
                      <a:pt x="677" y="95"/>
                    </a:lnTo>
                    <a:lnTo>
                      <a:pt x="668" y="92"/>
                    </a:lnTo>
                    <a:lnTo>
                      <a:pt x="659" y="88"/>
                    </a:lnTo>
                    <a:lnTo>
                      <a:pt x="655" y="85"/>
                    </a:lnTo>
                    <a:lnTo>
                      <a:pt x="652" y="81"/>
                    </a:lnTo>
                    <a:lnTo>
                      <a:pt x="674" y="82"/>
                    </a:lnTo>
                    <a:lnTo>
                      <a:pt x="699" y="85"/>
                    </a:lnTo>
                    <a:lnTo>
                      <a:pt x="728" y="89"/>
                    </a:lnTo>
                    <a:lnTo>
                      <a:pt x="757" y="95"/>
                    </a:lnTo>
                    <a:lnTo>
                      <a:pt x="787" y="103"/>
                    </a:lnTo>
                    <a:lnTo>
                      <a:pt x="815" y="111"/>
                    </a:lnTo>
                    <a:lnTo>
                      <a:pt x="839" y="119"/>
                    </a:lnTo>
                    <a:lnTo>
                      <a:pt x="859" y="128"/>
                    </a:lnTo>
                    <a:lnTo>
                      <a:pt x="878" y="136"/>
                    </a:lnTo>
                    <a:lnTo>
                      <a:pt x="906" y="146"/>
                    </a:lnTo>
                    <a:lnTo>
                      <a:pt x="939" y="156"/>
                    </a:lnTo>
                    <a:lnTo>
                      <a:pt x="973" y="164"/>
                    </a:lnTo>
                    <a:lnTo>
                      <a:pt x="990" y="168"/>
                    </a:lnTo>
                    <a:lnTo>
                      <a:pt x="1008" y="171"/>
                    </a:lnTo>
                    <a:lnTo>
                      <a:pt x="1024" y="172"/>
                    </a:lnTo>
                    <a:lnTo>
                      <a:pt x="1041" y="175"/>
                    </a:lnTo>
                    <a:lnTo>
                      <a:pt x="1055" y="175"/>
                    </a:lnTo>
                    <a:lnTo>
                      <a:pt x="1067" y="174"/>
                    </a:lnTo>
                    <a:lnTo>
                      <a:pt x="1079" y="172"/>
                    </a:lnTo>
                    <a:lnTo>
                      <a:pt x="1088" y="169"/>
                    </a:lnTo>
                    <a:lnTo>
                      <a:pt x="1118" y="169"/>
                    </a:lnTo>
                    <a:lnTo>
                      <a:pt x="1149" y="170"/>
                    </a:lnTo>
                    <a:lnTo>
                      <a:pt x="1165" y="171"/>
                    </a:lnTo>
                    <a:lnTo>
                      <a:pt x="1181" y="174"/>
                    </a:lnTo>
                    <a:lnTo>
                      <a:pt x="1195" y="176"/>
                    </a:lnTo>
                    <a:lnTo>
                      <a:pt x="1208" y="178"/>
                    </a:lnTo>
                    <a:lnTo>
                      <a:pt x="1209" y="188"/>
                    </a:lnTo>
                    <a:lnTo>
                      <a:pt x="1209" y="199"/>
                    </a:lnTo>
                    <a:lnTo>
                      <a:pt x="1207" y="212"/>
                    </a:lnTo>
                    <a:lnTo>
                      <a:pt x="1206" y="225"/>
                    </a:lnTo>
                    <a:lnTo>
                      <a:pt x="1206" y="239"/>
                    </a:lnTo>
                    <a:lnTo>
                      <a:pt x="1207" y="251"/>
                    </a:lnTo>
                    <a:lnTo>
                      <a:pt x="1209" y="257"/>
                    </a:lnTo>
                    <a:lnTo>
                      <a:pt x="1212" y="261"/>
                    </a:lnTo>
                    <a:lnTo>
                      <a:pt x="1215" y="265"/>
                    </a:lnTo>
                    <a:lnTo>
                      <a:pt x="1219" y="269"/>
                    </a:lnTo>
                    <a:lnTo>
                      <a:pt x="1221" y="273"/>
                    </a:lnTo>
                    <a:lnTo>
                      <a:pt x="1227" y="281"/>
                    </a:lnTo>
                    <a:lnTo>
                      <a:pt x="1233" y="288"/>
                    </a:lnTo>
                    <a:lnTo>
                      <a:pt x="1242" y="295"/>
                    </a:lnTo>
                    <a:lnTo>
                      <a:pt x="1259" y="311"/>
                    </a:lnTo>
                    <a:lnTo>
                      <a:pt x="1270" y="324"/>
                    </a:lnTo>
                    <a:lnTo>
                      <a:pt x="1277" y="326"/>
                    </a:lnTo>
                    <a:lnTo>
                      <a:pt x="1286" y="331"/>
                    </a:lnTo>
                    <a:lnTo>
                      <a:pt x="1297" y="338"/>
                    </a:lnTo>
                    <a:lnTo>
                      <a:pt x="1308" y="346"/>
                    </a:lnTo>
                    <a:lnTo>
                      <a:pt x="1329" y="361"/>
                    </a:lnTo>
                    <a:lnTo>
                      <a:pt x="1343" y="375"/>
                    </a:lnTo>
                    <a:lnTo>
                      <a:pt x="1345" y="377"/>
                    </a:lnTo>
                    <a:lnTo>
                      <a:pt x="1347" y="382"/>
                    </a:lnTo>
                    <a:lnTo>
                      <a:pt x="1347" y="387"/>
                    </a:lnTo>
                    <a:lnTo>
                      <a:pt x="1347" y="391"/>
                    </a:lnTo>
                    <a:lnTo>
                      <a:pt x="1344" y="403"/>
                    </a:lnTo>
                    <a:lnTo>
                      <a:pt x="1342" y="417"/>
                    </a:lnTo>
                    <a:lnTo>
                      <a:pt x="1339" y="430"/>
                    </a:lnTo>
                    <a:lnTo>
                      <a:pt x="1339" y="444"/>
                    </a:lnTo>
                    <a:lnTo>
                      <a:pt x="1339" y="450"/>
                    </a:lnTo>
                    <a:lnTo>
                      <a:pt x="1341" y="458"/>
                    </a:lnTo>
                    <a:lnTo>
                      <a:pt x="1343" y="464"/>
                    </a:lnTo>
                    <a:lnTo>
                      <a:pt x="1345" y="470"/>
                    </a:lnTo>
                    <a:lnTo>
                      <a:pt x="1353" y="478"/>
                    </a:lnTo>
                    <a:lnTo>
                      <a:pt x="1362" y="490"/>
                    </a:lnTo>
                    <a:lnTo>
                      <a:pt x="1374" y="503"/>
                    </a:lnTo>
                    <a:lnTo>
                      <a:pt x="1388" y="517"/>
                    </a:lnTo>
                    <a:lnTo>
                      <a:pt x="1401" y="530"/>
                    </a:lnTo>
                    <a:lnTo>
                      <a:pt x="1415" y="541"/>
                    </a:lnTo>
                    <a:lnTo>
                      <a:pt x="1426" y="549"/>
                    </a:lnTo>
                    <a:lnTo>
                      <a:pt x="1436" y="554"/>
                    </a:lnTo>
                    <a:lnTo>
                      <a:pt x="1440" y="567"/>
                    </a:lnTo>
                    <a:lnTo>
                      <a:pt x="1443" y="582"/>
                    </a:lnTo>
                    <a:lnTo>
                      <a:pt x="1448" y="585"/>
                    </a:lnTo>
                    <a:lnTo>
                      <a:pt x="1454" y="586"/>
                    </a:lnTo>
                    <a:lnTo>
                      <a:pt x="1460" y="588"/>
                    </a:lnTo>
                    <a:lnTo>
                      <a:pt x="1467" y="588"/>
                    </a:lnTo>
                    <a:lnTo>
                      <a:pt x="1474" y="589"/>
                    </a:lnTo>
                    <a:lnTo>
                      <a:pt x="1481" y="591"/>
                    </a:lnTo>
                    <a:lnTo>
                      <a:pt x="1489" y="594"/>
                    </a:lnTo>
                    <a:lnTo>
                      <a:pt x="1496" y="597"/>
                    </a:lnTo>
                    <a:lnTo>
                      <a:pt x="1507" y="607"/>
                    </a:lnTo>
                    <a:lnTo>
                      <a:pt x="1517" y="615"/>
                    </a:lnTo>
                    <a:lnTo>
                      <a:pt x="1528" y="626"/>
                    </a:lnTo>
                    <a:lnTo>
                      <a:pt x="1538" y="637"/>
                    </a:lnTo>
                    <a:lnTo>
                      <a:pt x="1557" y="659"/>
                    </a:lnTo>
                    <a:lnTo>
                      <a:pt x="1575" y="681"/>
                    </a:lnTo>
                    <a:lnTo>
                      <a:pt x="1593" y="704"/>
                    </a:lnTo>
                    <a:lnTo>
                      <a:pt x="1611" y="726"/>
                    </a:lnTo>
                    <a:lnTo>
                      <a:pt x="1621" y="736"/>
                    </a:lnTo>
                    <a:lnTo>
                      <a:pt x="1631" y="745"/>
                    </a:lnTo>
                    <a:lnTo>
                      <a:pt x="1641" y="755"/>
                    </a:lnTo>
                    <a:lnTo>
                      <a:pt x="1652" y="763"/>
                    </a:lnTo>
                    <a:lnTo>
                      <a:pt x="1670" y="780"/>
                    </a:lnTo>
                    <a:lnTo>
                      <a:pt x="1697" y="804"/>
                    </a:lnTo>
                    <a:lnTo>
                      <a:pt x="1710" y="816"/>
                    </a:lnTo>
                    <a:lnTo>
                      <a:pt x="1720" y="827"/>
                    </a:lnTo>
                    <a:lnTo>
                      <a:pt x="1724" y="832"/>
                    </a:lnTo>
                    <a:lnTo>
                      <a:pt x="1727" y="837"/>
                    </a:lnTo>
                    <a:lnTo>
                      <a:pt x="1729" y="840"/>
                    </a:lnTo>
                    <a:lnTo>
                      <a:pt x="1729" y="843"/>
                    </a:lnTo>
                    <a:lnTo>
                      <a:pt x="1724" y="844"/>
                    </a:lnTo>
                    <a:lnTo>
                      <a:pt x="1717" y="847"/>
                    </a:lnTo>
                    <a:lnTo>
                      <a:pt x="1711" y="851"/>
                    </a:lnTo>
                    <a:lnTo>
                      <a:pt x="1709" y="855"/>
                    </a:lnTo>
                    <a:lnTo>
                      <a:pt x="1705" y="862"/>
                    </a:lnTo>
                    <a:lnTo>
                      <a:pt x="1698" y="875"/>
                    </a:lnTo>
                    <a:lnTo>
                      <a:pt x="1690" y="891"/>
                    </a:lnTo>
                    <a:lnTo>
                      <a:pt x="1682" y="900"/>
                    </a:lnTo>
                    <a:lnTo>
                      <a:pt x="1675" y="908"/>
                    </a:lnTo>
                    <a:lnTo>
                      <a:pt x="1670" y="914"/>
                    </a:lnTo>
                    <a:lnTo>
                      <a:pt x="1668" y="919"/>
                    </a:lnTo>
                    <a:lnTo>
                      <a:pt x="1667" y="922"/>
                    </a:lnTo>
                    <a:lnTo>
                      <a:pt x="1667" y="923"/>
                    </a:lnTo>
                    <a:lnTo>
                      <a:pt x="1669" y="925"/>
                    </a:lnTo>
                    <a:lnTo>
                      <a:pt x="1673" y="923"/>
                    </a:lnTo>
                    <a:lnTo>
                      <a:pt x="1678" y="922"/>
                    </a:lnTo>
                    <a:lnTo>
                      <a:pt x="1700" y="912"/>
                    </a:lnTo>
                    <a:lnTo>
                      <a:pt x="1722" y="902"/>
                    </a:lnTo>
                    <a:lnTo>
                      <a:pt x="1745" y="886"/>
                    </a:lnTo>
                    <a:lnTo>
                      <a:pt x="1765" y="869"/>
                    </a:lnTo>
                    <a:lnTo>
                      <a:pt x="1775" y="862"/>
                    </a:lnTo>
                    <a:lnTo>
                      <a:pt x="1787" y="857"/>
                    </a:lnTo>
                    <a:lnTo>
                      <a:pt x="1793" y="856"/>
                    </a:lnTo>
                    <a:lnTo>
                      <a:pt x="1799" y="856"/>
                    </a:lnTo>
                    <a:lnTo>
                      <a:pt x="1806" y="856"/>
                    </a:lnTo>
                    <a:lnTo>
                      <a:pt x="1814" y="857"/>
                    </a:lnTo>
                    <a:lnTo>
                      <a:pt x="1815" y="863"/>
                    </a:lnTo>
                    <a:lnTo>
                      <a:pt x="1817" y="869"/>
                    </a:lnTo>
                    <a:lnTo>
                      <a:pt x="1820" y="875"/>
                    </a:lnTo>
                    <a:lnTo>
                      <a:pt x="1823" y="881"/>
                    </a:lnTo>
                    <a:lnTo>
                      <a:pt x="1832" y="894"/>
                    </a:lnTo>
                    <a:lnTo>
                      <a:pt x="1840" y="906"/>
                    </a:lnTo>
                    <a:lnTo>
                      <a:pt x="1848" y="920"/>
                    </a:lnTo>
                    <a:lnTo>
                      <a:pt x="1856" y="934"/>
                    </a:lnTo>
                    <a:lnTo>
                      <a:pt x="1859" y="941"/>
                    </a:lnTo>
                    <a:lnTo>
                      <a:pt x="1862" y="949"/>
                    </a:lnTo>
                    <a:lnTo>
                      <a:pt x="1863" y="956"/>
                    </a:lnTo>
                    <a:lnTo>
                      <a:pt x="1863" y="964"/>
                    </a:lnTo>
                    <a:lnTo>
                      <a:pt x="1862" y="965"/>
                    </a:lnTo>
                    <a:lnTo>
                      <a:pt x="1846" y="965"/>
                    </a:lnTo>
                    <a:lnTo>
                      <a:pt x="1830" y="968"/>
                    </a:lnTo>
                    <a:lnTo>
                      <a:pt x="1817" y="971"/>
                    </a:lnTo>
                    <a:lnTo>
                      <a:pt x="1803" y="976"/>
                    </a:lnTo>
                    <a:lnTo>
                      <a:pt x="1804" y="991"/>
                    </a:lnTo>
                    <a:lnTo>
                      <a:pt x="1806" y="1003"/>
                    </a:lnTo>
                    <a:lnTo>
                      <a:pt x="1808" y="1006"/>
                    </a:lnTo>
                    <a:lnTo>
                      <a:pt x="1810" y="1010"/>
                    </a:lnTo>
                    <a:lnTo>
                      <a:pt x="1812" y="1012"/>
                    </a:lnTo>
                    <a:lnTo>
                      <a:pt x="1815" y="1015"/>
                    </a:lnTo>
                    <a:lnTo>
                      <a:pt x="1822" y="1017"/>
                    </a:lnTo>
                    <a:lnTo>
                      <a:pt x="1829" y="1018"/>
                    </a:lnTo>
                    <a:lnTo>
                      <a:pt x="1836" y="1017"/>
                    </a:lnTo>
                    <a:lnTo>
                      <a:pt x="1845" y="1014"/>
                    </a:lnTo>
                    <a:lnTo>
                      <a:pt x="1876" y="998"/>
                    </a:lnTo>
                    <a:lnTo>
                      <a:pt x="1898" y="988"/>
                    </a:lnTo>
                    <a:lnTo>
                      <a:pt x="1901" y="993"/>
                    </a:lnTo>
                    <a:lnTo>
                      <a:pt x="1909" y="998"/>
                    </a:lnTo>
                    <a:lnTo>
                      <a:pt x="1918" y="1003"/>
                    </a:lnTo>
                    <a:lnTo>
                      <a:pt x="1929" y="1006"/>
                    </a:lnTo>
                    <a:lnTo>
                      <a:pt x="1941" y="1010"/>
                    </a:lnTo>
                    <a:lnTo>
                      <a:pt x="1953" y="1012"/>
                    </a:lnTo>
                    <a:lnTo>
                      <a:pt x="1963" y="1015"/>
                    </a:lnTo>
                    <a:lnTo>
                      <a:pt x="1969" y="1014"/>
                    </a:lnTo>
                    <a:lnTo>
                      <a:pt x="1981" y="1009"/>
                    </a:lnTo>
                    <a:lnTo>
                      <a:pt x="1992" y="1002"/>
                    </a:lnTo>
                    <a:lnTo>
                      <a:pt x="1996" y="998"/>
                    </a:lnTo>
                    <a:lnTo>
                      <a:pt x="2001" y="997"/>
                    </a:lnTo>
                    <a:lnTo>
                      <a:pt x="2007" y="997"/>
                    </a:lnTo>
                    <a:lnTo>
                      <a:pt x="2012" y="999"/>
                    </a:lnTo>
                    <a:lnTo>
                      <a:pt x="2028" y="1010"/>
                    </a:lnTo>
                    <a:lnTo>
                      <a:pt x="2042" y="1022"/>
                    </a:lnTo>
                    <a:lnTo>
                      <a:pt x="2047" y="1029"/>
                    </a:lnTo>
                    <a:lnTo>
                      <a:pt x="2051" y="1036"/>
                    </a:lnTo>
                    <a:lnTo>
                      <a:pt x="2053" y="1046"/>
                    </a:lnTo>
                    <a:lnTo>
                      <a:pt x="2053" y="1057"/>
                    </a:lnTo>
                    <a:lnTo>
                      <a:pt x="2052" y="1074"/>
                    </a:lnTo>
                    <a:lnTo>
                      <a:pt x="2048" y="1101"/>
                    </a:lnTo>
                    <a:lnTo>
                      <a:pt x="2046" y="1115"/>
                    </a:lnTo>
                    <a:lnTo>
                      <a:pt x="2043" y="1125"/>
                    </a:lnTo>
                    <a:lnTo>
                      <a:pt x="2041" y="1134"/>
                    </a:lnTo>
                    <a:lnTo>
                      <a:pt x="2037" y="1138"/>
                    </a:lnTo>
                    <a:lnTo>
                      <a:pt x="2036" y="1141"/>
                    </a:lnTo>
                    <a:lnTo>
                      <a:pt x="2034" y="1144"/>
                    </a:lnTo>
                    <a:lnTo>
                      <a:pt x="2022" y="1144"/>
                    </a:lnTo>
                    <a:lnTo>
                      <a:pt x="2010" y="1144"/>
                    </a:lnTo>
                    <a:lnTo>
                      <a:pt x="2005" y="1144"/>
                    </a:lnTo>
                    <a:lnTo>
                      <a:pt x="1999" y="1142"/>
                    </a:lnTo>
                    <a:lnTo>
                      <a:pt x="1993" y="1140"/>
                    </a:lnTo>
                    <a:lnTo>
                      <a:pt x="1988" y="1138"/>
                    </a:lnTo>
                    <a:lnTo>
                      <a:pt x="1963" y="1122"/>
                    </a:lnTo>
                    <a:lnTo>
                      <a:pt x="1950" y="1112"/>
                    </a:lnTo>
                    <a:lnTo>
                      <a:pt x="1942" y="1111"/>
                    </a:lnTo>
                    <a:lnTo>
                      <a:pt x="1934" y="1110"/>
                    </a:lnTo>
                    <a:lnTo>
                      <a:pt x="1922" y="1111"/>
                    </a:lnTo>
                    <a:lnTo>
                      <a:pt x="1904" y="1113"/>
                    </a:lnTo>
                    <a:lnTo>
                      <a:pt x="1895" y="1116"/>
                    </a:lnTo>
                    <a:lnTo>
                      <a:pt x="1887" y="1118"/>
                    </a:lnTo>
                    <a:lnTo>
                      <a:pt x="1879" y="1122"/>
                    </a:lnTo>
                    <a:lnTo>
                      <a:pt x="1870" y="1125"/>
                    </a:lnTo>
                    <a:lnTo>
                      <a:pt x="1856" y="1135"/>
                    </a:lnTo>
                    <a:lnTo>
                      <a:pt x="1842" y="1146"/>
                    </a:lnTo>
                    <a:lnTo>
                      <a:pt x="1816" y="1171"/>
                    </a:lnTo>
                    <a:lnTo>
                      <a:pt x="1792" y="1198"/>
                    </a:lnTo>
                    <a:lnTo>
                      <a:pt x="1762" y="1221"/>
                    </a:lnTo>
                    <a:lnTo>
                      <a:pt x="1718" y="1254"/>
                    </a:lnTo>
                    <a:lnTo>
                      <a:pt x="1698" y="1272"/>
                    </a:lnTo>
                    <a:lnTo>
                      <a:pt x="1680" y="1289"/>
                    </a:lnTo>
                    <a:lnTo>
                      <a:pt x="1673" y="1296"/>
                    </a:lnTo>
                    <a:lnTo>
                      <a:pt x="1667" y="1304"/>
                    </a:lnTo>
                    <a:lnTo>
                      <a:pt x="1663" y="1311"/>
                    </a:lnTo>
                    <a:lnTo>
                      <a:pt x="1662" y="1317"/>
                    </a:lnTo>
                    <a:lnTo>
                      <a:pt x="1676" y="1317"/>
                    </a:lnTo>
                    <a:lnTo>
                      <a:pt x="1693" y="1318"/>
                    </a:lnTo>
                    <a:lnTo>
                      <a:pt x="1696" y="1320"/>
                    </a:lnTo>
                    <a:lnTo>
                      <a:pt x="1698" y="1322"/>
                    </a:lnTo>
                    <a:lnTo>
                      <a:pt x="1699" y="1323"/>
                    </a:lnTo>
                    <a:lnTo>
                      <a:pt x="1700" y="1325"/>
                    </a:lnTo>
                    <a:lnTo>
                      <a:pt x="1703" y="1326"/>
                    </a:lnTo>
                    <a:lnTo>
                      <a:pt x="1700" y="1338"/>
                    </a:lnTo>
                    <a:lnTo>
                      <a:pt x="1697" y="1351"/>
                    </a:lnTo>
                    <a:lnTo>
                      <a:pt x="1692" y="1364"/>
                    </a:lnTo>
                    <a:lnTo>
                      <a:pt x="1691" y="1377"/>
                    </a:lnTo>
                    <a:lnTo>
                      <a:pt x="1692" y="1409"/>
                    </a:lnTo>
                    <a:lnTo>
                      <a:pt x="1693" y="1450"/>
                    </a:lnTo>
                    <a:lnTo>
                      <a:pt x="1692" y="1472"/>
                    </a:lnTo>
                    <a:lnTo>
                      <a:pt x="1691" y="1491"/>
                    </a:lnTo>
                    <a:lnTo>
                      <a:pt x="1690" y="1509"/>
                    </a:lnTo>
                    <a:lnTo>
                      <a:pt x="1687" y="1524"/>
                    </a:lnTo>
                    <a:lnTo>
                      <a:pt x="1685" y="1530"/>
                    </a:lnTo>
                    <a:lnTo>
                      <a:pt x="1682" y="1535"/>
                    </a:lnTo>
                    <a:lnTo>
                      <a:pt x="1680" y="1538"/>
                    </a:lnTo>
                    <a:lnTo>
                      <a:pt x="1675" y="1542"/>
                    </a:lnTo>
                    <a:lnTo>
                      <a:pt x="1672" y="1544"/>
                    </a:lnTo>
                    <a:lnTo>
                      <a:pt x="1667" y="1545"/>
                    </a:lnTo>
                    <a:lnTo>
                      <a:pt x="1661" y="1547"/>
                    </a:lnTo>
                    <a:lnTo>
                      <a:pt x="1655" y="1547"/>
                    </a:lnTo>
                    <a:lnTo>
                      <a:pt x="1641" y="1545"/>
                    </a:lnTo>
                    <a:lnTo>
                      <a:pt x="1627" y="1543"/>
                    </a:lnTo>
                    <a:lnTo>
                      <a:pt x="1613" y="1538"/>
                    </a:lnTo>
                    <a:lnTo>
                      <a:pt x="1596" y="1532"/>
                    </a:lnTo>
                    <a:lnTo>
                      <a:pt x="1564" y="1517"/>
                    </a:lnTo>
                    <a:lnTo>
                      <a:pt x="1534" y="1500"/>
                    </a:lnTo>
                    <a:lnTo>
                      <a:pt x="1510" y="1484"/>
                    </a:lnTo>
                    <a:lnTo>
                      <a:pt x="1493" y="1472"/>
                    </a:lnTo>
                    <a:lnTo>
                      <a:pt x="1468" y="1453"/>
                    </a:lnTo>
                    <a:lnTo>
                      <a:pt x="1446" y="1435"/>
                    </a:lnTo>
                    <a:lnTo>
                      <a:pt x="1436" y="1425"/>
                    </a:lnTo>
                    <a:lnTo>
                      <a:pt x="1426" y="1416"/>
                    </a:lnTo>
                    <a:lnTo>
                      <a:pt x="1415" y="1402"/>
                    </a:lnTo>
                    <a:lnTo>
                      <a:pt x="1404" y="1388"/>
                    </a:lnTo>
                    <a:lnTo>
                      <a:pt x="1397" y="1379"/>
                    </a:lnTo>
                    <a:lnTo>
                      <a:pt x="1386" y="1369"/>
                    </a:lnTo>
                    <a:lnTo>
                      <a:pt x="1373" y="1357"/>
                    </a:lnTo>
                    <a:lnTo>
                      <a:pt x="1359" y="1343"/>
                    </a:lnTo>
                    <a:lnTo>
                      <a:pt x="1343" y="1332"/>
                    </a:lnTo>
                    <a:lnTo>
                      <a:pt x="1329" y="1323"/>
                    </a:lnTo>
                    <a:lnTo>
                      <a:pt x="1321" y="1319"/>
                    </a:lnTo>
                    <a:lnTo>
                      <a:pt x="1315" y="1316"/>
                    </a:lnTo>
                    <a:lnTo>
                      <a:pt x="1310" y="1314"/>
                    </a:lnTo>
                    <a:lnTo>
                      <a:pt x="1306" y="1313"/>
                    </a:lnTo>
                    <a:lnTo>
                      <a:pt x="1307" y="1320"/>
                    </a:lnTo>
                    <a:lnTo>
                      <a:pt x="1308" y="1328"/>
                    </a:lnTo>
                    <a:lnTo>
                      <a:pt x="1310" y="1335"/>
                    </a:lnTo>
                    <a:lnTo>
                      <a:pt x="1314" y="1342"/>
                    </a:lnTo>
                    <a:lnTo>
                      <a:pt x="1324" y="1358"/>
                    </a:lnTo>
                    <a:lnTo>
                      <a:pt x="1335" y="1375"/>
                    </a:lnTo>
                    <a:lnTo>
                      <a:pt x="1345" y="1391"/>
                    </a:lnTo>
                    <a:lnTo>
                      <a:pt x="1355" y="1408"/>
                    </a:lnTo>
                    <a:lnTo>
                      <a:pt x="1363" y="1424"/>
                    </a:lnTo>
                    <a:lnTo>
                      <a:pt x="1369" y="1438"/>
                    </a:lnTo>
                    <a:lnTo>
                      <a:pt x="1374" y="1453"/>
                    </a:lnTo>
                    <a:lnTo>
                      <a:pt x="1380" y="1465"/>
                    </a:lnTo>
                    <a:lnTo>
                      <a:pt x="1389" y="1477"/>
                    </a:lnTo>
                    <a:lnTo>
                      <a:pt x="1397" y="1487"/>
                    </a:lnTo>
                    <a:lnTo>
                      <a:pt x="1407" y="1496"/>
                    </a:lnTo>
                    <a:lnTo>
                      <a:pt x="1418" y="1506"/>
                    </a:lnTo>
                    <a:lnTo>
                      <a:pt x="1428" y="1513"/>
                    </a:lnTo>
                    <a:lnTo>
                      <a:pt x="1440" y="1521"/>
                    </a:lnTo>
                    <a:lnTo>
                      <a:pt x="1462" y="1536"/>
                    </a:lnTo>
                    <a:lnTo>
                      <a:pt x="1483" y="1550"/>
                    </a:lnTo>
                    <a:lnTo>
                      <a:pt x="1491" y="1558"/>
                    </a:lnTo>
                    <a:lnTo>
                      <a:pt x="1498" y="1566"/>
                    </a:lnTo>
                    <a:lnTo>
                      <a:pt x="1504" y="1574"/>
                    </a:lnTo>
                    <a:lnTo>
                      <a:pt x="1509" y="1584"/>
                    </a:lnTo>
                    <a:lnTo>
                      <a:pt x="1509" y="1590"/>
                    </a:lnTo>
                    <a:lnTo>
                      <a:pt x="1510" y="1597"/>
                    </a:lnTo>
                    <a:lnTo>
                      <a:pt x="1509" y="1606"/>
                    </a:lnTo>
                    <a:lnTo>
                      <a:pt x="1509" y="1614"/>
                    </a:lnTo>
                    <a:lnTo>
                      <a:pt x="1504" y="1635"/>
                    </a:lnTo>
                    <a:lnTo>
                      <a:pt x="1498" y="1654"/>
                    </a:lnTo>
                    <a:lnTo>
                      <a:pt x="1493" y="1663"/>
                    </a:lnTo>
                    <a:lnTo>
                      <a:pt x="1490" y="1672"/>
                    </a:lnTo>
                    <a:lnTo>
                      <a:pt x="1484" y="1679"/>
                    </a:lnTo>
                    <a:lnTo>
                      <a:pt x="1479" y="1685"/>
                    </a:lnTo>
                    <a:lnTo>
                      <a:pt x="1473" y="1690"/>
                    </a:lnTo>
                    <a:lnTo>
                      <a:pt x="1466" y="1692"/>
                    </a:lnTo>
                    <a:lnTo>
                      <a:pt x="1462" y="1692"/>
                    </a:lnTo>
                    <a:lnTo>
                      <a:pt x="1459" y="1691"/>
                    </a:lnTo>
                    <a:lnTo>
                      <a:pt x="1455" y="1691"/>
                    </a:lnTo>
                    <a:lnTo>
                      <a:pt x="1451" y="1689"/>
                    </a:lnTo>
                    <a:lnTo>
                      <a:pt x="1443" y="1684"/>
                    </a:lnTo>
                    <a:lnTo>
                      <a:pt x="1436" y="1678"/>
                    </a:lnTo>
                    <a:lnTo>
                      <a:pt x="1428" y="1673"/>
                    </a:lnTo>
                    <a:lnTo>
                      <a:pt x="1422" y="1667"/>
                    </a:lnTo>
                    <a:lnTo>
                      <a:pt x="1414" y="1657"/>
                    </a:lnTo>
                    <a:lnTo>
                      <a:pt x="1404" y="1649"/>
                    </a:lnTo>
                    <a:lnTo>
                      <a:pt x="1401" y="1645"/>
                    </a:lnTo>
                    <a:lnTo>
                      <a:pt x="1396" y="1642"/>
                    </a:lnTo>
                    <a:lnTo>
                      <a:pt x="1390" y="1639"/>
                    </a:lnTo>
                    <a:lnTo>
                      <a:pt x="1384" y="1638"/>
                    </a:lnTo>
                    <a:lnTo>
                      <a:pt x="1377" y="1638"/>
                    </a:lnTo>
                    <a:lnTo>
                      <a:pt x="1368" y="1638"/>
                    </a:lnTo>
                    <a:lnTo>
                      <a:pt x="1357" y="1639"/>
                    </a:lnTo>
                    <a:lnTo>
                      <a:pt x="1345" y="1642"/>
                    </a:lnTo>
                    <a:lnTo>
                      <a:pt x="1316" y="1649"/>
                    </a:lnTo>
                    <a:lnTo>
                      <a:pt x="1284" y="1654"/>
                    </a:lnTo>
                    <a:lnTo>
                      <a:pt x="1249" y="1657"/>
                    </a:lnTo>
                    <a:lnTo>
                      <a:pt x="1214" y="1660"/>
                    </a:lnTo>
                    <a:lnTo>
                      <a:pt x="1196" y="1660"/>
                    </a:lnTo>
                    <a:lnTo>
                      <a:pt x="1178" y="1660"/>
                    </a:lnTo>
                    <a:lnTo>
                      <a:pt x="1161" y="1659"/>
                    </a:lnTo>
                    <a:lnTo>
                      <a:pt x="1144" y="1656"/>
                    </a:lnTo>
                    <a:lnTo>
                      <a:pt x="1128" y="1653"/>
                    </a:lnTo>
                    <a:lnTo>
                      <a:pt x="1112" y="1649"/>
                    </a:lnTo>
                    <a:lnTo>
                      <a:pt x="1097" y="1644"/>
                    </a:lnTo>
                    <a:lnTo>
                      <a:pt x="1083" y="1638"/>
                    </a:lnTo>
                    <a:lnTo>
                      <a:pt x="1072" y="1633"/>
                    </a:lnTo>
                    <a:lnTo>
                      <a:pt x="1060" y="1630"/>
                    </a:lnTo>
                    <a:lnTo>
                      <a:pt x="1048" y="1627"/>
                    </a:lnTo>
                    <a:lnTo>
                      <a:pt x="1036" y="1624"/>
                    </a:lnTo>
                    <a:lnTo>
                      <a:pt x="1025" y="1620"/>
                    </a:lnTo>
                    <a:lnTo>
                      <a:pt x="1013" y="1616"/>
                    </a:lnTo>
                    <a:lnTo>
                      <a:pt x="1004" y="1610"/>
                    </a:lnTo>
                    <a:lnTo>
                      <a:pt x="994" y="1602"/>
                    </a:lnTo>
                    <a:lnTo>
                      <a:pt x="989" y="1594"/>
                    </a:lnTo>
                    <a:lnTo>
                      <a:pt x="983" y="1584"/>
                    </a:lnTo>
                    <a:lnTo>
                      <a:pt x="978" y="1572"/>
                    </a:lnTo>
                    <a:lnTo>
                      <a:pt x="973" y="1559"/>
                    </a:lnTo>
                    <a:lnTo>
                      <a:pt x="966" y="1532"/>
                    </a:lnTo>
                    <a:lnTo>
                      <a:pt x="960" y="1512"/>
                    </a:lnTo>
                    <a:lnTo>
                      <a:pt x="884" y="1490"/>
                    </a:lnTo>
                    <a:lnTo>
                      <a:pt x="877" y="1490"/>
                    </a:lnTo>
                    <a:lnTo>
                      <a:pt x="869" y="1488"/>
                    </a:lnTo>
                    <a:lnTo>
                      <a:pt x="860" y="1485"/>
                    </a:lnTo>
                    <a:lnTo>
                      <a:pt x="853" y="1482"/>
                    </a:lnTo>
                    <a:lnTo>
                      <a:pt x="846" y="1481"/>
                    </a:lnTo>
                    <a:lnTo>
                      <a:pt x="840" y="1481"/>
                    </a:lnTo>
                    <a:lnTo>
                      <a:pt x="838" y="1482"/>
                    </a:lnTo>
                    <a:lnTo>
                      <a:pt x="836" y="1483"/>
                    </a:lnTo>
                    <a:lnTo>
                      <a:pt x="835" y="1487"/>
                    </a:lnTo>
                    <a:lnTo>
                      <a:pt x="834" y="1490"/>
                    </a:lnTo>
                    <a:lnTo>
                      <a:pt x="831" y="1505"/>
                    </a:lnTo>
                    <a:lnTo>
                      <a:pt x="827" y="1520"/>
                    </a:lnTo>
                    <a:lnTo>
                      <a:pt x="821" y="1536"/>
                    </a:lnTo>
                    <a:lnTo>
                      <a:pt x="815" y="1549"/>
                    </a:lnTo>
                    <a:lnTo>
                      <a:pt x="815" y="1552"/>
                    </a:lnTo>
                    <a:lnTo>
                      <a:pt x="817" y="1553"/>
                    </a:lnTo>
                    <a:lnTo>
                      <a:pt x="819" y="1555"/>
                    </a:lnTo>
                    <a:lnTo>
                      <a:pt x="824" y="1558"/>
                    </a:lnTo>
                    <a:lnTo>
                      <a:pt x="835" y="1561"/>
                    </a:lnTo>
                    <a:lnTo>
                      <a:pt x="850" y="1565"/>
                    </a:lnTo>
                    <a:lnTo>
                      <a:pt x="864" y="1570"/>
                    </a:lnTo>
                    <a:lnTo>
                      <a:pt x="876" y="1573"/>
                    </a:lnTo>
                    <a:lnTo>
                      <a:pt x="882" y="1576"/>
                    </a:lnTo>
                    <a:lnTo>
                      <a:pt x="887" y="1578"/>
                    </a:lnTo>
                    <a:lnTo>
                      <a:pt x="890" y="1579"/>
                    </a:lnTo>
                    <a:lnTo>
                      <a:pt x="893" y="1582"/>
                    </a:lnTo>
                    <a:lnTo>
                      <a:pt x="900" y="1597"/>
                    </a:lnTo>
                    <a:lnTo>
                      <a:pt x="909" y="1612"/>
                    </a:lnTo>
                    <a:lnTo>
                      <a:pt x="916" y="1627"/>
                    </a:lnTo>
                    <a:lnTo>
                      <a:pt x="922" y="1643"/>
                    </a:lnTo>
                    <a:lnTo>
                      <a:pt x="925" y="1656"/>
                    </a:lnTo>
                    <a:lnTo>
                      <a:pt x="928" y="1668"/>
                    </a:lnTo>
                    <a:lnTo>
                      <a:pt x="929" y="1680"/>
                    </a:lnTo>
                    <a:lnTo>
                      <a:pt x="930" y="1692"/>
                    </a:lnTo>
                    <a:lnTo>
                      <a:pt x="931" y="1704"/>
                    </a:lnTo>
                    <a:lnTo>
                      <a:pt x="934" y="1716"/>
                    </a:lnTo>
                    <a:lnTo>
                      <a:pt x="936" y="1728"/>
                    </a:lnTo>
                    <a:lnTo>
                      <a:pt x="942" y="1742"/>
                    </a:lnTo>
                    <a:lnTo>
                      <a:pt x="946" y="1746"/>
                    </a:lnTo>
                    <a:lnTo>
                      <a:pt x="949" y="1750"/>
                    </a:lnTo>
                    <a:lnTo>
                      <a:pt x="954" y="1751"/>
                    </a:lnTo>
                    <a:lnTo>
                      <a:pt x="959" y="1751"/>
                    </a:lnTo>
                    <a:lnTo>
                      <a:pt x="965" y="1751"/>
                    </a:lnTo>
                    <a:lnTo>
                      <a:pt x="971" y="1749"/>
                    </a:lnTo>
                    <a:lnTo>
                      <a:pt x="977" y="1746"/>
                    </a:lnTo>
                    <a:lnTo>
                      <a:pt x="983" y="1743"/>
                    </a:lnTo>
                    <a:lnTo>
                      <a:pt x="1007" y="1727"/>
                    </a:lnTo>
                    <a:lnTo>
                      <a:pt x="1024" y="1718"/>
                    </a:lnTo>
                    <a:lnTo>
                      <a:pt x="1022" y="1730"/>
                    </a:lnTo>
                    <a:lnTo>
                      <a:pt x="1019" y="1742"/>
                    </a:lnTo>
                    <a:lnTo>
                      <a:pt x="1013" y="1755"/>
                    </a:lnTo>
                    <a:lnTo>
                      <a:pt x="1008" y="1768"/>
                    </a:lnTo>
                    <a:lnTo>
                      <a:pt x="1002" y="1781"/>
                    </a:lnTo>
                    <a:lnTo>
                      <a:pt x="998" y="1796"/>
                    </a:lnTo>
                    <a:lnTo>
                      <a:pt x="994" y="1809"/>
                    </a:lnTo>
                    <a:lnTo>
                      <a:pt x="993" y="1822"/>
                    </a:lnTo>
                    <a:lnTo>
                      <a:pt x="993" y="1844"/>
                    </a:lnTo>
                    <a:lnTo>
                      <a:pt x="995" y="1878"/>
                    </a:lnTo>
                    <a:lnTo>
                      <a:pt x="995" y="1894"/>
                    </a:lnTo>
                    <a:lnTo>
                      <a:pt x="995" y="1909"/>
                    </a:lnTo>
                    <a:lnTo>
                      <a:pt x="994" y="1914"/>
                    </a:lnTo>
                    <a:lnTo>
                      <a:pt x="993" y="1919"/>
                    </a:lnTo>
                    <a:lnTo>
                      <a:pt x="992" y="1921"/>
                    </a:lnTo>
                    <a:lnTo>
                      <a:pt x="990" y="1922"/>
                    </a:lnTo>
                    <a:lnTo>
                      <a:pt x="989" y="1920"/>
                    </a:lnTo>
                    <a:lnTo>
                      <a:pt x="988" y="1917"/>
                    </a:lnTo>
                    <a:lnTo>
                      <a:pt x="986" y="1915"/>
                    </a:lnTo>
                    <a:lnTo>
                      <a:pt x="983" y="1914"/>
                    </a:lnTo>
                    <a:lnTo>
                      <a:pt x="977" y="1911"/>
                    </a:lnTo>
                    <a:lnTo>
                      <a:pt x="969" y="1910"/>
                    </a:lnTo>
                    <a:lnTo>
                      <a:pt x="948" y="1910"/>
                    </a:lnTo>
                    <a:lnTo>
                      <a:pt x="925" y="1913"/>
                    </a:lnTo>
                    <a:lnTo>
                      <a:pt x="901" y="1915"/>
                    </a:lnTo>
                    <a:lnTo>
                      <a:pt x="878" y="1917"/>
                    </a:lnTo>
                    <a:lnTo>
                      <a:pt x="868" y="1917"/>
                    </a:lnTo>
                    <a:lnTo>
                      <a:pt x="858" y="1917"/>
                    </a:lnTo>
                    <a:lnTo>
                      <a:pt x="850" y="1917"/>
                    </a:lnTo>
                    <a:lnTo>
                      <a:pt x="842" y="1915"/>
                    </a:lnTo>
                    <a:lnTo>
                      <a:pt x="834" y="1913"/>
                    </a:lnTo>
                    <a:lnTo>
                      <a:pt x="828" y="1911"/>
                    </a:lnTo>
                    <a:lnTo>
                      <a:pt x="821" y="1911"/>
                    </a:lnTo>
                    <a:lnTo>
                      <a:pt x="816" y="1913"/>
                    </a:lnTo>
                    <a:lnTo>
                      <a:pt x="811" y="1914"/>
                    </a:lnTo>
                    <a:lnTo>
                      <a:pt x="807" y="1917"/>
                    </a:lnTo>
                    <a:lnTo>
                      <a:pt x="804" y="1920"/>
                    </a:lnTo>
                    <a:lnTo>
                      <a:pt x="803" y="1923"/>
                    </a:lnTo>
                    <a:lnTo>
                      <a:pt x="801" y="1928"/>
                    </a:lnTo>
                    <a:lnTo>
                      <a:pt x="800" y="1933"/>
                    </a:lnTo>
                    <a:lnTo>
                      <a:pt x="801" y="1937"/>
                    </a:lnTo>
                    <a:lnTo>
                      <a:pt x="803" y="1941"/>
                    </a:lnTo>
                    <a:lnTo>
                      <a:pt x="805" y="1946"/>
                    </a:lnTo>
                    <a:lnTo>
                      <a:pt x="809" y="1951"/>
                    </a:lnTo>
                    <a:lnTo>
                      <a:pt x="813" y="1956"/>
                    </a:lnTo>
                    <a:lnTo>
                      <a:pt x="818" y="1959"/>
                    </a:lnTo>
                    <a:lnTo>
                      <a:pt x="829" y="1964"/>
                    </a:lnTo>
                    <a:lnTo>
                      <a:pt x="842" y="1968"/>
                    </a:lnTo>
                    <a:lnTo>
                      <a:pt x="856" y="1970"/>
                    </a:lnTo>
                    <a:lnTo>
                      <a:pt x="870" y="1973"/>
                    </a:lnTo>
                    <a:lnTo>
                      <a:pt x="899" y="1973"/>
                    </a:lnTo>
                    <a:lnTo>
                      <a:pt x="924" y="1971"/>
                    </a:lnTo>
                    <a:lnTo>
                      <a:pt x="998" y="1970"/>
                    </a:lnTo>
                    <a:lnTo>
                      <a:pt x="999" y="1970"/>
                    </a:lnTo>
                    <a:lnTo>
                      <a:pt x="1001" y="1973"/>
                    </a:lnTo>
                    <a:lnTo>
                      <a:pt x="1002" y="1975"/>
                    </a:lnTo>
                    <a:lnTo>
                      <a:pt x="1005" y="1978"/>
                    </a:lnTo>
                    <a:lnTo>
                      <a:pt x="1008" y="1987"/>
                    </a:lnTo>
                    <a:lnTo>
                      <a:pt x="1012" y="1997"/>
                    </a:lnTo>
                    <a:lnTo>
                      <a:pt x="1019" y="2018"/>
                    </a:lnTo>
                    <a:lnTo>
                      <a:pt x="1025" y="2033"/>
                    </a:lnTo>
                    <a:lnTo>
                      <a:pt x="1026" y="2036"/>
                    </a:lnTo>
                    <a:lnTo>
                      <a:pt x="1025" y="2043"/>
                    </a:lnTo>
                    <a:lnTo>
                      <a:pt x="1023" y="2049"/>
                    </a:lnTo>
                    <a:lnTo>
                      <a:pt x="1020" y="2057"/>
                    </a:lnTo>
                    <a:lnTo>
                      <a:pt x="1018" y="2065"/>
                    </a:lnTo>
                    <a:lnTo>
                      <a:pt x="1016" y="2075"/>
                    </a:lnTo>
                    <a:lnTo>
                      <a:pt x="1016" y="2085"/>
                    </a:lnTo>
                    <a:lnTo>
                      <a:pt x="1017" y="2094"/>
                    </a:lnTo>
                    <a:lnTo>
                      <a:pt x="1024" y="2093"/>
                    </a:lnTo>
                    <a:lnTo>
                      <a:pt x="1031" y="2091"/>
                    </a:lnTo>
                    <a:lnTo>
                      <a:pt x="1037" y="2087"/>
                    </a:lnTo>
                    <a:lnTo>
                      <a:pt x="1042" y="2085"/>
                    </a:lnTo>
                    <a:lnTo>
                      <a:pt x="1043" y="2083"/>
                    </a:lnTo>
                    <a:lnTo>
                      <a:pt x="1045" y="2083"/>
                    </a:lnTo>
                    <a:lnTo>
                      <a:pt x="1046" y="2085"/>
                    </a:lnTo>
                    <a:lnTo>
                      <a:pt x="1046" y="2086"/>
                    </a:lnTo>
                    <a:lnTo>
                      <a:pt x="1045" y="2092"/>
                    </a:lnTo>
                    <a:lnTo>
                      <a:pt x="1041" y="2104"/>
                    </a:lnTo>
                    <a:lnTo>
                      <a:pt x="1038" y="2109"/>
                    </a:lnTo>
                    <a:lnTo>
                      <a:pt x="1036" y="2115"/>
                    </a:lnTo>
                    <a:lnTo>
                      <a:pt x="1032" y="2120"/>
                    </a:lnTo>
                    <a:lnTo>
                      <a:pt x="1028" y="2124"/>
                    </a:lnTo>
                    <a:lnTo>
                      <a:pt x="1019" y="2133"/>
                    </a:lnTo>
                    <a:lnTo>
                      <a:pt x="1010" y="2141"/>
                    </a:lnTo>
                    <a:lnTo>
                      <a:pt x="999" y="2150"/>
                    </a:lnTo>
                    <a:lnTo>
                      <a:pt x="990" y="2158"/>
                    </a:lnTo>
                    <a:lnTo>
                      <a:pt x="982" y="2168"/>
                    </a:lnTo>
                    <a:lnTo>
                      <a:pt x="976" y="2177"/>
                    </a:lnTo>
                    <a:lnTo>
                      <a:pt x="975" y="2185"/>
                    </a:lnTo>
                    <a:lnTo>
                      <a:pt x="972" y="2191"/>
                    </a:lnTo>
                    <a:lnTo>
                      <a:pt x="970" y="2198"/>
                    </a:lnTo>
                    <a:lnTo>
                      <a:pt x="966" y="2204"/>
                    </a:lnTo>
                    <a:lnTo>
                      <a:pt x="957" y="2216"/>
                    </a:lnTo>
                    <a:lnTo>
                      <a:pt x="947" y="2225"/>
                    </a:lnTo>
                    <a:lnTo>
                      <a:pt x="941" y="2230"/>
                    </a:lnTo>
                    <a:lnTo>
                      <a:pt x="934" y="2234"/>
                    </a:lnTo>
                    <a:lnTo>
                      <a:pt x="928" y="2237"/>
                    </a:lnTo>
                    <a:lnTo>
                      <a:pt x="922" y="2240"/>
                    </a:lnTo>
                    <a:lnTo>
                      <a:pt x="915" y="2242"/>
                    </a:lnTo>
                    <a:lnTo>
                      <a:pt x="907" y="2243"/>
                    </a:lnTo>
                    <a:lnTo>
                      <a:pt x="901" y="2245"/>
                    </a:lnTo>
                    <a:lnTo>
                      <a:pt x="894" y="2245"/>
                    </a:lnTo>
                    <a:lnTo>
                      <a:pt x="887" y="2246"/>
                    </a:lnTo>
                    <a:lnTo>
                      <a:pt x="878" y="2249"/>
                    </a:lnTo>
                    <a:lnTo>
                      <a:pt x="869" y="2254"/>
                    </a:lnTo>
                    <a:lnTo>
                      <a:pt x="859" y="2262"/>
                    </a:lnTo>
                    <a:lnTo>
                      <a:pt x="840" y="2277"/>
                    </a:lnTo>
                    <a:lnTo>
                      <a:pt x="824" y="2288"/>
                    </a:lnTo>
                    <a:lnTo>
                      <a:pt x="806" y="2299"/>
                    </a:lnTo>
                    <a:lnTo>
                      <a:pt x="792" y="2306"/>
                    </a:lnTo>
                    <a:lnTo>
                      <a:pt x="786" y="2308"/>
                    </a:lnTo>
                    <a:lnTo>
                      <a:pt x="777" y="2310"/>
                    </a:lnTo>
                    <a:lnTo>
                      <a:pt x="768" y="2308"/>
                    </a:lnTo>
                    <a:lnTo>
                      <a:pt x="756" y="2307"/>
                    </a:lnTo>
                    <a:lnTo>
                      <a:pt x="741" y="2304"/>
                    </a:lnTo>
                    <a:lnTo>
                      <a:pt x="723" y="2300"/>
                    </a:lnTo>
                    <a:lnTo>
                      <a:pt x="704" y="2298"/>
                    </a:lnTo>
                    <a:lnTo>
                      <a:pt x="683" y="2295"/>
                    </a:lnTo>
                    <a:lnTo>
                      <a:pt x="674" y="2296"/>
                    </a:lnTo>
                    <a:lnTo>
                      <a:pt x="665" y="2296"/>
                    </a:lnTo>
                    <a:lnTo>
                      <a:pt x="657" y="2299"/>
                    </a:lnTo>
                    <a:lnTo>
                      <a:pt x="650" y="2302"/>
                    </a:lnTo>
                    <a:lnTo>
                      <a:pt x="644" y="2307"/>
                    </a:lnTo>
                    <a:lnTo>
                      <a:pt x="639" y="2313"/>
                    </a:lnTo>
                    <a:lnTo>
                      <a:pt x="637" y="2322"/>
                    </a:lnTo>
                    <a:lnTo>
                      <a:pt x="635" y="2330"/>
                    </a:lnTo>
                    <a:lnTo>
                      <a:pt x="635" y="2339"/>
                    </a:lnTo>
                    <a:lnTo>
                      <a:pt x="633" y="2345"/>
                    </a:lnTo>
                    <a:lnTo>
                      <a:pt x="631" y="2351"/>
                    </a:lnTo>
                    <a:lnTo>
                      <a:pt x="628" y="2355"/>
                    </a:lnTo>
                    <a:lnTo>
                      <a:pt x="620" y="2364"/>
                    </a:lnTo>
                    <a:lnTo>
                      <a:pt x="610" y="2371"/>
                    </a:lnTo>
                    <a:lnTo>
                      <a:pt x="602" y="2377"/>
                    </a:lnTo>
                    <a:lnTo>
                      <a:pt x="593" y="2384"/>
                    </a:lnTo>
                    <a:lnTo>
                      <a:pt x="591" y="2388"/>
                    </a:lnTo>
                    <a:lnTo>
                      <a:pt x="587" y="2393"/>
                    </a:lnTo>
                    <a:lnTo>
                      <a:pt x="586" y="2399"/>
                    </a:lnTo>
                    <a:lnTo>
                      <a:pt x="586" y="2404"/>
                    </a:lnTo>
                    <a:lnTo>
                      <a:pt x="592" y="2405"/>
                    </a:lnTo>
                    <a:lnTo>
                      <a:pt x="598" y="2405"/>
                    </a:lnTo>
                    <a:lnTo>
                      <a:pt x="605" y="2402"/>
                    </a:lnTo>
                    <a:lnTo>
                      <a:pt x="612" y="2400"/>
                    </a:lnTo>
                    <a:lnTo>
                      <a:pt x="627" y="2391"/>
                    </a:lnTo>
                    <a:lnTo>
                      <a:pt x="643" y="2381"/>
                    </a:lnTo>
                    <a:lnTo>
                      <a:pt x="671" y="2358"/>
                    </a:lnTo>
                    <a:lnTo>
                      <a:pt x="694" y="2341"/>
                    </a:lnTo>
                    <a:lnTo>
                      <a:pt x="699" y="2339"/>
                    </a:lnTo>
                    <a:lnTo>
                      <a:pt x="703" y="2337"/>
                    </a:lnTo>
                    <a:lnTo>
                      <a:pt x="708" y="2337"/>
                    </a:lnTo>
                    <a:lnTo>
                      <a:pt x="711" y="2337"/>
                    </a:lnTo>
                    <a:lnTo>
                      <a:pt x="718" y="2340"/>
                    </a:lnTo>
                    <a:lnTo>
                      <a:pt x="726" y="2343"/>
                    </a:lnTo>
                    <a:lnTo>
                      <a:pt x="738" y="2357"/>
                    </a:lnTo>
                    <a:lnTo>
                      <a:pt x="750" y="2371"/>
                    </a:lnTo>
                    <a:lnTo>
                      <a:pt x="753" y="2377"/>
                    </a:lnTo>
                    <a:lnTo>
                      <a:pt x="757" y="2383"/>
                    </a:lnTo>
                    <a:lnTo>
                      <a:pt x="759" y="2388"/>
                    </a:lnTo>
                    <a:lnTo>
                      <a:pt x="760" y="2394"/>
                    </a:lnTo>
                    <a:lnTo>
                      <a:pt x="760" y="2399"/>
                    </a:lnTo>
                    <a:lnTo>
                      <a:pt x="759" y="2404"/>
                    </a:lnTo>
                    <a:lnTo>
                      <a:pt x="758" y="2408"/>
                    </a:lnTo>
                    <a:lnTo>
                      <a:pt x="756" y="2413"/>
                    </a:lnTo>
                    <a:lnTo>
                      <a:pt x="742" y="2431"/>
                    </a:lnTo>
                    <a:lnTo>
                      <a:pt x="728" y="2452"/>
                    </a:lnTo>
                    <a:lnTo>
                      <a:pt x="724" y="2455"/>
                    </a:lnTo>
                    <a:lnTo>
                      <a:pt x="718" y="2458"/>
                    </a:lnTo>
                    <a:lnTo>
                      <a:pt x="711" y="2459"/>
                    </a:lnTo>
                    <a:lnTo>
                      <a:pt x="703" y="2460"/>
                    </a:lnTo>
                    <a:lnTo>
                      <a:pt x="694" y="2460"/>
                    </a:lnTo>
                    <a:lnTo>
                      <a:pt x="687" y="2461"/>
                    </a:lnTo>
                    <a:lnTo>
                      <a:pt x="679" y="2462"/>
                    </a:lnTo>
                    <a:lnTo>
                      <a:pt x="673" y="2465"/>
                    </a:lnTo>
                    <a:lnTo>
                      <a:pt x="664" y="2472"/>
                    </a:lnTo>
                    <a:lnTo>
                      <a:pt x="655" y="2484"/>
                    </a:lnTo>
                    <a:lnTo>
                      <a:pt x="645" y="2496"/>
                    </a:lnTo>
                    <a:lnTo>
                      <a:pt x="640" y="2505"/>
                    </a:lnTo>
                    <a:lnTo>
                      <a:pt x="668" y="2500"/>
                    </a:lnTo>
                    <a:lnTo>
                      <a:pt x="698" y="2491"/>
                    </a:lnTo>
                    <a:lnTo>
                      <a:pt x="705" y="2490"/>
                    </a:lnTo>
                    <a:lnTo>
                      <a:pt x="711" y="2490"/>
                    </a:lnTo>
                    <a:lnTo>
                      <a:pt x="717" y="2490"/>
                    </a:lnTo>
                    <a:lnTo>
                      <a:pt x="721" y="2493"/>
                    </a:lnTo>
                    <a:lnTo>
                      <a:pt x="724" y="2495"/>
                    </a:lnTo>
                    <a:lnTo>
                      <a:pt x="726" y="2500"/>
                    </a:lnTo>
                    <a:lnTo>
                      <a:pt x="726" y="2506"/>
                    </a:lnTo>
                    <a:lnTo>
                      <a:pt x="724" y="2514"/>
                    </a:lnTo>
                    <a:lnTo>
                      <a:pt x="717" y="2532"/>
                    </a:lnTo>
                    <a:lnTo>
                      <a:pt x="705" y="2559"/>
                    </a:lnTo>
                    <a:lnTo>
                      <a:pt x="699" y="2572"/>
                    </a:lnTo>
                    <a:lnTo>
                      <a:pt x="697" y="2583"/>
                    </a:lnTo>
                    <a:lnTo>
                      <a:pt x="695" y="2588"/>
                    </a:lnTo>
                    <a:lnTo>
                      <a:pt x="695" y="2591"/>
                    </a:lnTo>
                    <a:lnTo>
                      <a:pt x="697" y="2595"/>
                    </a:lnTo>
                    <a:lnTo>
                      <a:pt x="699" y="2596"/>
                    </a:lnTo>
                    <a:lnTo>
                      <a:pt x="704" y="2596"/>
                    </a:lnTo>
                    <a:lnTo>
                      <a:pt x="708" y="2596"/>
                    </a:lnTo>
                    <a:lnTo>
                      <a:pt x="711" y="2592"/>
                    </a:lnTo>
                    <a:lnTo>
                      <a:pt x="715" y="2589"/>
                    </a:lnTo>
                    <a:lnTo>
                      <a:pt x="722" y="2580"/>
                    </a:lnTo>
                    <a:lnTo>
                      <a:pt x="729" y="2570"/>
                    </a:lnTo>
                    <a:lnTo>
                      <a:pt x="733" y="2566"/>
                    </a:lnTo>
                    <a:lnTo>
                      <a:pt x="738" y="2561"/>
                    </a:lnTo>
                    <a:lnTo>
                      <a:pt x="742" y="2559"/>
                    </a:lnTo>
                    <a:lnTo>
                      <a:pt x="747" y="2556"/>
                    </a:lnTo>
                    <a:lnTo>
                      <a:pt x="753" y="2556"/>
                    </a:lnTo>
                    <a:lnTo>
                      <a:pt x="760" y="2559"/>
                    </a:lnTo>
                    <a:lnTo>
                      <a:pt x="766" y="2562"/>
                    </a:lnTo>
                    <a:lnTo>
                      <a:pt x="775" y="2568"/>
                    </a:lnTo>
                    <a:lnTo>
                      <a:pt x="782" y="2574"/>
                    </a:lnTo>
                    <a:lnTo>
                      <a:pt x="791" y="2579"/>
                    </a:lnTo>
                    <a:lnTo>
                      <a:pt x="800" y="2584"/>
                    </a:lnTo>
                    <a:lnTo>
                      <a:pt x="811" y="2588"/>
                    </a:lnTo>
                    <a:lnTo>
                      <a:pt x="834" y="2595"/>
                    </a:lnTo>
                    <a:lnTo>
                      <a:pt x="857" y="2601"/>
                    </a:lnTo>
                    <a:lnTo>
                      <a:pt x="880" y="2608"/>
                    </a:lnTo>
                    <a:lnTo>
                      <a:pt x="898" y="2615"/>
                    </a:lnTo>
                    <a:lnTo>
                      <a:pt x="905" y="2619"/>
                    </a:lnTo>
                    <a:lnTo>
                      <a:pt x="910" y="2625"/>
                    </a:lnTo>
                    <a:lnTo>
                      <a:pt x="913" y="2630"/>
                    </a:lnTo>
                    <a:lnTo>
                      <a:pt x="915" y="2636"/>
                    </a:lnTo>
                    <a:lnTo>
                      <a:pt x="916" y="2643"/>
                    </a:lnTo>
                    <a:lnTo>
                      <a:pt x="918" y="2650"/>
                    </a:lnTo>
                    <a:lnTo>
                      <a:pt x="923" y="2657"/>
                    </a:lnTo>
                    <a:lnTo>
                      <a:pt x="928" y="2666"/>
                    </a:lnTo>
                    <a:lnTo>
                      <a:pt x="940" y="2682"/>
                    </a:lnTo>
                    <a:lnTo>
                      <a:pt x="953" y="2696"/>
                    </a:lnTo>
                    <a:lnTo>
                      <a:pt x="966" y="2710"/>
                    </a:lnTo>
                    <a:lnTo>
                      <a:pt x="975" y="2721"/>
                    </a:lnTo>
                    <a:lnTo>
                      <a:pt x="977" y="2726"/>
                    </a:lnTo>
                    <a:lnTo>
                      <a:pt x="977" y="2730"/>
                    </a:lnTo>
                    <a:lnTo>
                      <a:pt x="976" y="2732"/>
                    </a:lnTo>
                    <a:lnTo>
                      <a:pt x="971" y="2733"/>
                    </a:lnTo>
                    <a:lnTo>
                      <a:pt x="877" y="2747"/>
                    </a:lnTo>
                    <a:lnTo>
                      <a:pt x="860" y="2748"/>
                    </a:lnTo>
                    <a:lnTo>
                      <a:pt x="839" y="2750"/>
                    </a:lnTo>
                    <a:lnTo>
                      <a:pt x="828" y="2751"/>
                    </a:lnTo>
                    <a:lnTo>
                      <a:pt x="818" y="2751"/>
                    </a:lnTo>
                    <a:lnTo>
                      <a:pt x="809" y="2750"/>
                    </a:lnTo>
                    <a:lnTo>
                      <a:pt x="801" y="2749"/>
                    </a:lnTo>
                    <a:lnTo>
                      <a:pt x="799" y="2748"/>
                    </a:lnTo>
                    <a:lnTo>
                      <a:pt x="797" y="2744"/>
                    </a:lnTo>
                    <a:lnTo>
                      <a:pt x="794" y="2740"/>
                    </a:lnTo>
                    <a:lnTo>
                      <a:pt x="793" y="2736"/>
                    </a:lnTo>
                    <a:lnTo>
                      <a:pt x="789" y="2724"/>
                    </a:lnTo>
                    <a:lnTo>
                      <a:pt x="786" y="2710"/>
                    </a:lnTo>
                    <a:lnTo>
                      <a:pt x="782" y="2703"/>
                    </a:lnTo>
                    <a:lnTo>
                      <a:pt x="780" y="2697"/>
                    </a:lnTo>
                    <a:lnTo>
                      <a:pt x="776" y="2691"/>
                    </a:lnTo>
                    <a:lnTo>
                      <a:pt x="771" y="2686"/>
                    </a:lnTo>
                    <a:lnTo>
                      <a:pt x="766" y="2682"/>
                    </a:lnTo>
                    <a:lnTo>
                      <a:pt x="760" y="2678"/>
                    </a:lnTo>
                    <a:lnTo>
                      <a:pt x="753" y="2677"/>
                    </a:lnTo>
                    <a:lnTo>
                      <a:pt x="745" y="2676"/>
                    </a:lnTo>
                    <a:lnTo>
                      <a:pt x="724" y="2674"/>
                    </a:lnTo>
                    <a:lnTo>
                      <a:pt x="704" y="2673"/>
                    </a:lnTo>
                    <a:lnTo>
                      <a:pt x="700" y="2673"/>
                    </a:lnTo>
                    <a:lnTo>
                      <a:pt x="695" y="2674"/>
                    </a:lnTo>
                    <a:lnTo>
                      <a:pt x="692" y="2676"/>
                    </a:lnTo>
                    <a:lnTo>
                      <a:pt x="688" y="2678"/>
                    </a:lnTo>
                    <a:lnTo>
                      <a:pt x="685" y="2680"/>
                    </a:lnTo>
                    <a:lnTo>
                      <a:pt x="682" y="2684"/>
                    </a:lnTo>
                    <a:lnTo>
                      <a:pt x="680" y="2689"/>
                    </a:lnTo>
                    <a:lnTo>
                      <a:pt x="677" y="2694"/>
                    </a:lnTo>
                    <a:lnTo>
                      <a:pt x="692" y="2697"/>
                    </a:lnTo>
                    <a:lnTo>
                      <a:pt x="714" y="2704"/>
                    </a:lnTo>
                    <a:lnTo>
                      <a:pt x="726" y="2708"/>
                    </a:lnTo>
                    <a:lnTo>
                      <a:pt x="734" y="2713"/>
                    </a:lnTo>
                    <a:lnTo>
                      <a:pt x="741" y="2716"/>
                    </a:lnTo>
                    <a:lnTo>
                      <a:pt x="744" y="2720"/>
                    </a:lnTo>
                    <a:lnTo>
                      <a:pt x="742" y="2737"/>
                    </a:lnTo>
                    <a:lnTo>
                      <a:pt x="741" y="2759"/>
                    </a:lnTo>
                    <a:lnTo>
                      <a:pt x="739" y="2780"/>
                    </a:lnTo>
                    <a:lnTo>
                      <a:pt x="734" y="2796"/>
                    </a:lnTo>
                    <a:lnTo>
                      <a:pt x="732" y="2811"/>
                    </a:lnTo>
                    <a:lnTo>
                      <a:pt x="727" y="2826"/>
                    </a:lnTo>
                    <a:lnTo>
                      <a:pt x="718" y="2840"/>
                    </a:lnTo>
                    <a:lnTo>
                      <a:pt x="710" y="2854"/>
                    </a:lnTo>
                    <a:lnTo>
                      <a:pt x="704" y="2860"/>
                    </a:lnTo>
                    <a:lnTo>
                      <a:pt x="698" y="2866"/>
                    </a:lnTo>
                    <a:lnTo>
                      <a:pt x="692" y="2870"/>
                    </a:lnTo>
                    <a:lnTo>
                      <a:pt x="685" y="2875"/>
                    </a:lnTo>
                    <a:lnTo>
                      <a:pt x="677" y="2879"/>
                    </a:lnTo>
                    <a:lnTo>
                      <a:pt x="670" y="2881"/>
                    </a:lnTo>
                    <a:lnTo>
                      <a:pt x="663" y="2884"/>
                    </a:lnTo>
                    <a:lnTo>
                      <a:pt x="655" y="2885"/>
                    </a:lnTo>
                    <a:lnTo>
                      <a:pt x="646" y="2885"/>
                    </a:lnTo>
                    <a:lnTo>
                      <a:pt x="639" y="2884"/>
                    </a:lnTo>
                    <a:lnTo>
                      <a:pt x="631" y="2882"/>
                    </a:lnTo>
                    <a:lnTo>
                      <a:pt x="622" y="2880"/>
                    </a:lnTo>
                    <a:lnTo>
                      <a:pt x="605" y="2873"/>
                    </a:lnTo>
                    <a:lnTo>
                      <a:pt x="587" y="2866"/>
                    </a:lnTo>
                    <a:lnTo>
                      <a:pt x="569" y="2857"/>
                    </a:lnTo>
                    <a:lnTo>
                      <a:pt x="552" y="2850"/>
                    </a:lnTo>
                    <a:lnTo>
                      <a:pt x="544" y="2848"/>
                    </a:lnTo>
                    <a:lnTo>
                      <a:pt x="535" y="2845"/>
                    </a:lnTo>
                    <a:lnTo>
                      <a:pt x="528" y="2844"/>
                    </a:lnTo>
                    <a:lnTo>
                      <a:pt x="520" y="2843"/>
                    </a:lnTo>
                    <a:lnTo>
                      <a:pt x="519" y="2833"/>
                    </a:lnTo>
                    <a:lnTo>
                      <a:pt x="519" y="2825"/>
                    </a:lnTo>
                    <a:lnTo>
                      <a:pt x="521" y="2815"/>
                    </a:lnTo>
                    <a:lnTo>
                      <a:pt x="525" y="2807"/>
                    </a:lnTo>
                    <a:lnTo>
                      <a:pt x="533" y="2789"/>
                    </a:lnTo>
                    <a:lnTo>
                      <a:pt x="545" y="2771"/>
                    </a:lnTo>
                    <a:lnTo>
                      <a:pt x="557" y="2751"/>
                    </a:lnTo>
                    <a:lnTo>
                      <a:pt x="569" y="2732"/>
                    </a:lnTo>
                    <a:lnTo>
                      <a:pt x="573" y="2722"/>
                    </a:lnTo>
                    <a:lnTo>
                      <a:pt x="576" y="2712"/>
                    </a:lnTo>
                    <a:lnTo>
                      <a:pt x="579" y="2701"/>
                    </a:lnTo>
                    <a:lnTo>
                      <a:pt x="580" y="2690"/>
                    </a:lnTo>
                    <a:lnTo>
                      <a:pt x="579" y="2676"/>
                    </a:lnTo>
                    <a:lnTo>
                      <a:pt x="576" y="2656"/>
                    </a:lnTo>
                    <a:lnTo>
                      <a:pt x="572" y="2635"/>
                    </a:lnTo>
                    <a:lnTo>
                      <a:pt x="566" y="2612"/>
                    </a:lnTo>
                    <a:lnTo>
                      <a:pt x="562" y="2602"/>
                    </a:lnTo>
                    <a:lnTo>
                      <a:pt x="557" y="2591"/>
                    </a:lnTo>
                    <a:lnTo>
                      <a:pt x="552" y="2583"/>
                    </a:lnTo>
                    <a:lnTo>
                      <a:pt x="546" y="2574"/>
                    </a:lnTo>
                    <a:lnTo>
                      <a:pt x="540" y="2568"/>
                    </a:lnTo>
                    <a:lnTo>
                      <a:pt x="533" y="2564"/>
                    </a:lnTo>
                    <a:lnTo>
                      <a:pt x="526" y="2560"/>
                    </a:lnTo>
                    <a:lnTo>
                      <a:pt x="517" y="2559"/>
                    </a:lnTo>
                    <a:lnTo>
                      <a:pt x="527" y="2588"/>
                    </a:lnTo>
                    <a:lnTo>
                      <a:pt x="538" y="2618"/>
                    </a:lnTo>
                    <a:lnTo>
                      <a:pt x="543" y="2632"/>
                    </a:lnTo>
                    <a:lnTo>
                      <a:pt x="547" y="2648"/>
                    </a:lnTo>
                    <a:lnTo>
                      <a:pt x="550" y="2663"/>
                    </a:lnTo>
                    <a:lnTo>
                      <a:pt x="550" y="2679"/>
                    </a:lnTo>
                    <a:lnTo>
                      <a:pt x="549" y="2685"/>
                    </a:lnTo>
                    <a:lnTo>
                      <a:pt x="545" y="2692"/>
                    </a:lnTo>
                    <a:lnTo>
                      <a:pt x="539" y="2701"/>
                    </a:lnTo>
                    <a:lnTo>
                      <a:pt x="532" y="2710"/>
                    </a:lnTo>
                    <a:lnTo>
                      <a:pt x="511" y="2732"/>
                    </a:lnTo>
                    <a:lnTo>
                      <a:pt x="488" y="2755"/>
                    </a:lnTo>
                    <a:lnTo>
                      <a:pt x="464" y="2775"/>
                    </a:lnTo>
                    <a:lnTo>
                      <a:pt x="443" y="2791"/>
                    </a:lnTo>
                    <a:lnTo>
                      <a:pt x="433" y="2797"/>
                    </a:lnTo>
                    <a:lnTo>
                      <a:pt x="426" y="2802"/>
                    </a:lnTo>
                    <a:lnTo>
                      <a:pt x="419" y="2803"/>
                    </a:lnTo>
                    <a:lnTo>
                      <a:pt x="415" y="2803"/>
                    </a:lnTo>
                    <a:lnTo>
                      <a:pt x="389" y="2785"/>
                    </a:lnTo>
                    <a:lnTo>
                      <a:pt x="359" y="2766"/>
                    </a:lnTo>
                    <a:lnTo>
                      <a:pt x="343" y="2757"/>
                    </a:lnTo>
                    <a:lnTo>
                      <a:pt x="327" y="2749"/>
                    </a:lnTo>
                    <a:lnTo>
                      <a:pt x="313" y="2743"/>
                    </a:lnTo>
                    <a:lnTo>
                      <a:pt x="298" y="2737"/>
                    </a:lnTo>
                    <a:lnTo>
                      <a:pt x="285" y="2732"/>
                    </a:lnTo>
                    <a:lnTo>
                      <a:pt x="273" y="2725"/>
                    </a:lnTo>
                    <a:lnTo>
                      <a:pt x="263" y="2716"/>
                    </a:lnTo>
                    <a:lnTo>
                      <a:pt x="255" y="2707"/>
                    </a:lnTo>
                    <a:lnTo>
                      <a:pt x="248" y="2696"/>
                    </a:lnTo>
                    <a:lnTo>
                      <a:pt x="242" y="2685"/>
                    </a:lnTo>
                    <a:lnTo>
                      <a:pt x="236" y="2673"/>
                    </a:lnTo>
                    <a:lnTo>
                      <a:pt x="231" y="2661"/>
                    </a:lnTo>
                    <a:lnTo>
                      <a:pt x="221" y="2636"/>
                    </a:lnTo>
                    <a:lnTo>
                      <a:pt x="209" y="2612"/>
                    </a:lnTo>
                    <a:lnTo>
                      <a:pt x="202" y="2600"/>
                    </a:lnTo>
                    <a:lnTo>
                      <a:pt x="192" y="2588"/>
                    </a:lnTo>
                    <a:lnTo>
                      <a:pt x="183" y="2577"/>
                    </a:lnTo>
                    <a:lnTo>
                      <a:pt x="171" y="2567"/>
                    </a:lnTo>
                    <a:lnTo>
                      <a:pt x="162" y="2560"/>
                    </a:lnTo>
                    <a:lnTo>
                      <a:pt x="156" y="2552"/>
                    </a:lnTo>
                    <a:lnTo>
                      <a:pt x="152" y="2542"/>
                    </a:lnTo>
                    <a:lnTo>
                      <a:pt x="148" y="2533"/>
                    </a:lnTo>
                    <a:lnTo>
                      <a:pt x="144" y="2526"/>
                    </a:lnTo>
                    <a:lnTo>
                      <a:pt x="139" y="2519"/>
                    </a:lnTo>
                    <a:lnTo>
                      <a:pt x="137" y="2517"/>
                    </a:lnTo>
                    <a:lnTo>
                      <a:pt x="135" y="2515"/>
                    </a:lnTo>
                    <a:lnTo>
                      <a:pt x="131" y="2514"/>
                    </a:lnTo>
                    <a:lnTo>
                      <a:pt x="129" y="2514"/>
                    </a:lnTo>
                    <a:lnTo>
                      <a:pt x="119" y="2513"/>
                    </a:lnTo>
                    <a:lnTo>
                      <a:pt x="111" y="2512"/>
                    </a:lnTo>
                    <a:lnTo>
                      <a:pt x="103" y="2511"/>
                    </a:lnTo>
                    <a:lnTo>
                      <a:pt x="97" y="2508"/>
                    </a:lnTo>
                    <a:lnTo>
                      <a:pt x="89" y="2502"/>
                    </a:lnTo>
                    <a:lnTo>
                      <a:pt x="82" y="2495"/>
                    </a:lnTo>
                    <a:lnTo>
                      <a:pt x="74" y="2488"/>
                    </a:lnTo>
                    <a:lnTo>
                      <a:pt x="67" y="2479"/>
                    </a:lnTo>
                    <a:lnTo>
                      <a:pt x="64" y="2476"/>
                    </a:lnTo>
                    <a:lnTo>
                      <a:pt x="59" y="2472"/>
                    </a:lnTo>
                    <a:lnTo>
                      <a:pt x="53" y="2469"/>
                    </a:lnTo>
                    <a:lnTo>
                      <a:pt x="47" y="2465"/>
                    </a:lnTo>
                    <a:lnTo>
                      <a:pt x="0" y="2453"/>
                    </a:lnTo>
                    <a:lnTo>
                      <a:pt x="0" y="5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8"/>
              <p:cNvSpPr>
                <a:spLocks/>
              </p:cNvSpPr>
              <p:nvPr/>
            </p:nvSpPr>
            <p:spPr bwMode="auto">
              <a:xfrm>
                <a:off x="981076" y="4322763"/>
                <a:ext cx="19050" cy="28575"/>
              </a:xfrm>
              <a:custGeom>
                <a:avLst/>
                <a:gdLst>
                  <a:gd name="T0" fmla="*/ 48 w 48"/>
                  <a:gd name="T1" fmla="*/ 45 h 72"/>
                  <a:gd name="T2" fmla="*/ 46 w 48"/>
                  <a:gd name="T3" fmla="*/ 40 h 72"/>
                  <a:gd name="T4" fmla="*/ 46 w 48"/>
                  <a:gd name="T5" fmla="*/ 36 h 72"/>
                  <a:gd name="T6" fmla="*/ 45 w 48"/>
                  <a:gd name="T7" fmla="*/ 28 h 72"/>
                  <a:gd name="T8" fmla="*/ 44 w 48"/>
                  <a:gd name="T9" fmla="*/ 22 h 72"/>
                  <a:gd name="T10" fmla="*/ 43 w 48"/>
                  <a:gd name="T11" fmla="*/ 16 h 72"/>
                  <a:gd name="T12" fmla="*/ 42 w 48"/>
                  <a:gd name="T13" fmla="*/ 10 h 72"/>
                  <a:gd name="T14" fmla="*/ 39 w 48"/>
                  <a:gd name="T15" fmla="*/ 8 h 72"/>
                  <a:gd name="T16" fmla="*/ 37 w 48"/>
                  <a:gd name="T17" fmla="*/ 3 h 72"/>
                  <a:gd name="T18" fmla="*/ 36 w 48"/>
                  <a:gd name="T19" fmla="*/ 2 h 72"/>
                  <a:gd name="T20" fmla="*/ 32 w 48"/>
                  <a:gd name="T21" fmla="*/ 1 h 72"/>
                  <a:gd name="T22" fmla="*/ 28 w 48"/>
                  <a:gd name="T23" fmla="*/ 0 h 72"/>
                  <a:gd name="T24" fmla="*/ 24 w 48"/>
                  <a:gd name="T25" fmla="*/ 0 h 72"/>
                  <a:gd name="T26" fmla="*/ 20 w 48"/>
                  <a:gd name="T27" fmla="*/ 0 h 72"/>
                  <a:gd name="T28" fmla="*/ 15 w 48"/>
                  <a:gd name="T29" fmla="*/ 0 h 72"/>
                  <a:gd name="T30" fmla="*/ 10 w 48"/>
                  <a:gd name="T31" fmla="*/ 1 h 72"/>
                  <a:gd name="T32" fmla="*/ 6 w 48"/>
                  <a:gd name="T33" fmla="*/ 4 h 72"/>
                  <a:gd name="T34" fmla="*/ 3 w 48"/>
                  <a:gd name="T35" fmla="*/ 7 h 72"/>
                  <a:gd name="T36" fmla="*/ 2 w 48"/>
                  <a:gd name="T37" fmla="*/ 14 h 72"/>
                  <a:gd name="T38" fmla="*/ 3 w 48"/>
                  <a:gd name="T39" fmla="*/ 20 h 72"/>
                  <a:gd name="T40" fmla="*/ 3 w 48"/>
                  <a:gd name="T41" fmla="*/ 27 h 72"/>
                  <a:gd name="T42" fmla="*/ 3 w 48"/>
                  <a:gd name="T43" fmla="*/ 34 h 72"/>
                  <a:gd name="T44" fmla="*/ 1 w 48"/>
                  <a:gd name="T45" fmla="*/ 43 h 72"/>
                  <a:gd name="T46" fmla="*/ 0 w 48"/>
                  <a:gd name="T47" fmla="*/ 51 h 72"/>
                  <a:gd name="T48" fmla="*/ 3 w 48"/>
                  <a:gd name="T49" fmla="*/ 60 h 72"/>
                  <a:gd name="T50" fmla="*/ 9 w 48"/>
                  <a:gd name="T51" fmla="*/ 67 h 72"/>
                  <a:gd name="T52" fmla="*/ 14 w 48"/>
                  <a:gd name="T53" fmla="*/ 71 h 72"/>
                  <a:gd name="T54" fmla="*/ 21 w 48"/>
                  <a:gd name="T55" fmla="*/ 72 h 72"/>
                  <a:gd name="T56" fmla="*/ 26 w 48"/>
                  <a:gd name="T57" fmla="*/ 68 h 72"/>
                  <a:gd name="T58" fmla="*/ 31 w 48"/>
                  <a:gd name="T59" fmla="*/ 63 h 72"/>
                  <a:gd name="T60" fmla="*/ 36 w 48"/>
                  <a:gd name="T61" fmla="*/ 58 h 72"/>
                  <a:gd name="T62" fmla="*/ 39 w 48"/>
                  <a:gd name="T63" fmla="*/ 55 h 72"/>
                  <a:gd name="T64" fmla="*/ 48 w 48"/>
                  <a:gd name="T65" fmla="*/ 4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72">
                    <a:moveTo>
                      <a:pt x="48" y="45"/>
                    </a:moveTo>
                    <a:lnTo>
                      <a:pt x="46" y="40"/>
                    </a:lnTo>
                    <a:lnTo>
                      <a:pt x="46" y="36"/>
                    </a:lnTo>
                    <a:lnTo>
                      <a:pt x="45" y="28"/>
                    </a:lnTo>
                    <a:lnTo>
                      <a:pt x="44" y="22"/>
                    </a:lnTo>
                    <a:lnTo>
                      <a:pt x="43" y="16"/>
                    </a:lnTo>
                    <a:lnTo>
                      <a:pt x="42" y="10"/>
                    </a:lnTo>
                    <a:lnTo>
                      <a:pt x="39" y="8"/>
                    </a:lnTo>
                    <a:lnTo>
                      <a:pt x="37" y="3"/>
                    </a:lnTo>
                    <a:lnTo>
                      <a:pt x="36" y="2"/>
                    </a:lnTo>
                    <a:lnTo>
                      <a:pt x="32" y="1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4"/>
                    </a:lnTo>
                    <a:lnTo>
                      <a:pt x="3" y="20"/>
                    </a:lnTo>
                    <a:lnTo>
                      <a:pt x="3" y="27"/>
                    </a:lnTo>
                    <a:lnTo>
                      <a:pt x="3" y="34"/>
                    </a:lnTo>
                    <a:lnTo>
                      <a:pt x="1" y="43"/>
                    </a:lnTo>
                    <a:lnTo>
                      <a:pt x="0" y="51"/>
                    </a:lnTo>
                    <a:lnTo>
                      <a:pt x="3" y="60"/>
                    </a:lnTo>
                    <a:lnTo>
                      <a:pt x="9" y="67"/>
                    </a:lnTo>
                    <a:lnTo>
                      <a:pt x="14" y="71"/>
                    </a:lnTo>
                    <a:lnTo>
                      <a:pt x="21" y="72"/>
                    </a:lnTo>
                    <a:lnTo>
                      <a:pt x="26" y="68"/>
                    </a:lnTo>
                    <a:lnTo>
                      <a:pt x="31" y="63"/>
                    </a:lnTo>
                    <a:lnTo>
                      <a:pt x="36" y="58"/>
                    </a:lnTo>
                    <a:lnTo>
                      <a:pt x="39" y="55"/>
                    </a:lnTo>
                    <a:lnTo>
                      <a:pt x="48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9"/>
              <p:cNvSpPr>
                <a:spLocks/>
              </p:cNvSpPr>
              <p:nvPr/>
            </p:nvSpPr>
            <p:spPr bwMode="auto">
              <a:xfrm>
                <a:off x="530226" y="5119688"/>
                <a:ext cx="514350" cy="300038"/>
              </a:xfrm>
              <a:custGeom>
                <a:avLst/>
                <a:gdLst>
                  <a:gd name="T0" fmla="*/ 962 w 1297"/>
                  <a:gd name="T1" fmla="*/ 392 h 756"/>
                  <a:gd name="T2" fmla="*/ 942 w 1297"/>
                  <a:gd name="T3" fmla="*/ 371 h 756"/>
                  <a:gd name="T4" fmla="*/ 919 w 1297"/>
                  <a:gd name="T5" fmla="*/ 333 h 756"/>
                  <a:gd name="T6" fmla="*/ 901 w 1297"/>
                  <a:gd name="T7" fmla="*/ 316 h 756"/>
                  <a:gd name="T8" fmla="*/ 855 w 1297"/>
                  <a:gd name="T9" fmla="*/ 315 h 756"/>
                  <a:gd name="T10" fmla="*/ 825 w 1297"/>
                  <a:gd name="T11" fmla="*/ 307 h 756"/>
                  <a:gd name="T12" fmla="*/ 781 w 1297"/>
                  <a:gd name="T13" fmla="*/ 274 h 756"/>
                  <a:gd name="T14" fmla="*/ 744 w 1297"/>
                  <a:gd name="T15" fmla="*/ 271 h 756"/>
                  <a:gd name="T16" fmla="*/ 733 w 1297"/>
                  <a:gd name="T17" fmla="*/ 201 h 756"/>
                  <a:gd name="T18" fmla="*/ 727 w 1297"/>
                  <a:gd name="T19" fmla="*/ 160 h 756"/>
                  <a:gd name="T20" fmla="*/ 684 w 1297"/>
                  <a:gd name="T21" fmla="*/ 111 h 756"/>
                  <a:gd name="T22" fmla="*/ 609 w 1297"/>
                  <a:gd name="T23" fmla="*/ 64 h 756"/>
                  <a:gd name="T24" fmla="*/ 552 w 1297"/>
                  <a:gd name="T25" fmla="*/ 52 h 756"/>
                  <a:gd name="T26" fmla="*/ 505 w 1297"/>
                  <a:gd name="T27" fmla="*/ 66 h 756"/>
                  <a:gd name="T28" fmla="*/ 416 w 1297"/>
                  <a:gd name="T29" fmla="*/ 147 h 756"/>
                  <a:gd name="T30" fmla="*/ 361 w 1297"/>
                  <a:gd name="T31" fmla="*/ 177 h 756"/>
                  <a:gd name="T32" fmla="*/ 304 w 1297"/>
                  <a:gd name="T33" fmla="*/ 179 h 756"/>
                  <a:gd name="T34" fmla="*/ 173 w 1297"/>
                  <a:gd name="T35" fmla="*/ 132 h 756"/>
                  <a:gd name="T36" fmla="*/ 126 w 1297"/>
                  <a:gd name="T37" fmla="*/ 107 h 756"/>
                  <a:gd name="T38" fmla="*/ 81 w 1297"/>
                  <a:gd name="T39" fmla="*/ 53 h 756"/>
                  <a:gd name="T40" fmla="*/ 55 w 1297"/>
                  <a:gd name="T41" fmla="*/ 5 h 756"/>
                  <a:gd name="T42" fmla="*/ 35 w 1297"/>
                  <a:gd name="T43" fmla="*/ 20 h 756"/>
                  <a:gd name="T44" fmla="*/ 35 w 1297"/>
                  <a:gd name="T45" fmla="*/ 109 h 756"/>
                  <a:gd name="T46" fmla="*/ 18 w 1297"/>
                  <a:gd name="T47" fmla="*/ 157 h 756"/>
                  <a:gd name="T48" fmla="*/ 0 w 1297"/>
                  <a:gd name="T49" fmla="*/ 239 h 756"/>
                  <a:gd name="T50" fmla="*/ 17 w 1297"/>
                  <a:gd name="T51" fmla="*/ 302 h 756"/>
                  <a:gd name="T52" fmla="*/ 76 w 1297"/>
                  <a:gd name="T53" fmla="*/ 368 h 756"/>
                  <a:gd name="T54" fmla="*/ 153 w 1297"/>
                  <a:gd name="T55" fmla="*/ 408 h 756"/>
                  <a:gd name="T56" fmla="*/ 212 w 1297"/>
                  <a:gd name="T57" fmla="*/ 391 h 756"/>
                  <a:gd name="T58" fmla="*/ 296 w 1297"/>
                  <a:gd name="T59" fmla="*/ 339 h 756"/>
                  <a:gd name="T60" fmla="*/ 382 w 1297"/>
                  <a:gd name="T61" fmla="*/ 321 h 756"/>
                  <a:gd name="T62" fmla="*/ 481 w 1297"/>
                  <a:gd name="T63" fmla="*/ 340 h 756"/>
                  <a:gd name="T64" fmla="*/ 566 w 1297"/>
                  <a:gd name="T65" fmla="*/ 395 h 756"/>
                  <a:gd name="T66" fmla="*/ 606 w 1297"/>
                  <a:gd name="T67" fmla="*/ 425 h 756"/>
                  <a:gd name="T68" fmla="*/ 645 w 1297"/>
                  <a:gd name="T69" fmla="*/ 504 h 756"/>
                  <a:gd name="T70" fmla="*/ 666 w 1297"/>
                  <a:gd name="T71" fmla="*/ 529 h 756"/>
                  <a:gd name="T72" fmla="*/ 766 w 1297"/>
                  <a:gd name="T73" fmla="*/ 576 h 756"/>
                  <a:gd name="T74" fmla="*/ 801 w 1297"/>
                  <a:gd name="T75" fmla="*/ 599 h 756"/>
                  <a:gd name="T76" fmla="*/ 839 w 1297"/>
                  <a:gd name="T77" fmla="*/ 650 h 756"/>
                  <a:gd name="T78" fmla="*/ 880 w 1297"/>
                  <a:gd name="T79" fmla="*/ 756 h 756"/>
                  <a:gd name="T80" fmla="*/ 928 w 1297"/>
                  <a:gd name="T81" fmla="*/ 739 h 756"/>
                  <a:gd name="T82" fmla="*/ 945 w 1297"/>
                  <a:gd name="T83" fmla="*/ 717 h 756"/>
                  <a:gd name="T84" fmla="*/ 958 w 1297"/>
                  <a:gd name="T85" fmla="*/ 645 h 756"/>
                  <a:gd name="T86" fmla="*/ 981 w 1297"/>
                  <a:gd name="T87" fmla="*/ 618 h 756"/>
                  <a:gd name="T88" fmla="*/ 1003 w 1297"/>
                  <a:gd name="T89" fmla="*/ 577 h 756"/>
                  <a:gd name="T90" fmla="*/ 1028 w 1297"/>
                  <a:gd name="T91" fmla="*/ 557 h 756"/>
                  <a:gd name="T92" fmla="*/ 1117 w 1297"/>
                  <a:gd name="T93" fmla="*/ 549 h 756"/>
                  <a:gd name="T94" fmla="*/ 1223 w 1297"/>
                  <a:gd name="T95" fmla="*/ 562 h 756"/>
                  <a:gd name="T96" fmla="*/ 1259 w 1297"/>
                  <a:gd name="T97" fmla="*/ 539 h 756"/>
                  <a:gd name="T98" fmla="*/ 1294 w 1297"/>
                  <a:gd name="T99" fmla="*/ 464 h 756"/>
                  <a:gd name="T100" fmla="*/ 1294 w 1297"/>
                  <a:gd name="T101" fmla="*/ 437 h 756"/>
                  <a:gd name="T102" fmla="*/ 1165 w 1297"/>
                  <a:gd name="T103" fmla="*/ 395 h 756"/>
                  <a:gd name="T104" fmla="*/ 1067 w 1297"/>
                  <a:gd name="T105" fmla="*/ 391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97" h="756">
                    <a:moveTo>
                      <a:pt x="985" y="392"/>
                    </a:moveTo>
                    <a:lnTo>
                      <a:pt x="978" y="393"/>
                    </a:lnTo>
                    <a:lnTo>
                      <a:pt x="972" y="395"/>
                    </a:lnTo>
                    <a:lnTo>
                      <a:pt x="967" y="393"/>
                    </a:lnTo>
                    <a:lnTo>
                      <a:pt x="962" y="392"/>
                    </a:lnTo>
                    <a:lnTo>
                      <a:pt x="957" y="390"/>
                    </a:lnTo>
                    <a:lnTo>
                      <a:pt x="954" y="386"/>
                    </a:lnTo>
                    <a:lnTo>
                      <a:pt x="950" y="383"/>
                    </a:lnTo>
                    <a:lnTo>
                      <a:pt x="948" y="379"/>
                    </a:lnTo>
                    <a:lnTo>
                      <a:pt x="942" y="371"/>
                    </a:lnTo>
                    <a:lnTo>
                      <a:pt x="936" y="361"/>
                    </a:lnTo>
                    <a:lnTo>
                      <a:pt x="930" y="352"/>
                    </a:lnTo>
                    <a:lnTo>
                      <a:pt x="922" y="346"/>
                    </a:lnTo>
                    <a:lnTo>
                      <a:pt x="921" y="339"/>
                    </a:lnTo>
                    <a:lnTo>
                      <a:pt x="919" y="333"/>
                    </a:lnTo>
                    <a:lnTo>
                      <a:pt x="916" y="328"/>
                    </a:lnTo>
                    <a:lnTo>
                      <a:pt x="913" y="325"/>
                    </a:lnTo>
                    <a:lnTo>
                      <a:pt x="909" y="321"/>
                    </a:lnTo>
                    <a:lnTo>
                      <a:pt x="905" y="319"/>
                    </a:lnTo>
                    <a:lnTo>
                      <a:pt x="901" y="316"/>
                    </a:lnTo>
                    <a:lnTo>
                      <a:pt x="897" y="315"/>
                    </a:lnTo>
                    <a:lnTo>
                      <a:pt x="887" y="314"/>
                    </a:lnTo>
                    <a:lnTo>
                      <a:pt x="877" y="313"/>
                    </a:lnTo>
                    <a:lnTo>
                      <a:pt x="866" y="314"/>
                    </a:lnTo>
                    <a:lnTo>
                      <a:pt x="855" y="315"/>
                    </a:lnTo>
                    <a:lnTo>
                      <a:pt x="849" y="315"/>
                    </a:lnTo>
                    <a:lnTo>
                      <a:pt x="844" y="314"/>
                    </a:lnTo>
                    <a:lnTo>
                      <a:pt x="838" y="313"/>
                    </a:lnTo>
                    <a:lnTo>
                      <a:pt x="833" y="312"/>
                    </a:lnTo>
                    <a:lnTo>
                      <a:pt x="825" y="307"/>
                    </a:lnTo>
                    <a:lnTo>
                      <a:pt x="816" y="301"/>
                    </a:lnTo>
                    <a:lnTo>
                      <a:pt x="808" y="293"/>
                    </a:lnTo>
                    <a:lnTo>
                      <a:pt x="801" y="286"/>
                    </a:lnTo>
                    <a:lnTo>
                      <a:pt x="791" y="280"/>
                    </a:lnTo>
                    <a:lnTo>
                      <a:pt x="781" y="274"/>
                    </a:lnTo>
                    <a:lnTo>
                      <a:pt x="775" y="273"/>
                    </a:lnTo>
                    <a:lnTo>
                      <a:pt x="769" y="272"/>
                    </a:lnTo>
                    <a:lnTo>
                      <a:pt x="763" y="271"/>
                    </a:lnTo>
                    <a:lnTo>
                      <a:pt x="756" y="271"/>
                    </a:lnTo>
                    <a:lnTo>
                      <a:pt x="744" y="271"/>
                    </a:lnTo>
                    <a:lnTo>
                      <a:pt x="733" y="268"/>
                    </a:lnTo>
                    <a:lnTo>
                      <a:pt x="731" y="253"/>
                    </a:lnTo>
                    <a:lnTo>
                      <a:pt x="731" y="236"/>
                    </a:lnTo>
                    <a:lnTo>
                      <a:pt x="732" y="218"/>
                    </a:lnTo>
                    <a:lnTo>
                      <a:pt x="733" y="201"/>
                    </a:lnTo>
                    <a:lnTo>
                      <a:pt x="733" y="192"/>
                    </a:lnTo>
                    <a:lnTo>
                      <a:pt x="733" y="184"/>
                    </a:lnTo>
                    <a:lnTo>
                      <a:pt x="732" y="176"/>
                    </a:lnTo>
                    <a:lnTo>
                      <a:pt x="730" y="167"/>
                    </a:lnTo>
                    <a:lnTo>
                      <a:pt x="727" y="160"/>
                    </a:lnTo>
                    <a:lnTo>
                      <a:pt x="723" y="151"/>
                    </a:lnTo>
                    <a:lnTo>
                      <a:pt x="718" y="144"/>
                    </a:lnTo>
                    <a:lnTo>
                      <a:pt x="712" y="137"/>
                    </a:lnTo>
                    <a:lnTo>
                      <a:pt x="698" y="124"/>
                    </a:lnTo>
                    <a:lnTo>
                      <a:pt x="684" y="111"/>
                    </a:lnTo>
                    <a:lnTo>
                      <a:pt x="671" y="100"/>
                    </a:lnTo>
                    <a:lnTo>
                      <a:pt x="656" y="89"/>
                    </a:lnTo>
                    <a:lnTo>
                      <a:pt x="642" y="79"/>
                    </a:lnTo>
                    <a:lnTo>
                      <a:pt x="626" y="71"/>
                    </a:lnTo>
                    <a:lnTo>
                      <a:pt x="609" y="64"/>
                    </a:lnTo>
                    <a:lnTo>
                      <a:pt x="591" y="58"/>
                    </a:lnTo>
                    <a:lnTo>
                      <a:pt x="580" y="54"/>
                    </a:lnTo>
                    <a:lnTo>
                      <a:pt x="571" y="53"/>
                    </a:lnTo>
                    <a:lnTo>
                      <a:pt x="561" y="52"/>
                    </a:lnTo>
                    <a:lnTo>
                      <a:pt x="552" y="52"/>
                    </a:lnTo>
                    <a:lnTo>
                      <a:pt x="543" y="53"/>
                    </a:lnTo>
                    <a:lnTo>
                      <a:pt x="535" y="54"/>
                    </a:lnTo>
                    <a:lnTo>
                      <a:pt x="526" y="56"/>
                    </a:lnTo>
                    <a:lnTo>
                      <a:pt x="519" y="59"/>
                    </a:lnTo>
                    <a:lnTo>
                      <a:pt x="505" y="66"/>
                    </a:lnTo>
                    <a:lnTo>
                      <a:pt x="491" y="76"/>
                    </a:lnTo>
                    <a:lnTo>
                      <a:pt x="478" y="86"/>
                    </a:lnTo>
                    <a:lnTo>
                      <a:pt x="466" y="97"/>
                    </a:lnTo>
                    <a:lnTo>
                      <a:pt x="442" y="123"/>
                    </a:lnTo>
                    <a:lnTo>
                      <a:pt x="416" y="147"/>
                    </a:lnTo>
                    <a:lnTo>
                      <a:pt x="402" y="157"/>
                    </a:lnTo>
                    <a:lnTo>
                      <a:pt x="387" y="167"/>
                    </a:lnTo>
                    <a:lnTo>
                      <a:pt x="380" y="171"/>
                    </a:lnTo>
                    <a:lnTo>
                      <a:pt x="371" y="174"/>
                    </a:lnTo>
                    <a:lnTo>
                      <a:pt x="361" y="177"/>
                    </a:lnTo>
                    <a:lnTo>
                      <a:pt x="353" y="179"/>
                    </a:lnTo>
                    <a:lnTo>
                      <a:pt x="341" y="182"/>
                    </a:lnTo>
                    <a:lnTo>
                      <a:pt x="329" y="182"/>
                    </a:lnTo>
                    <a:lnTo>
                      <a:pt x="317" y="180"/>
                    </a:lnTo>
                    <a:lnTo>
                      <a:pt x="304" y="179"/>
                    </a:lnTo>
                    <a:lnTo>
                      <a:pt x="277" y="173"/>
                    </a:lnTo>
                    <a:lnTo>
                      <a:pt x="250" y="164"/>
                    </a:lnTo>
                    <a:lnTo>
                      <a:pt x="223" y="154"/>
                    </a:lnTo>
                    <a:lnTo>
                      <a:pt x="197" y="143"/>
                    </a:lnTo>
                    <a:lnTo>
                      <a:pt x="173" y="132"/>
                    </a:lnTo>
                    <a:lnTo>
                      <a:pt x="151" y="123"/>
                    </a:lnTo>
                    <a:lnTo>
                      <a:pt x="144" y="119"/>
                    </a:lnTo>
                    <a:lnTo>
                      <a:pt x="138" y="115"/>
                    </a:lnTo>
                    <a:lnTo>
                      <a:pt x="132" y="112"/>
                    </a:lnTo>
                    <a:lnTo>
                      <a:pt x="126" y="107"/>
                    </a:lnTo>
                    <a:lnTo>
                      <a:pt x="116" y="96"/>
                    </a:lnTo>
                    <a:lnTo>
                      <a:pt x="106" y="85"/>
                    </a:lnTo>
                    <a:lnTo>
                      <a:pt x="98" y="73"/>
                    </a:lnTo>
                    <a:lnTo>
                      <a:pt x="89" y="62"/>
                    </a:lnTo>
                    <a:lnTo>
                      <a:pt x="81" y="53"/>
                    </a:lnTo>
                    <a:lnTo>
                      <a:pt x="71" y="44"/>
                    </a:lnTo>
                    <a:lnTo>
                      <a:pt x="69" y="32"/>
                    </a:lnTo>
                    <a:lnTo>
                      <a:pt x="63" y="18"/>
                    </a:lnTo>
                    <a:lnTo>
                      <a:pt x="59" y="11"/>
                    </a:lnTo>
                    <a:lnTo>
                      <a:pt x="55" y="5"/>
                    </a:lnTo>
                    <a:lnTo>
                      <a:pt x="50" y="1"/>
                    </a:lnTo>
                    <a:lnTo>
                      <a:pt x="45" y="0"/>
                    </a:lnTo>
                    <a:lnTo>
                      <a:pt x="40" y="5"/>
                    </a:lnTo>
                    <a:lnTo>
                      <a:pt x="37" y="12"/>
                    </a:lnTo>
                    <a:lnTo>
                      <a:pt x="35" y="20"/>
                    </a:lnTo>
                    <a:lnTo>
                      <a:pt x="34" y="29"/>
                    </a:lnTo>
                    <a:lnTo>
                      <a:pt x="33" y="48"/>
                    </a:lnTo>
                    <a:lnTo>
                      <a:pt x="34" y="68"/>
                    </a:lnTo>
                    <a:lnTo>
                      <a:pt x="35" y="89"/>
                    </a:lnTo>
                    <a:lnTo>
                      <a:pt x="35" y="109"/>
                    </a:lnTo>
                    <a:lnTo>
                      <a:pt x="34" y="119"/>
                    </a:lnTo>
                    <a:lnTo>
                      <a:pt x="33" y="127"/>
                    </a:lnTo>
                    <a:lnTo>
                      <a:pt x="31" y="136"/>
                    </a:lnTo>
                    <a:lnTo>
                      <a:pt x="27" y="143"/>
                    </a:lnTo>
                    <a:lnTo>
                      <a:pt x="18" y="157"/>
                    </a:lnTo>
                    <a:lnTo>
                      <a:pt x="12" y="173"/>
                    </a:lnTo>
                    <a:lnTo>
                      <a:pt x="6" y="189"/>
                    </a:lnTo>
                    <a:lnTo>
                      <a:pt x="3" y="206"/>
                    </a:lnTo>
                    <a:lnTo>
                      <a:pt x="2" y="222"/>
                    </a:lnTo>
                    <a:lnTo>
                      <a:pt x="0" y="239"/>
                    </a:lnTo>
                    <a:lnTo>
                      <a:pt x="2" y="256"/>
                    </a:lnTo>
                    <a:lnTo>
                      <a:pt x="5" y="273"/>
                    </a:lnTo>
                    <a:lnTo>
                      <a:pt x="9" y="283"/>
                    </a:lnTo>
                    <a:lnTo>
                      <a:pt x="12" y="293"/>
                    </a:lnTo>
                    <a:lnTo>
                      <a:pt x="17" y="302"/>
                    </a:lnTo>
                    <a:lnTo>
                      <a:pt x="22" y="312"/>
                    </a:lnTo>
                    <a:lnTo>
                      <a:pt x="34" y="327"/>
                    </a:lnTo>
                    <a:lnTo>
                      <a:pt x="46" y="343"/>
                    </a:lnTo>
                    <a:lnTo>
                      <a:pt x="61" y="356"/>
                    </a:lnTo>
                    <a:lnTo>
                      <a:pt x="76" y="368"/>
                    </a:lnTo>
                    <a:lnTo>
                      <a:pt x="93" y="380"/>
                    </a:lnTo>
                    <a:lnTo>
                      <a:pt x="111" y="392"/>
                    </a:lnTo>
                    <a:lnTo>
                      <a:pt x="126" y="401"/>
                    </a:lnTo>
                    <a:lnTo>
                      <a:pt x="140" y="405"/>
                    </a:lnTo>
                    <a:lnTo>
                      <a:pt x="153" y="408"/>
                    </a:lnTo>
                    <a:lnTo>
                      <a:pt x="166" y="408"/>
                    </a:lnTo>
                    <a:lnTo>
                      <a:pt x="179" y="407"/>
                    </a:lnTo>
                    <a:lnTo>
                      <a:pt x="189" y="402"/>
                    </a:lnTo>
                    <a:lnTo>
                      <a:pt x="201" y="397"/>
                    </a:lnTo>
                    <a:lnTo>
                      <a:pt x="212" y="391"/>
                    </a:lnTo>
                    <a:lnTo>
                      <a:pt x="235" y="375"/>
                    </a:lnTo>
                    <a:lnTo>
                      <a:pt x="258" y="360"/>
                    </a:lnTo>
                    <a:lnTo>
                      <a:pt x="270" y="351"/>
                    </a:lnTo>
                    <a:lnTo>
                      <a:pt x="282" y="345"/>
                    </a:lnTo>
                    <a:lnTo>
                      <a:pt x="296" y="339"/>
                    </a:lnTo>
                    <a:lnTo>
                      <a:pt x="311" y="334"/>
                    </a:lnTo>
                    <a:lnTo>
                      <a:pt x="328" y="331"/>
                    </a:lnTo>
                    <a:lnTo>
                      <a:pt x="345" y="327"/>
                    </a:lnTo>
                    <a:lnTo>
                      <a:pt x="363" y="324"/>
                    </a:lnTo>
                    <a:lnTo>
                      <a:pt x="382" y="321"/>
                    </a:lnTo>
                    <a:lnTo>
                      <a:pt x="400" y="321"/>
                    </a:lnTo>
                    <a:lnTo>
                      <a:pt x="418" y="321"/>
                    </a:lnTo>
                    <a:lnTo>
                      <a:pt x="436" y="325"/>
                    </a:lnTo>
                    <a:lnTo>
                      <a:pt x="454" y="330"/>
                    </a:lnTo>
                    <a:lnTo>
                      <a:pt x="481" y="340"/>
                    </a:lnTo>
                    <a:lnTo>
                      <a:pt x="514" y="357"/>
                    </a:lnTo>
                    <a:lnTo>
                      <a:pt x="531" y="367"/>
                    </a:lnTo>
                    <a:lnTo>
                      <a:pt x="546" y="377"/>
                    </a:lnTo>
                    <a:lnTo>
                      <a:pt x="558" y="385"/>
                    </a:lnTo>
                    <a:lnTo>
                      <a:pt x="566" y="395"/>
                    </a:lnTo>
                    <a:lnTo>
                      <a:pt x="573" y="397"/>
                    </a:lnTo>
                    <a:lnTo>
                      <a:pt x="580" y="401"/>
                    </a:lnTo>
                    <a:lnTo>
                      <a:pt x="588" y="405"/>
                    </a:lnTo>
                    <a:lnTo>
                      <a:pt x="594" y="410"/>
                    </a:lnTo>
                    <a:lnTo>
                      <a:pt x="606" y="425"/>
                    </a:lnTo>
                    <a:lnTo>
                      <a:pt x="617" y="440"/>
                    </a:lnTo>
                    <a:lnTo>
                      <a:pt x="626" y="457"/>
                    </a:lnTo>
                    <a:lnTo>
                      <a:pt x="635" y="474"/>
                    </a:lnTo>
                    <a:lnTo>
                      <a:pt x="641" y="490"/>
                    </a:lnTo>
                    <a:lnTo>
                      <a:pt x="645" y="504"/>
                    </a:lnTo>
                    <a:lnTo>
                      <a:pt x="648" y="513"/>
                    </a:lnTo>
                    <a:lnTo>
                      <a:pt x="650" y="519"/>
                    </a:lnTo>
                    <a:lnTo>
                      <a:pt x="654" y="523"/>
                    </a:lnTo>
                    <a:lnTo>
                      <a:pt x="656" y="526"/>
                    </a:lnTo>
                    <a:lnTo>
                      <a:pt x="666" y="529"/>
                    </a:lnTo>
                    <a:lnTo>
                      <a:pt x="680" y="533"/>
                    </a:lnTo>
                    <a:lnTo>
                      <a:pt x="745" y="549"/>
                    </a:lnTo>
                    <a:lnTo>
                      <a:pt x="753" y="561"/>
                    </a:lnTo>
                    <a:lnTo>
                      <a:pt x="761" y="571"/>
                    </a:lnTo>
                    <a:lnTo>
                      <a:pt x="766" y="576"/>
                    </a:lnTo>
                    <a:lnTo>
                      <a:pt x="772" y="581"/>
                    </a:lnTo>
                    <a:lnTo>
                      <a:pt x="777" y="585"/>
                    </a:lnTo>
                    <a:lnTo>
                      <a:pt x="783" y="588"/>
                    </a:lnTo>
                    <a:lnTo>
                      <a:pt x="792" y="593"/>
                    </a:lnTo>
                    <a:lnTo>
                      <a:pt x="801" y="599"/>
                    </a:lnTo>
                    <a:lnTo>
                      <a:pt x="809" y="608"/>
                    </a:lnTo>
                    <a:lnTo>
                      <a:pt x="818" y="616"/>
                    </a:lnTo>
                    <a:lnTo>
                      <a:pt x="825" y="627"/>
                    </a:lnTo>
                    <a:lnTo>
                      <a:pt x="832" y="638"/>
                    </a:lnTo>
                    <a:lnTo>
                      <a:pt x="839" y="650"/>
                    </a:lnTo>
                    <a:lnTo>
                      <a:pt x="845" y="662"/>
                    </a:lnTo>
                    <a:lnTo>
                      <a:pt x="857" y="687"/>
                    </a:lnTo>
                    <a:lnTo>
                      <a:pt x="867" y="712"/>
                    </a:lnTo>
                    <a:lnTo>
                      <a:pt x="875" y="735"/>
                    </a:lnTo>
                    <a:lnTo>
                      <a:pt x="880" y="756"/>
                    </a:lnTo>
                    <a:lnTo>
                      <a:pt x="887" y="754"/>
                    </a:lnTo>
                    <a:lnTo>
                      <a:pt x="897" y="752"/>
                    </a:lnTo>
                    <a:lnTo>
                      <a:pt x="908" y="748"/>
                    </a:lnTo>
                    <a:lnTo>
                      <a:pt x="919" y="744"/>
                    </a:lnTo>
                    <a:lnTo>
                      <a:pt x="928" y="739"/>
                    </a:lnTo>
                    <a:lnTo>
                      <a:pt x="937" y="732"/>
                    </a:lnTo>
                    <a:lnTo>
                      <a:pt x="940" y="728"/>
                    </a:lnTo>
                    <a:lnTo>
                      <a:pt x="943" y="724"/>
                    </a:lnTo>
                    <a:lnTo>
                      <a:pt x="944" y="721"/>
                    </a:lnTo>
                    <a:lnTo>
                      <a:pt x="945" y="717"/>
                    </a:lnTo>
                    <a:lnTo>
                      <a:pt x="946" y="697"/>
                    </a:lnTo>
                    <a:lnTo>
                      <a:pt x="949" y="671"/>
                    </a:lnTo>
                    <a:lnTo>
                      <a:pt x="951" y="659"/>
                    </a:lnTo>
                    <a:lnTo>
                      <a:pt x="956" y="648"/>
                    </a:lnTo>
                    <a:lnTo>
                      <a:pt x="958" y="645"/>
                    </a:lnTo>
                    <a:lnTo>
                      <a:pt x="962" y="640"/>
                    </a:lnTo>
                    <a:lnTo>
                      <a:pt x="966" y="638"/>
                    </a:lnTo>
                    <a:lnTo>
                      <a:pt x="970" y="636"/>
                    </a:lnTo>
                    <a:lnTo>
                      <a:pt x="975" y="628"/>
                    </a:lnTo>
                    <a:lnTo>
                      <a:pt x="981" y="618"/>
                    </a:lnTo>
                    <a:lnTo>
                      <a:pt x="990" y="608"/>
                    </a:lnTo>
                    <a:lnTo>
                      <a:pt x="995" y="596"/>
                    </a:lnTo>
                    <a:lnTo>
                      <a:pt x="997" y="590"/>
                    </a:lnTo>
                    <a:lnTo>
                      <a:pt x="999" y="584"/>
                    </a:lnTo>
                    <a:lnTo>
                      <a:pt x="1003" y="577"/>
                    </a:lnTo>
                    <a:lnTo>
                      <a:pt x="1007" y="573"/>
                    </a:lnTo>
                    <a:lnTo>
                      <a:pt x="1011" y="568"/>
                    </a:lnTo>
                    <a:lnTo>
                      <a:pt x="1016" y="564"/>
                    </a:lnTo>
                    <a:lnTo>
                      <a:pt x="1022" y="561"/>
                    </a:lnTo>
                    <a:lnTo>
                      <a:pt x="1028" y="557"/>
                    </a:lnTo>
                    <a:lnTo>
                      <a:pt x="1040" y="552"/>
                    </a:lnTo>
                    <a:lnTo>
                      <a:pt x="1055" y="550"/>
                    </a:lnTo>
                    <a:lnTo>
                      <a:pt x="1069" y="547"/>
                    </a:lnTo>
                    <a:lnTo>
                      <a:pt x="1085" y="547"/>
                    </a:lnTo>
                    <a:lnTo>
                      <a:pt x="1117" y="549"/>
                    </a:lnTo>
                    <a:lnTo>
                      <a:pt x="1149" y="552"/>
                    </a:lnTo>
                    <a:lnTo>
                      <a:pt x="1176" y="556"/>
                    </a:lnTo>
                    <a:lnTo>
                      <a:pt x="1200" y="559"/>
                    </a:lnTo>
                    <a:lnTo>
                      <a:pt x="1212" y="561"/>
                    </a:lnTo>
                    <a:lnTo>
                      <a:pt x="1223" y="562"/>
                    </a:lnTo>
                    <a:lnTo>
                      <a:pt x="1232" y="562"/>
                    </a:lnTo>
                    <a:lnTo>
                      <a:pt x="1239" y="559"/>
                    </a:lnTo>
                    <a:lnTo>
                      <a:pt x="1246" y="556"/>
                    </a:lnTo>
                    <a:lnTo>
                      <a:pt x="1252" y="549"/>
                    </a:lnTo>
                    <a:lnTo>
                      <a:pt x="1259" y="539"/>
                    </a:lnTo>
                    <a:lnTo>
                      <a:pt x="1265" y="527"/>
                    </a:lnTo>
                    <a:lnTo>
                      <a:pt x="1277" y="505"/>
                    </a:lnTo>
                    <a:lnTo>
                      <a:pt x="1287" y="486"/>
                    </a:lnTo>
                    <a:lnTo>
                      <a:pt x="1292" y="475"/>
                    </a:lnTo>
                    <a:lnTo>
                      <a:pt x="1294" y="464"/>
                    </a:lnTo>
                    <a:lnTo>
                      <a:pt x="1297" y="452"/>
                    </a:lnTo>
                    <a:lnTo>
                      <a:pt x="1297" y="439"/>
                    </a:lnTo>
                    <a:lnTo>
                      <a:pt x="1295" y="439"/>
                    </a:lnTo>
                    <a:lnTo>
                      <a:pt x="1295" y="437"/>
                    </a:lnTo>
                    <a:lnTo>
                      <a:pt x="1294" y="437"/>
                    </a:lnTo>
                    <a:lnTo>
                      <a:pt x="1293" y="435"/>
                    </a:lnTo>
                    <a:lnTo>
                      <a:pt x="1262" y="426"/>
                    </a:lnTo>
                    <a:lnTo>
                      <a:pt x="1230" y="415"/>
                    </a:lnTo>
                    <a:lnTo>
                      <a:pt x="1198" y="404"/>
                    </a:lnTo>
                    <a:lnTo>
                      <a:pt x="1165" y="395"/>
                    </a:lnTo>
                    <a:lnTo>
                      <a:pt x="1151" y="392"/>
                    </a:lnTo>
                    <a:lnTo>
                      <a:pt x="1134" y="391"/>
                    </a:lnTo>
                    <a:lnTo>
                      <a:pt x="1117" y="390"/>
                    </a:lnTo>
                    <a:lnTo>
                      <a:pt x="1100" y="390"/>
                    </a:lnTo>
                    <a:lnTo>
                      <a:pt x="1067" y="391"/>
                    </a:lnTo>
                    <a:lnTo>
                      <a:pt x="1033" y="392"/>
                    </a:lnTo>
                    <a:lnTo>
                      <a:pt x="985" y="3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0"/>
              <p:cNvSpPr>
                <a:spLocks/>
              </p:cNvSpPr>
              <p:nvPr/>
            </p:nvSpPr>
            <p:spPr bwMode="auto">
              <a:xfrm>
                <a:off x="327026" y="6235700"/>
                <a:ext cx="128588" cy="100013"/>
              </a:xfrm>
              <a:custGeom>
                <a:avLst/>
                <a:gdLst>
                  <a:gd name="T0" fmla="*/ 169 w 322"/>
                  <a:gd name="T1" fmla="*/ 151 h 250"/>
                  <a:gd name="T2" fmla="*/ 160 w 322"/>
                  <a:gd name="T3" fmla="*/ 150 h 250"/>
                  <a:gd name="T4" fmla="*/ 141 w 322"/>
                  <a:gd name="T5" fmla="*/ 142 h 250"/>
                  <a:gd name="T6" fmla="*/ 114 w 322"/>
                  <a:gd name="T7" fmla="*/ 125 h 250"/>
                  <a:gd name="T8" fmla="*/ 92 w 322"/>
                  <a:gd name="T9" fmla="*/ 108 h 250"/>
                  <a:gd name="T10" fmla="*/ 82 w 322"/>
                  <a:gd name="T11" fmla="*/ 92 h 250"/>
                  <a:gd name="T12" fmla="*/ 67 w 322"/>
                  <a:gd name="T13" fmla="*/ 73 h 250"/>
                  <a:gd name="T14" fmla="*/ 59 w 322"/>
                  <a:gd name="T15" fmla="*/ 50 h 250"/>
                  <a:gd name="T16" fmla="*/ 50 w 322"/>
                  <a:gd name="T17" fmla="*/ 13 h 250"/>
                  <a:gd name="T18" fmla="*/ 48 w 322"/>
                  <a:gd name="T19" fmla="*/ 1 h 250"/>
                  <a:gd name="T20" fmla="*/ 45 w 322"/>
                  <a:gd name="T21" fmla="*/ 0 h 250"/>
                  <a:gd name="T22" fmla="*/ 39 w 322"/>
                  <a:gd name="T23" fmla="*/ 4 h 250"/>
                  <a:gd name="T24" fmla="*/ 24 w 322"/>
                  <a:gd name="T25" fmla="*/ 24 h 250"/>
                  <a:gd name="T26" fmla="*/ 12 w 322"/>
                  <a:gd name="T27" fmla="*/ 38 h 250"/>
                  <a:gd name="T28" fmla="*/ 3 w 322"/>
                  <a:gd name="T29" fmla="*/ 51 h 250"/>
                  <a:gd name="T30" fmla="*/ 0 w 322"/>
                  <a:gd name="T31" fmla="*/ 63 h 250"/>
                  <a:gd name="T32" fmla="*/ 0 w 322"/>
                  <a:gd name="T33" fmla="*/ 75 h 250"/>
                  <a:gd name="T34" fmla="*/ 3 w 322"/>
                  <a:gd name="T35" fmla="*/ 88 h 250"/>
                  <a:gd name="T36" fmla="*/ 11 w 322"/>
                  <a:gd name="T37" fmla="*/ 100 h 250"/>
                  <a:gd name="T38" fmla="*/ 25 w 322"/>
                  <a:gd name="T39" fmla="*/ 116 h 250"/>
                  <a:gd name="T40" fmla="*/ 56 w 322"/>
                  <a:gd name="T41" fmla="*/ 142 h 250"/>
                  <a:gd name="T42" fmla="*/ 92 w 322"/>
                  <a:gd name="T43" fmla="*/ 173 h 250"/>
                  <a:gd name="T44" fmla="*/ 125 w 322"/>
                  <a:gd name="T45" fmla="*/ 197 h 250"/>
                  <a:gd name="T46" fmla="*/ 151 w 322"/>
                  <a:gd name="T47" fmla="*/ 217 h 250"/>
                  <a:gd name="T48" fmla="*/ 177 w 322"/>
                  <a:gd name="T49" fmla="*/ 228 h 250"/>
                  <a:gd name="T50" fmla="*/ 198 w 322"/>
                  <a:gd name="T51" fmla="*/ 228 h 250"/>
                  <a:gd name="T52" fmla="*/ 219 w 322"/>
                  <a:gd name="T53" fmla="*/ 225 h 250"/>
                  <a:gd name="T54" fmla="*/ 239 w 322"/>
                  <a:gd name="T55" fmla="*/ 222 h 250"/>
                  <a:gd name="T56" fmla="*/ 268 w 322"/>
                  <a:gd name="T57" fmla="*/ 230 h 250"/>
                  <a:gd name="T58" fmla="*/ 297 w 322"/>
                  <a:gd name="T59" fmla="*/ 243 h 250"/>
                  <a:gd name="T60" fmla="*/ 315 w 322"/>
                  <a:gd name="T61" fmla="*/ 249 h 250"/>
                  <a:gd name="T62" fmla="*/ 321 w 322"/>
                  <a:gd name="T63" fmla="*/ 240 h 250"/>
                  <a:gd name="T64" fmla="*/ 315 w 322"/>
                  <a:gd name="T65" fmla="*/ 219 h 250"/>
                  <a:gd name="T66" fmla="*/ 304 w 322"/>
                  <a:gd name="T67" fmla="*/ 197 h 250"/>
                  <a:gd name="T68" fmla="*/ 295 w 322"/>
                  <a:gd name="T69" fmla="*/ 184 h 250"/>
                  <a:gd name="T70" fmla="*/ 286 w 322"/>
                  <a:gd name="T71" fmla="*/ 179 h 250"/>
                  <a:gd name="T72" fmla="*/ 272 w 322"/>
                  <a:gd name="T73" fmla="*/ 175 h 250"/>
                  <a:gd name="T74" fmla="*/ 252 w 322"/>
                  <a:gd name="T75" fmla="*/ 174 h 250"/>
                  <a:gd name="T76" fmla="*/ 233 w 322"/>
                  <a:gd name="T77" fmla="*/ 169 h 250"/>
                  <a:gd name="T78" fmla="*/ 213 w 322"/>
                  <a:gd name="T79" fmla="*/ 163 h 250"/>
                  <a:gd name="T80" fmla="*/ 173 w 322"/>
                  <a:gd name="T81" fmla="*/ 151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2" h="250">
                    <a:moveTo>
                      <a:pt x="173" y="151"/>
                    </a:moveTo>
                    <a:lnTo>
                      <a:pt x="169" y="151"/>
                    </a:lnTo>
                    <a:lnTo>
                      <a:pt x="165" y="151"/>
                    </a:lnTo>
                    <a:lnTo>
                      <a:pt x="160" y="150"/>
                    </a:lnTo>
                    <a:lnTo>
                      <a:pt x="154" y="148"/>
                    </a:lnTo>
                    <a:lnTo>
                      <a:pt x="141" y="142"/>
                    </a:lnTo>
                    <a:lnTo>
                      <a:pt x="127" y="134"/>
                    </a:lnTo>
                    <a:lnTo>
                      <a:pt x="114" y="125"/>
                    </a:lnTo>
                    <a:lnTo>
                      <a:pt x="102" y="116"/>
                    </a:lnTo>
                    <a:lnTo>
                      <a:pt x="92" y="108"/>
                    </a:lnTo>
                    <a:lnTo>
                      <a:pt x="88" y="102"/>
                    </a:lnTo>
                    <a:lnTo>
                      <a:pt x="82" y="92"/>
                    </a:lnTo>
                    <a:lnTo>
                      <a:pt x="74" y="83"/>
                    </a:lnTo>
                    <a:lnTo>
                      <a:pt x="67" y="73"/>
                    </a:lnTo>
                    <a:lnTo>
                      <a:pt x="62" y="62"/>
                    </a:lnTo>
                    <a:lnTo>
                      <a:pt x="59" y="50"/>
                    </a:lnTo>
                    <a:lnTo>
                      <a:pt x="55" y="31"/>
                    </a:lnTo>
                    <a:lnTo>
                      <a:pt x="50" y="13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0"/>
                    </a:lnTo>
                    <a:lnTo>
                      <a:pt x="45" y="0"/>
                    </a:lnTo>
                    <a:lnTo>
                      <a:pt x="44" y="1"/>
                    </a:lnTo>
                    <a:lnTo>
                      <a:pt x="39" y="4"/>
                    </a:lnTo>
                    <a:lnTo>
                      <a:pt x="35" y="10"/>
                    </a:lnTo>
                    <a:lnTo>
                      <a:pt x="24" y="24"/>
                    </a:lnTo>
                    <a:lnTo>
                      <a:pt x="18" y="32"/>
                    </a:lnTo>
                    <a:lnTo>
                      <a:pt x="12" y="38"/>
                    </a:lnTo>
                    <a:lnTo>
                      <a:pt x="7" y="45"/>
                    </a:lnTo>
                    <a:lnTo>
                      <a:pt x="3" y="51"/>
                    </a:lnTo>
                    <a:lnTo>
                      <a:pt x="1" y="57"/>
                    </a:lnTo>
                    <a:lnTo>
                      <a:pt x="0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1"/>
                    </a:lnTo>
                    <a:lnTo>
                      <a:pt x="3" y="88"/>
                    </a:lnTo>
                    <a:lnTo>
                      <a:pt x="7" y="94"/>
                    </a:lnTo>
                    <a:lnTo>
                      <a:pt x="11" y="100"/>
                    </a:lnTo>
                    <a:lnTo>
                      <a:pt x="14" y="106"/>
                    </a:lnTo>
                    <a:lnTo>
                      <a:pt x="25" y="116"/>
                    </a:lnTo>
                    <a:lnTo>
                      <a:pt x="37" y="126"/>
                    </a:lnTo>
                    <a:lnTo>
                      <a:pt x="56" y="142"/>
                    </a:lnTo>
                    <a:lnTo>
                      <a:pt x="74" y="157"/>
                    </a:lnTo>
                    <a:lnTo>
                      <a:pt x="92" y="173"/>
                    </a:lnTo>
                    <a:lnTo>
                      <a:pt x="112" y="187"/>
                    </a:lnTo>
                    <a:lnTo>
                      <a:pt x="125" y="197"/>
                    </a:lnTo>
                    <a:lnTo>
                      <a:pt x="138" y="208"/>
                    </a:lnTo>
                    <a:lnTo>
                      <a:pt x="151" y="217"/>
                    </a:lnTo>
                    <a:lnTo>
                      <a:pt x="165" y="225"/>
                    </a:lnTo>
                    <a:lnTo>
                      <a:pt x="177" y="228"/>
                    </a:lnTo>
                    <a:lnTo>
                      <a:pt x="187" y="228"/>
                    </a:lnTo>
                    <a:lnTo>
                      <a:pt x="198" y="228"/>
                    </a:lnTo>
                    <a:lnTo>
                      <a:pt x="208" y="226"/>
                    </a:lnTo>
                    <a:lnTo>
                      <a:pt x="219" y="225"/>
                    </a:lnTo>
                    <a:lnTo>
                      <a:pt x="228" y="222"/>
                    </a:lnTo>
                    <a:lnTo>
                      <a:pt x="239" y="222"/>
                    </a:lnTo>
                    <a:lnTo>
                      <a:pt x="250" y="223"/>
                    </a:lnTo>
                    <a:lnTo>
                      <a:pt x="268" y="230"/>
                    </a:lnTo>
                    <a:lnTo>
                      <a:pt x="287" y="239"/>
                    </a:lnTo>
                    <a:lnTo>
                      <a:pt x="297" y="243"/>
                    </a:lnTo>
                    <a:lnTo>
                      <a:pt x="307" y="246"/>
                    </a:lnTo>
                    <a:lnTo>
                      <a:pt x="315" y="249"/>
                    </a:lnTo>
                    <a:lnTo>
                      <a:pt x="322" y="250"/>
                    </a:lnTo>
                    <a:lnTo>
                      <a:pt x="321" y="240"/>
                    </a:lnTo>
                    <a:lnTo>
                      <a:pt x="319" y="230"/>
                    </a:lnTo>
                    <a:lnTo>
                      <a:pt x="315" y="219"/>
                    </a:lnTo>
                    <a:lnTo>
                      <a:pt x="310" y="207"/>
                    </a:lnTo>
                    <a:lnTo>
                      <a:pt x="304" y="197"/>
                    </a:lnTo>
                    <a:lnTo>
                      <a:pt x="298" y="187"/>
                    </a:lnTo>
                    <a:lnTo>
                      <a:pt x="295" y="184"/>
                    </a:lnTo>
                    <a:lnTo>
                      <a:pt x="290" y="181"/>
                    </a:lnTo>
                    <a:lnTo>
                      <a:pt x="286" y="179"/>
                    </a:lnTo>
                    <a:lnTo>
                      <a:pt x="281" y="177"/>
                    </a:lnTo>
                    <a:lnTo>
                      <a:pt x="272" y="175"/>
                    </a:lnTo>
                    <a:lnTo>
                      <a:pt x="262" y="174"/>
                    </a:lnTo>
                    <a:lnTo>
                      <a:pt x="252" y="174"/>
                    </a:lnTo>
                    <a:lnTo>
                      <a:pt x="243" y="173"/>
                    </a:lnTo>
                    <a:lnTo>
                      <a:pt x="233" y="169"/>
                    </a:lnTo>
                    <a:lnTo>
                      <a:pt x="222" y="166"/>
                    </a:lnTo>
                    <a:lnTo>
                      <a:pt x="213" y="163"/>
                    </a:lnTo>
                    <a:lnTo>
                      <a:pt x="203" y="161"/>
                    </a:lnTo>
                    <a:lnTo>
                      <a:pt x="173" y="15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1"/>
              <p:cNvSpPr>
                <a:spLocks/>
              </p:cNvSpPr>
              <p:nvPr/>
            </p:nvSpPr>
            <p:spPr bwMode="auto">
              <a:xfrm>
                <a:off x="1265238" y="6315075"/>
                <a:ext cx="298450" cy="201613"/>
              </a:xfrm>
              <a:custGeom>
                <a:avLst/>
                <a:gdLst>
                  <a:gd name="T0" fmla="*/ 12 w 754"/>
                  <a:gd name="T1" fmla="*/ 206 h 509"/>
                  <a:gd name="T2" fmla="*/ 1 w 754"/>
                  <a:gd name="T3" fmla="*/ 176 h 509"/>
                  <a:gd name="T4" fmla="*/ 3 w 754"/>
                  <a:gd name="T5" fmla="*/ 155 h 509"/>
                  <a:gd name="T6" fmla="*/ 17 w 754"/>
                  <a:gd name="T7" fmla="*/ 143 h 509"/>
                  <a:gd name="T8" fmla="*/ 57 w 754"/>
                  <a:gd name="T9" fmla="*/ 136 h 509"/>
                  <a:gd name="T10" fmla="*/ 167 w 754"/>
                  <a:gd name="T11" fmla="*/ 143 h 509"/>
                  <a:gd name="T12" fmla="*/ 205 w 754"/>
                  <a:gd name="T13" fmla="*/ 142 h 509"/>
                  <a:gd name="T14" fmla="*/ 225 w 754"/>
                  <a:gd name="T15" fmla="*/ 136 h 509"/>
                  <a:gd name="T16" fmla="*/ 235 w 754"/>
                  <a:gd name="T17" fmla="*/ 123 h 509"/>
                  <a:gd name="T18" fmla="*/ 249 w 754"/>
                  <a:gd name="T19" fmla="*/ 92 h 509"/>
                  <a:gd name="T20" fmla="*/ 263 w 754"/>
                  <a:gd name="T21" fmla="*/ 72 h 509"/>
                  <a:gd name="T22" fmla="*/ 284 w 754"/>
                  <a:gd name="T23" fmla="*/ 59 h 509"/>
                  <a:gd name="T24" fmla="*/ 312 w 754"/>
                  <a:gd name="T25" fmla="*/ 51 h 509"/>
                  <a:gd name="T26" fmla="*/ 335 w 754"/>
                  <a:gd name="T27" fmla="*/ 33 h 509"/>
                  <a:gd name="T28" fmla="*/ 350 w 754"/>
                  <a:gd name="T29" fmla="*/ 18 h 509"/>
                  <a:gd name="T30" fmla="*/ 366 w 754"/>
                  <a:gd name="T31" fmla="*/ 17 h 509"/>
                  <a:gd name="T32" fmla="*/ 389 w 754"/>
                  <a:gd name="T33" fmla="*/ 30 h 509"/>
                  <a:gd name="T34" fmla="*/ 436 w 754"/>
                  <a:gd name="T35" fmla="*/ 7 h 509"/>
                  <a:gd name="T36" fmla="*/ 468 w 754"/>
                  <a:gd name="T37" fmla="*/ 0 h 509"/>
                  <a:gd name="T38" fmla="*/ 494 w 754"/>
                  <a:gd name="T39" fmla="*/ 3 h 509"/>
                  <a:gd name="T40" fmla="*/ 520 w 754"/>
                  <a:gd name="T41" fmla="*/ 18 h 509"/>
                  <a:gd name="T42" fmla="*/ 531 w 754"/>
                  <a:gd name="T43" fmla="*/ 34 h 509"/>
                  <a:gd name="T44" fmla="*/ 541 w 754"/>
                  <a:gd name="T45" fmla="*/ 45 h 509"/>
                  <a:gd name="T46" fmla="*/ 588 w 754"/>
                  <a:gd name="T47" fmla="*/ 46 h 509"/>
                  <a:gd name="T48" fmla="*/ 660 w 754"/>
                  <a:gd name="T49" fmla="*/ 44 h 509"/>
                  <a:gd name="T50" fmla="*/ 691 w 754"/>
                  <a:gd name="T51" fmla="*/ 51 h 509"/>
                  <a:gd name="T52" fmla="*/ 693 w 754"/>
                  <a:gd name="T53" fmla="*/ 70 h 509"/>
                  <a:gd name="T54" fmla="*/ 693 w 754"/>
                  <a:gd name="T55" fmla="*/ 136 h 509"/>
                  <a:gd name="T56" fmla="*/ 695 w 754"/>
                  <a:gd name="T57" fmla="*/ 192 h 509"/>
                  <a:gd name="T58" fmla="*/ 720 w 754"/>
                  <a:gd name="T59" fmla="*/ 306 h 509"/>
                  <a:gd name="T60" fmla="*/ 736 w 754"/>
                  <a:gd name="T61" fmla="*/ 346 h 509"/>
                  <a:gd name="T62" fmla="*/ 745 w 754"/>
                  <a:gd name="T63" fmla="*/ 354 h 509"/>
                  <a:gd name="T64" fmla="*/ 752 w 754"/>
                  <a:gd name="T65" fmla="*/ 370 h 509"/>
                  <a:gd name="T66" fmla="*/ 752 w 754"/>
                  <a:gd name="T67" fmla="*/ 382 h 509"/>
                  <a:gd name="T68" fmla="*/ 744 w 754"/>
                  <a:gd name="T69" fmla="*/ 385 h 509"/>
                  <a:gd name="T70" fmla="*/ 702 w 754"/>
                  <a:gd name="T71" fmla="*/ 377 h 509"/>
                  <a:gd name="T72" fmla="*/ 684 w 754"/>
                  <a:gd name="T73" fmla="*/ 378 h 509"/>
                  <a:gd name="T74" fmla="*/ 657 w 754"/>
                  <a:gd name="T75" fmla="*/ 394 h 509"/>
                  <a:gd name="T76" fmla="*/ 627 w 754"/>
                  <a:gd name="T77" fmla="*/ 408 h 509"/>
                  <a:gd name="T78" fmla="*/ 571 w 754"/>
                  <a:gd name="T79" fmla="*/ 425 h 509"/>
                  <a:gd name="T80" fmla="*/ 551 w 754"/>
                  <a:gd name="T81" fmla="*/ 438 h 509"/>
                  <a:gd name="T82" fmla="*/ 541 w 754"/>
                  <a:gd name="T83" fmla="*/ 458 h 509"/>
                  <a:gd name="T84" fmla="*/ 523 w 754"/>
                  <a:gd name="T85" fmla="*/ 507 h 509"/>
                  <a:gd name="T86" fmla="*/ 520 w 754"/>
                  <a:gd name="T87" fmla="*/ 509 h 509"/>
                  <a:gd name="T88" fmla="*/ 508 w 754"/>
                  <a:gd name="T89" fmla="*/ 503 h 509"/>
                  <a:gd name="T90" fmla="*/ 464 w 754"/>
                  <a:gd name="T91" fmla="*/ 460 h 509"/>
                  <a:gd name="T92" fmla="*/ 435 w 754"/>
                  <a:gd name="T93" fmla="*/ 432 h 509"/>
                  <a:gd name="T94" fmla="*/ 411 w 754"/>
                  <a:gd name="T95" fmla="*/ 425 h 509"/>
                  <a:gd name="T96" fmla="*/ 370 w 754"/>
                  <a:gd name="T97" fmla="*/ 424 h 509"/>
                  <a:gd name="T98" fmla="*/ 329 w 754"/>
                  <a:gd name="T99" fmla="*/ 421 h 509"/>
                  <a:gd name="T100" fmla="*/ 295 w 754"/>
                  <a:gd name="T101" fmla="*/ 412 h 509"/>
                  <a:gd name="T102" fmla="*/ 261 w 754"/>
                  <a:gd name="T103" fmla="*/ 390 h 509"/>
                  <a:gd name="T104" fmla="*/ 212 w 754"/>
                  <a:gd name="T105" fmla="*/ 353 h 509"/>
                  <a:gd name="T106" fmla="*/ 186 w 754"/>
                  <a:gd name="T107" fmla="*/ 338 h 509"/>
                  <a:gd name="T108" fmla="*/ 136 w 754"/>
                  <a:gd name="T109" fmla="*/ 320 h 509"/>
                  <a:gd name="T110" fmla="*/ 89 w 754"/>
                  <a:gd name="T111" fmla="*/ 284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4" h="509">
                    <a:moveTo>
                      <a:pt x="29" y="232"/>
                    </a:moveTo>
                    <a:lnTo>
                      <a:pt x="21" y="218"/>
                    </a:lnTo>
                    <a:lnTo>
                      <a:pt x="12" y="206"/>
                    </a:lnTo>
                    <a:lnTo>
                      <a:pt x="7" y="194"/>
                    </a:lnTo>
                    <a:lnTo>
                      <a:pt x="4" y="184"/>
                    </a:lnTo>
                    <a:lnTo>
                      <a:pt x="1" y="176"/>
                    </a:lnTo>
                    <a:lnTo>
                      <a:pt x="0" y="168"/>
                    </a:lnTo>
                    <a:lnTo>
                      <a:pt x="1" y="160"/>
                    </a:lnTo>
                    <a:lnTo>
                      <a:pt x="3" y="155"/>
                    </a:lnTo>
                    <a:lnTo>
                      <a:pt x="6" y="151"/>
                    </a:lnTo>
                    <a:lnTo>
                      <a:pt x="11" y="146"/>
                    </a:lnTo>
                    <a:lnTo>
                      <a:pt x="17" y="143"/>
                    </a:lnTo>
                    <a:lnTo>
                      <a:pt x="23" y="141"/>
                    </a:lnTo>
                    <a:lnTo>
                      <a:pt x="39" y="137"/>
                    </a:lnTo>
                    <a:lnTo>
                      <a:pt x="57" y="136"/>
                    </a:lnTo>
                    <a:lnTo>
                      <a:pt x="100" y="139"/>
                    </a:lnTo>
                    <a:lnTo>
                      <a:pt x="145" y="142"/>
                    </a:lnTo>
                    <a:lnTo>
                      <a:pt x="167" y="143"/>
                    </a:lnTo>
                    <a:lnTo>
                      <a:pt x="187" y="143"/>
                    </a:lnTo>
                    <a:lnTo>
                      <a:pt x="196" y="143"/>
                    </a:lnTo>
                    <a:lnTo>
                      <a:pt x="205" y="142"/>
                    </a:lnTo>
                    <a:lnTo>
                      <a:pt x="213" y="140"/>
                    </a:lnTo>
                    <a:lnTo>
                      <a:pt x="220" y="139"/>
                    </a:lnTo>
                    <a:lnTo>
                      <a:pt x="225" y="136"/>
                    </a:lnTo>
                    <a:lnTo>
                      <a:pt x="229" y="133"/>
                    </a:lnTo>
                    <a:lnTo>
                      <a:pt x="232" y="128"/>
                    </a:lnTo>
                    <a:lnTo>
                      <a:pt x="235" y="123"/>
                    </a:lnTo>
                    <a:lnTo>
                      <a:pt x="240" y="111"/>
                    </a:lnTo>
                    <a:lnTo>
                      <a:pt x="246" y="98"/>
                    </a:lnTo>
                    <a:lnTo>
                      <a:pt x="249" y="92"/>
                    </a:lnTo>
                    <a:lnTo>
                      <a:pt x="253" y="84"/>
                    </a:lnTo>
                    <a:lnTo>
                      <a:pt x="257" y="78"/>
                    </a:lnTo>
                    <a:lnTo>
                      <a:pt x="263" y="72"/>
                    </a:lnTo>
                    <a:lnTo>
                      <a:pt x="269" y="68"/>
                    </a:lnTo>
                    <a:lnTo>
                      <a:pt x="276" y="63"/>
                    </a:lnTo>
                    <a:lnTo>
                      <a:pt x="284" y="59"/>
                    </a:lnTo>
                    <a:lnTo>
                      <a:pt x="294" y="57"/>
                    </a:lnTo>
                    <a:lnTo>
                      <a:pt x="303" y="53"/>
                    </a:lnTo>
                    <a:lnTo>
                      <a:pt x="312" y="51"/>
                    </a:lnTo>
                    <a:lnTo>
                      <a:pt x="319" y="46"/>
                    </a:lnTo>
                    <a:lnTo>
                      <a:pt x="325" y="42"/>
                    </a:lnTo>
                    <a:lnTo>
                      <a:pt x="335" y="33"/>
                    </a:lnTo>
                    <a:lnTo>
                      <a:pt x="343" y="24"/>
                    </a:lnTo>
                    <a:lnTo>
                      <a:pt x="347" y="21"/>
                    </a:lnTo>
                    <a:lnTo>
                      <a:pt x="350" y="18"/>
                    </a:lnTo>
                    <a:lnTo>
                      <a:pt x="355" y="16"/>
                    </a:lnTo>
                    <a:lnTo>
                      <a:pt x="360" y="16"/>
                    </a:lnTo>
                    <a:lnTo>
                      <a:pt x="366" y="17"/>
                    </a:lnTo>
                    <a:lnTo>
                      <a:pt x="372" y="19"/>
                    </a:lnTo>
                    <a:lnTo>
                      <a:pt x="380" y="23"/>
                    </a:lnTo>
                    <a:lnTo>
                      <a:pt x="389" y="30"/>
                    </a:lnTo>
                    <a:lnTo>
                      <a:pt x="405" y="23"/>
                    </a:lnTo>
                    <a:lnTo>
                      <a:pt x="420" y="15"/>
                    </a:lnTo>
                    <a:lnTo>
                      <a:pt x="436" y="7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8" y="0"/>
                    </a:lnTo>
                    <a:lnTo>
                      <a:pt x="477" y="0"/>
                    </a:lnTo>
                    <a:lnTo>
                      <a:pt x="485" y="1"/>
                    </a:lnTo>
                    <a:lnTo>
                      <a:pt x="494" y="3"/>
                    </a:lnTo>
                    <a:lnTo>
                      <a:pt x="502" y="6"/>
                    </a:lnTo>
                    <a:lnTo>
                      <a:pt x="510" y="12"/>
                    </a:lnTo>
                    <a:lnTo>
                      <a:pt x="520" y="18"/>
                    </a:lnTo>
                    <a:lnTo>
                      <a:pt x="525" y="23"/>
                    </a:lnTo>
                    <a:lnTo>
                      <a:pt x="529" y="29"/>
                    </a:lnTo>
                    <a:lnTo>
                      <a:pt x="531" y="34"/>
                    </a:lnTo>
                    <a:lnTo>
                      <a:pt x="533" y="39"/>
                    </a:lnTo>
                    <a:lnTo>
                      <a:pt x="537" y="42"/>
                    </a:lnTo>
                    <a:lnTo>
                      <a:pt x="541" y="45"/>
                    </a:lnTo>
                    <a:lnTo>
                      <a:pt x="548" y="47"/>
                    </a:lnTo>
                    <a:lnTo>
                      <a:pt x="557" y="48"/>
                    </a:lnTo>
                    <a:lnTo>
                      <a:pt x="588" y="46"/>
                    </a:lnTo>
                    <a:lnTo>
                      <a:pt x="625" y="44"/>
                    </a:lnTo>
                    <a:lnTo>
                      <a:pt x="643" y="44"/>
                    </a:lnTo>
                    <a:lnTo>
                      <a:pt x="660" y="44"/>
                    </a:lnTo>
                    <a:lnTo>
                      <a:pt x="675" y="45"/>
                    </a:lnTo>
                    <a:lnTo>
                      <a:pt x="689" y="48"/>
                    </a:lnTo>
                    <a:lnTo>
                      <a:pt x="691" y="51"/>
                    </a:lnTo>
                    <a:lnTo>
                      <a:pt x="692" y="56"/>
                    </a:lnTo>
                    <a:lnTo>
                      <a:pt x="693" y="62"/>
                    </a:lnTo>
                    <a:lnTo>
                      <a:pt x="693" y="70"/>
                    </a:lnTo>
                    <a:lnTo>
                      <a:pt x="695" y="89"/>
                    </a:lnTo>
                    <a:lnTo>
                      <a:pt x="695" y="112"/>
                    </a:lnTo>
                    <a:lnTo>
                      <a:pt x="693" y="136"/>
                    </a:lnTo>
                    <a:lnTo>
                      <a:pt x="693" y="159"/>
                    </a:lnTo>
                    <a:lnTo>
                      <a:pt x="693" y="178"/>
                    </a:lnTo>
                    <a:lnTo>
                      <a:pt x="695" y="192"/>
                    </a:lnTo>
                    <a:lnTo>
                      <a:pt x="702" y="226"/>
                    </a:lnTo>
                    <a:lnTo>
                      <a:pt x="713" y="279"/>
                    </a:lnTo>
                    <a:lnTo>
                      <a:pt x="720" y="306"/>
                    </a:lnTo>
                    <a:lnTo>
                      <a:pt x="727" y="329"/>
                    </a:lnTo>
                    <a:lnTo>
                      <a:pt x="732" y="338"/>
                    </a:lnTo>
                    <a:lnTo>
                      <a:pt x="736" y="346"/>
                    </a:lnTo>
                    <a:lnTo>
                      <a:pt x="740" y="350"/>
                    </a:lnTo>
                    <a:lnTo>
                      <a:pt x="745" y="353"/>
                    </a:lnTo>
                    <a:lnTo>
                      <a:pt x="745" y="354"/>
                    </a:lnTo>
                    <a:lnTo>
                      <a:pt x="746" y="354"/>
                    </a:lnTo>
                    <a:lnTo>
                      <a:pt x="751" y="362"/>
                    </a:lnTo>
                    <a:lnTo>
                      <a:pt x="752" y="370"/>
                    </a:lnTo>
                    <a:lnTo>
                      <a:pt x="754" y="374"/>
                    </a:lnTo>
                    <a:lnTo>
                      <a:pt x="754" y="379"/>
                    </a:lnTo>
                    <a:lnTo>
                      <a:pt x="752" y="382"/>
                    </a:lnTo>
                    <a:lnTo>
                      <a:pt x="750" y="384"/>
                    </a:lnTo>
                    <a:lnTo>
                      <a:pt x="748" y="385"/>
                    </a:lnTo>
                    <a:lnTo>
                      <a:pt x="744" y="385"/>
                    </a:lnTo>
                    <a:lnTo>
                      <a:pt x="726" y="383"/>
                    </a:lnTo>
                    <a:lnTo>
                      <a:pt x="709" y="378"/>
                    </a:lnTo>
                    <a:lnTo>
                      <a:pt x="702" y="377"/>
                    </a:lnTo>
                    <a:lnTo>
                      <a:pt x="696" y="377"/>
                    </a:lnTo>
                    <a:lnTo>
                      <a:pt x="690" y="377"/>
                    </a:lnTo>
                    <a:lnTo>
                      <a:pt x="684" y="378"/>
                    </a:lnTo>
                    <a:lnTo>
                      <a:pt x="674" y="383"/>
                    </a:lnTo>
                    <a:lnTo>
                      <a:pt x="666" y="388"/>
                    </a:lnTo>
                    <a:lnTo>
                      <a:pt x="657" y="394"/>
                    </a:lnTo>
                    <a:lnTo>
                      <a:pt x="649" y="400"/>
                    </a:lnTo>
                    <a:lnTo>
                      <a:pt x="638" y="406"/>
                    </a:lnTo>
                    <a:lnTo>
                      <a:pt x="627" y="408"/>
                    </a:lnTo>
                    <a:lnTo>
                      <a:pt x="600" y="414"/>
                    </a:lnTo>
                    <a:lnTo>
                      <a:pt x="578" y="421"/>
                    </a:lnTo>
                    <a:lnTo>
                      <a:pt x="571" y="425"/>
                    </a:lnTo>
                    <a:lnTo>
                      <a:pt x="563" y="429"/>
                    </a:lnTo>
                    <a:lnTo>
                      <a:pt x="557" y="433"/>
                    </a:lnTo>
                    <a:lnTo>
                      <a:pt x="551" y="438"/>
                    </a:lnTo>
                    <a:lnTo>
                      <a:pt x="548" y="444"/>
                    </a:lnTo>
                    <a:lnTo>
                      <a:pt x="544" y="450"/>
                    </a:lnTo>
                    <a:lnTo>
                      <a:pt x="541" y="458"/>
                    </a:lnTo>
                    <a:lnTo>
                      <a:pt x="537" y="465"/>
                    </a:lnTo>
                    <a:lnTo>
                      <a:pt x="531" y="484"/>
                    </a:lnTo>
                    <a:lnTo>
                      <a:pt x="523" y="507"/>
                    </a:lnTo>
                    <a:lnTo>
                      <a:pt x="523" y="509"/>
                    </a:lnTo>
                    <a:lnTo>
                      <a:pt x="521" y="509"/>
                    </a:lnTo>
                    <a:lnTo>
                      <a:pt x="520" y="509"/>
                    </a:lnTo>
                    <a:lnTo>
                      <a:pt x="518" y="509"/>
                    </a:lnTo>
                    <a:lnTo>
                      <a:pt x="514" y="507"/>
                    </a:lnTo>
                    <a:lnTo>
                      <a:pt x="508" y="503"/>
                    </a:lnTo>
                    <a:lnTo>
                      <a:pt x="495" y="491"/>
                    </a:lnTo>
                    <a:lnTo>
                      <a:pt x="480" y="476"/>
                    </a:lnTo>
                    <a:lnTo>
                      <a:pt x="464" y="460"/>
                    </a:lnTo>
                    <a:lnTo>
                      <a:pt x="449" y="444"/>
                    </a:lnTo>
                    <a:lnTo>
                      <a:pt x="442" y="438"/>
                    </a:lnTo>
                    <a:lnTo>
                      <a:pt x="435" y="432"/>
                    </a:lnTo>
                    <a:lnTo>
                      <a:pt x="429" y="429"/>
                    </a:lnTo>
                    <a:lnTo>
                      <a:pt x="424" y="426"/>
                    </a:lnTo>
                    <a:lnTo>
                      <a:pt x="411" y="425"/>
                    </a:lnTo>
                    <a:lnTo>
                      <a:pt x="397" y="424"/>
                    </a:lnTo>
                    <a:lnTo>
                      <a:pt x="384" y="423"/>
                    </a:lnTo>
                    <a:lnTo>
                      <a:pt x="370" y="424"/>
                    </a:lnTo>
                    <a:lnTo>
                      <a:pt x="355" y="424"/>
                    </a:lnTo>
                    <a:lnTo>
                      <a:pt x="342" y="423"/>
                    </a:lnTo>
                    <a:lnTo>
                      <a:pt x="329" y="421"/>
                    </a:lnTo>
                    <a:lnTo>
                      <a:pt x="316" y="419"/>
                    </a:lnTo>
                    <a:lnTo>
                      <a:pt x="305" y="417"/>
                    </a:lnTo>
                    <a:lnTo>
                      <a:pt x="295" y="412"/>
                    </a:lnTo>
                    <a:lnTo>
                      <a:pt x="285" y="407"/>
                    </a:lnTo>
                    <a:lnTo>
                      <a:pt x="277" y="402"/>
                    </a:lnTo>
                    <a:lnTo>
                      <a:pt x="261" y="390"/>
                    </a:lnTo>
                    <a:lnTo>
                      <a:pt x="245" y="378"/>
                    </a:lnTo>
                    <a:lnTo>
                      <a:pt x="229" y="365"/>
                    </a:lnTo>
                    <a:lnTo>
                      <a:pt x="212" y="353"/>
                    </a:lnTo>
                    <a:lnTo>
                      <a:pt x="204" y="347"/>
                    </a:lnTo>
                    <a:lnTo>
                      <a:pt x="195" y="342"/>
                    </a:lnTo>
                    <a:lnTo>
                      <a:pt x="186" y="338"/>
                    </a:lnTo>
                    <a:lnTo>
                      <a:pt x="175" y="335"/>
                    </a:lnTo>
                    <a:lnTo>
                      <a:pt x="153" y="328"/>
                    </a:lnTo>
                    <a:lnTo>
                      <a:pt x="136" y="320"/>
                    </a:lnTo>
                    <a:lnTo>
                      <a:pt x="123" y="313"/>
                    </a:lnTo>
                    <a:lnTo>
                      <a:pt x="111" y="305"/>
                    </a:lnTo>
                    <a:lnTo>
                      <a:pt x="89" y="284"/>
                    </a:lnTo>
                    <a:lnTo>
                      <a:pt x="59" y="259"/>
                    </a:lnTo>
                    <a:lnTo>
                      <a:pt x="29" y="2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2"/>
              <p:cNvSpPr>
                <a:spLocks/>
              </p:cNvSpPr>
              <p:nvPr/>
            </p:nvSpPr>
            <p:spPr bwMode="auto">
              <a:xfrm>
                <a:off x="1144588" y="1811338"/>
                <a:ext cx="6553200" cy="6637338"/>
              </a:xfrm>
              <a:custGeom>
                <a:avLst/>
                <a:gdLst>
                  <a:gd name="T0" fmla="*/ 15163 w 16512"/>
                  <a:gd name="T1" fmla="*/ 15299 h 16724"/>
                  <a:gd name="T2" fmla="*/ 15106 w 16512"/>
                  <a:gd name="T3" fmla="*/ 14971 h 16724"/>
                  <a:gd name="T4" fmla="*/ 14950 w 16512"/>
                  <a:gd name="T5" fmla="*/ 14645 h 16724"/>
                  <a:gd name="T6" fmla="*/ 14862 w 16512"/>
                  <a:gd name="T7" fmla="*/ 14181 h 16724"/>
                  <a:gd name="T8" fmla="*/ 14343 w 16512"/>
                  <a:gd name="T9" fmla="*/ 13598 h 16724"/>
                  <a:gd name="T10" fmla="*/ 14331 w 16512"/>
                  <a:gd name="T11" fmla="*/ 13276 h 16724"/>
                  <a:gd name="T12" fmla="*/ 13745 w 16512"/>
                  <a:gd name="T13" fmla="*/ 12639 h 16724"/>
                  <a:gd name="T14" fmla="*/ 13632 w 16512"/>
                  <a:gd name="T15" fmla="*/ 13063 h 16724"/>
                  <a:gd name="T16" fmla="*/ 13288 w 16512"/>
                  <a:gd name="T17" fmla="*/ 12830 h 16724"/>
                  <a:gd name="T18" fmla="*/ 12293 w 16512"/>
                  <a:gd name="T19" fmla="*/ 12374 h 16724"/>
                  <a:gd name="T20" fmla="*/ 12012 w 16512"/>
                  <a:gd name="T21" fmla="*/ 11812 h 16724"/>
                  <a:gd name="T22" fmla="*/ 11078 w 16512"/>
                  <a:gd name="T23" fmla="*/ 11670 h 16724"/>
                  <a:gd name="T24" fmla="*/ 9779 w 16512"/>
                  <a:gd name="T25" fmla="*/ 11056 h 16724"/>
                  <a:gd name="T26" fmla="*/ 9013 w 16512"/>
                  <a:gd name="T27" fmla="*/ 11013 h 16724"/>
                  <a:gd name="T28" fmla="*/ 8616 w 16512"/>
                  <a:gd name="T29" fmla="*/ 10913 h 16724"/>
                  <a:gd name="T30" fmla="*/ 8293 w 16512"/>
                  <a:gd name="T31" fmla="*/ 11126 h 16724"/>
                  <a:gd name="T32" fmla="*/ 7907 w 16512"/>
                  <a:gd name="T33" fmla="*/ 11618 h 16724"/>
                  <a:gd name="T34" fmla="*/ 7231 w 16512"/>
                  <a:gd name="T35" fmla="*/ 12240 h 16724"/>
                  <a:gd name="T36" fmla="*/ 7054 w 16512"/>
                  <a:gd name="T37" fmla="*/ 11848 h 16724"/>
                  <a:gd name="T38" fmla="*/ 7883 w 16512"/>
                  <a:gd name="T39" fmla="*/ 10878 h 16724"/>
                  <a:gd name="T40" fmla="*/ 6720 w 16512"/>
                  <a:gd name="T41" fmla="*/ 11073 h 16724"/>
                  <a:gd name="T42" fmla="*/ 6097 w 16512"/>
                  <a:gd name="T43" fmla="*/ 11850 h 16724"/>
                  <a:gd name="T44" fmla="*/ 6024 w 16512"/>
                  <a:gd name="T45" fmla="*/ 12791 h 16724"/>
                  <a:gd name="T46" fmla="*/ 5267 w 16512"/>
                  <a:gd name="T47" fmla="*/ 13487 h 16724"/>
                  <a:gd name="T48" fmla="*/ 4563 w 16512"/>
                  <a:gd name="T49" fmla="*/ 14202 h 16724"/>
                  <a:gd name="T50" fmla="*/ 4015 w 16512"/>
                  <a:gd name="T51" fmla="*/ 14787 h 16724"/>
                  <a:gd name="T52" fmla="*/ 3171 w 16512"/>
                  <a:gd name="T53" fmla="*/ 15187 h 16724"/>
                  <a:gd name="T54" fmla="*/ 2447 w 16512"/>
                  <a:gd name="T55" fmla="*/ 15503 h 16724"/>
                  <a:gd name="T56" fmla="*/ 1768 w 16512"/>
                  <a:gd name="T57" fmla="*/ 15816 h 16724"/>
                  <a:gd name="T58" fmla="*/ 2328 w 16512"/>
                  <a:gd name="T59" fmla="*/ 15255 h 16724"/>
                  <a:gd name="T60" fmla="*/ 3889 w 16512"/>
                  <a:gd name="T61" fmla="*/ 14223 h 16724"/>
                  <a:gd name="T62" fmla="*/ 4600 w 16512"/>
                  <a:gd name="T63" fmla="*/ 12695 h 16724"/>
                  <a:gd name="T64" fmla="*/ 3865 w 16512"/>
                  <a:gd name="T65" fmla="*/ 12808 h 16724"/>
                  <a:gd name="T66" fmla="*/ 2845 w 16512"/>
                  <a:gd name="T67" fmla="*/ 12664 h 16724"/>
                  <a:gd name="T68" fmla="*/ 2574 w 16512"/>
                  <a:gd name="T69" fmla="*/ 11063 h 16724"/>
                  <a:gd name="T70" fmla="*/ 1261 w 16512"/>
                  <a:gd name="T71" fmla="*/ 11328 h 16724"/>
                  <a:gd name="T72" fmla="*/ 965 w 16512"/>
                  <a:gd name="T73" fmla="*/ 10370 h 16724"/>
                  <a:gd name="T74" fmla="*/ 1376 w 16512"/>
                  <a:gd name="T75" fmla="*/ 9217 h 16724"/>
                  <a:gd name="T76" fmla="*/ 2526 w 16512"/>
                  <a:gd name="T77" fmla="*/ 8640 h 16724"/>
                  <a:gd name="T78" fmla="*/ 2559 w 16512"/>
                  <a:gd name="T79" fmla="*/ 7431 h 16724"/>
                  <a:gd name="T80" fmla="*/ 968 w 16512"/>
                  <a:gd name="T81" fmla="*/ 7588 h 16724"/>
                  <a:gd name="T82" fmla="*/ 597 w 16512"/>
                  <a:gd name="T83" fmla="*/ 6046 h 16724"/>
                  <a:gd name="T84" fmla="*/ 2405 w 16512"/>
                  <a:gd name="T85" fmla="*/ 6094 h 16724"/>
                  <a:gd name="T86" fmla="*/ 2684 w 16512"/>
                  <a:gd name="T87" fmla="*/ 5151 h 16724"/>
                  <a:gd name="T88" fmla="*/ 1442 w 16512"/>
                  <a:gd name="T89" fmla="*/ 4275 h 16724"/>
                  <a:gd name="T90" fmla="*/ 2154 w 16512"/>
                  <a:gd name="T91" fmla="*/ 1864 h 16724"/>
                  <a:gd name="T92" fmla="*/ 4804 w 16512"/>
                  <a:gd name="T93" fmla="*/ 41 h 16724"/>
                  <a:gd name="T94" fmla="*/ 5280 w 16512"/>
                  <a:gd name="T95" fmla="*/ 620 h 16724"/>
                  <a:gd name="T96" fmla="*/ 6061 w 16512"/>
                  <a:gd name="T97" fmla="*/ 577 h 16724"/>
                  <a:gd name="T98" fmla="*/ 6734 w 16512"/>
                  <a:gd name="T99" fmla="*/ 1148 h 16724"/>
                  <a:gd name="T100" fmla="*/ 8142 w 16512"/>
                  <a:gd name="T101" fmla="*/ 1224 h 16724"/>
                  <a:gd name="T102" fmla="*/ 9965 w 16512"/>
                  <a:gd name="T103" fmla="*/ 1648 h 16724"/>
                  <a:gd name="T104" fmla="*/ 11822 w 16512"/>
                  <a:gd name="T105" fmla="*/ 2188 h 16724"/>
                  <a:gd name="T106" fmla="*/ 13707 w 16512"/>
                  <a:gd name="T107" fmla="*/ 3246 h 16724"/>
                  <a:gd name="T108" fmla="*/ 13523 w 16512"/>
                  <a:gd name="T109" fmla="*/ 2580 h 16724"/>
                  <a:gd name="T110" fmla="*/ 14182 w 16512"/>
                  <a:gd name="T111" fmla="*/ 2449 h 16724"/>
                  <a:gd name="T112" fmla="*/ 15003 w 16512"/>
                  <a:gd name="T113" fmla="*/ 2016 h 16724"/>
                  <a:gd name="T114" fmla="*/ 16081 w 16512"/>
                  <a:gd name="T115" fmla="*/ 1650 h 16724"/>
                  <a:gd name="T116" fmla="*/ 15263 w 16512"/>
                  <a:gd name="T117" fmla="*/ 2467 h 16724"/>
                  <a:gd name="T118" fmla="*/ 15936 w 16512"/>
                  <a:gd name="T119" fmla="*/ 1983 h 16724"/>
                  <a:gd name="T120" fmla="*/ 16392 w 16512"/>
                  <a:gd name="T121" fmla="*/ 16564 h 16724"/>
                  <a:gd name="T122" fmla="*/ 15797 w 16512"/>
                  <a:gd name="T123" fmla="*/ 16474 h 16724"/>
                  <a:gd name="T124" fmla="*/ 15684 w 16512"/>
                  <a:gd name="T125" fmla="*/ 15937 h 16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512" h="16724">
                    <a:moveTo>
                      <a:pt x="15481" y="15615"/>
                    </a:moveTo>
                    <a:lnTo>
                      <a:pt x="15482" y="15600"/>
                    </a:lnTo>
                    <a:lnTo>
                      <a:pt x="15484" y="15587"/>
                    </a:lnTo>
                    <a:lnTo>
                      <a:pt x="15487" y="15574"/>
                    </a:lnTo>
                    <a:lnTo>
                      <a:pt x="15488" y="15559"/>
                    </a:lnTo>
                    <a:lnTo>
                      <a:pt x="15487" y="15558"/>
                    </a:lnTo>
                    <a:lnTo>
                      <a:pt x="15487" y="15556"/>
                    </a:lnTo>
                    <a:lnTo>
                      <a:pt x="15484" y="15556"/>
                    </a:lnTo>
                    <a:lnTo>
                      <a:pt x="15483" y="15554"/>
                    </a:lnTo>
                    <a:lnTo>
                      <a:pt x="15478" y="15554"/>
                    </a:lnTo>
                    <a:lnTo>
                      <a:pt x="15472" y="15556"/>
                    </a:lnTo>
                    <a:lnTo>
                      <a:pt x="15460" y="15559"/>
                    </a:lnTo>
                    <a:lnTo>
                      <a:pt x="15452" y="15560"/>
                    </a:lnTo>
                    <a:lnTo>
                      <a:pt x="15453" y="15550"/>
                    </a:lnTo>
                    <a:lnTo>
                      <a:pt x="15458" y="15539"/>
                    </a:lnTo>
                    <a:lnTo>
                      <a:pt x="15459" y="15534"/>
                    </a:lnTo>
                    <a:lnTo>
                      <a:pt x="15461" y="15529"/>
                    </a:lnTo>
                    <a:lnTo>
                      <a:pt x="15463" y="15523"/>
                    </a:lnTo>
                    <a:lnTo>
                      <a:pt x="15461" y="15520"/>
                    </a:lnTo>
                    <a:lnTo>
                      <a:pt x="15460" y="15513"/>
                    </a:lnTo>
                    <a:lnTo>
                      <a:pt x="15459" y="15506"/>
                    </a:lnTo>
                    <a:lnTo>
                      <a:pt x="15459" y="15504"/>
                    </a:lnTo>
                    <a:lnTo>
                      <a:pt x="15459" y="15500"/>
                    </a:lnTo>
                    <a:lnTo>
                      <a:pt x="15459" y="15498"/>
                    </a:lnTo>
                    <a:lnTo>
                      <a:pt x="15461" y="15495"/>
                    </a:lnTo>
                    <a:lnTo>
                      <a:pt x="15474" y="15489"/>
                    </a:lnTo>
                    <a:lnTo>
                      <a:pt x="15492" y="15483"/>
                    </a:lnTo>
                    <a:lnTo>
                      <a:pt x="15510" y="15479"/>
                    </a:lnTo>
                    <a:lnTo>
                      <a:pt x="15524" y="15476"/>
                    </a:lnTo>
                    <a:lnTo>
                      <a:pt x="15535" y="15476"/>
                    </a:lnTo>
                    <a:lnTo>
                      <a:pt x="15546" y="15476"/>
                    </a:lnTo>
                    <a:lnTo>
                      <a:pt x="15557" y="15476"/>
                    </a:lnTo>
                    <a:lnTo>
                      <a:pt x="15567" y="15475"/>
                    </a:lnTo>
                    <a:lnTo>
                      <a:pt x="15570" y="15475"/>
                    </a:lnTo>
                    <a:lnTo>
                      <a:pt x="15572" y="15474"/>
                    </a:lnTo>
                    <a:lnTo>
                      <a:pt x="15573" y="15471"/>
                    </a:lnTo>
                    <a:lnTo>
                      <a:pt x="15575" y="15469"/>
                    </a:lnTo>
                    <a:lnTo>
                      <a:pt x="15577" y="15463"/>
                    </a:lnTo>
                    <a:lnTo>
                      <a:pt x="15578" y="15455"/>
                    </a:lnTo>
                    <a:lnTo>
                      <a:pt x="15579" y="15438"/>
                    </a:lnTo>
                    <a:lnTo>
                      <a:pt x="15579" y="15426"/>
                    </a:lnTo>
                    <a:lnTo>
                      <a:pt x="15585" y="15409"/>
                    </a:lnTo>
                    <a:lnTo>
                      <a:pt x="15588" y="15391"/>
                    </a:lnTo>
                    <a:lnTo>
                      <a:pt x="15582" y="15396"/>
                    </a:lnTo>
                    <a:lnTo>
                      <a:pt x="15570" y="15405"/>
                    </a:lnTo>
                    <a:lnTo>
                      <a:pt x="15557" y="15416"/>
                    </a:lnTo>
                    <a:lnTo>
                      <a:pt x="15549" y="15422"/>
                    </a:lnTo>
                    <a:lnTo>
                      <a:pt x="15540" y="15432"/>
                    </a:lnTo>
                    <a:lnTo>
                      <a:pt x="15528" y="15440"/>
                    </a:lnTo>
                    <a:lnTo>
                      <a:pt x="15522" y="15444"/>
                    </a:lnTo>
                    <a:lnTo>
                      <a:pt x="15514" y="15445"/>
                    </a:lnTo>
                    <a:lnTo>
                      <a:pt x="15512" y="15445"/>
                    </a:lnTo>
                    <a:lnTo>
                      <a:pt x="15508" y="15445"/>
                    </a:lnTo>
                    <a:lnTo>
                      <a:pt x="15506" y="15444"/>
                    </a:lnTo>
                    <a:lnTo>
                      <a:pt x="15502" y="15441"/>
                    </a:lnTo>
                    <a:lnTo>
                      <a:pt x="15498" y="15439"/>
                    </a:lnTo>
                    <a:lnTo>
                      <a:pt x="15493" y="15436"/>
                    </a:lnTo>
                    <a:lnTo>
                      <a:pt x="15489" y="15435"/>
                    </a:lnTo>
                    <a:lnTo>
                      <a:pt x="15486" y="15435"/>
                    </a:lnTo>
                    <a:lnTo>
                      <a:pt x="15478" y="15438"/>
                    </a:lnTo>
                    <a:lnTo>
                      <a:pt x="15471" y="15441"/>
                    </a:lnTo>
                    <a:lnTo>
                      <a:pt x="15464" y="15446"/>
                    </a:lnTo>
                    <a:lnTo>
                      <a:pt x="15455" y="15449"/>
                    </a:lnTo>
                    <a:lnTo>
                      <a:pt x="15452" y="15449"/>
                    </a:lnTo>
                    <a:lnTo>
                      <a:pt x="15447" y="15449"/>
                    </a:lnTo>
                    <a:lnTo>
                      <a:pt x="15442" y="15446"/>
                    </a:lnTo>
                    <a:lnTo>
                      <a:pt x="15436" y="15444"/>
                    </a:lnTo>
                    <a:lnTo>
                      <a:pt x="15433" y="15440"/>
                    </a:lnTo>
                    <a:lnTo>
                      <a:pt x="15429" y="15435"/>
                    </a:lnTo>
                    <a:lnTo>
                      <a:pt x="15428" y="15429"/>
                    </a:lnTo>
                    <a:lnTo>
                      <a:pt x="15427" y="15422"/>
                    </a:lnTo>
                    <a:lnTo>
                      <a:pt x="15428" y="15409"/>
                    </a:lnTo>
                    <a:lnTo>
                      <a:pt x="15430" y="15397"/>
                    </a:lnTo>
                    <a:lnTo>
                      <a:pt x="15437" y="15381"/>
                    </a:lnTo>
                    <a:lnTo>
                      <a:pt x="15443" y="15365"/>
                    </a:lnTo>
                    <a:lnTo>
                      <a:pt x="15429" y="15367"/>
                    </a:lnTo>
                    <a:lnTo>
                      <a:pt x="15416" y="15371"/>
                    </a:lnTo>
                    <a:lnTo>
                      <a:pt x="15409" y="15374"/>
                    </a:lnTo>
                    <a:lnTo>
                      <a:pt x="15403" y="15375"/>
                    </a:lnTo>
                    <a:lnTo>
                      <a:pt x="15394" y="15376"/>
                    </a:lnTo>
                    <a:lnTo>
                      <a:pt x="15387" y="15376"/>
                    </a:lnTo>
                    <a:lnTo>
                      <a:pt x="15375" y="15376"/>
                    </a:lnTo>
                    <a:lnTo>
                      <a:pt x="15360" y="15380"/>
                    </a:lnTo>
                    <a:lnTo>
                      <a:pt x="15347" y="15381"/>
                    </a:lnTo>
                    <a:lnTo>
                      <a:pt x="15335" y="15384"/>
                    </a:lnTo>
                    <a:lnTo>
                      <a:pt x="15332" y="15384"/>
                    </a:lnTo>
                    <a:lnTo>
                      <a:pt x="15329" y="15381"/>
                    </a:lnTo>
                    <a:lnTo>
                      <a:pt x="15328" y="15380"/>
                    </a:lnTo>
                    <a:lnTo>
                      <a:pt x="15325" y="15376"/>
                    </a:lnTo>
                    <a:lnTo>
                      <a:pt x="15323" y="15368"/>
                    </a:lnTo>
                    <a:lnTo>
                      <a:pt x="15322" y="15358"/>
                    </a:lnTo>
                    <a:lnTo>
                      <a:pt x="15319" y="15349"/>
                    </a:lnTo>
                    <a:lnTo>
                      <a:pt x="15317" y="15339"/>
                    </a:lnTo>
                    <a:lnTo>
                      <a:pt x="15315" y="15329"/>
                    </a:lnTo>
                    <a:lnTo>
                      <a:pt x="15310" y="15323"/>
                    </a:lnTo>
                    <a:lnTo>
                      <a:pt x="15301" y="15319"/>
                    </a:lnTo>
                    <a:lnTo>
                      <a:pt x="15288" y="15314"/>
                    </a:lnTo>
                    <a:lnTo>
                      <a:pt x="15281" y="15310"/>
                    </a:lnTo>
                    <a:lnTo>
                      <a:pt x="15275" y="15308"/>
                    </a:lnTo>
                    <a:lnTo>
                      <a:pt x="15271" y="15304"/>
                    </a:lnTo>
                    <a:lnTo>
                      <a:pt x="15269" y="15302"/>
                    </a:lnTo>
                    <a:lnTo>
                      <a:pt x="15280" y="15290"/>
                    </a:lnTo>
                    <a:lnTo>
                      <a:pt x="15298" y="15275"/>
                    </a:lnTo>
                    <a:lnTo>
                      <a:pt x="15303" y="15273"/>
                    </a:lnTo>
                    <a:lnTo>
                      <a:pt x="15307" y="15269"/>
                    </a:lnTo>
                    <a:lnTo>
                      <a:pt x="15311" y="15267"/>
                    </a:lnTo>
                    <a:lnTo>
                      <a:pt x="15315" y="15263"/>
                    </a:lnTo>
                    <a:lnTo>
                      <a:pt x="15319" y="15255"/>
                    </a:lnTo>
                    <a:lnTo>
                      <a:pt x="15323" y="15244"/>
                    </a:lnTo>
                    <a:lnTo>
                      <a:pt x="15324" y="15234"/>
                    </a:lnTo>
                    <a:lnTo>
                      <a:pt x="15324" y="15222"/>
                    </a:lnTo>
                    <a:lnTo>
                      <a:pt x="15322" y="15210"/>
                    </a:lnTo>
                    <a:lnTo>
                      <a:pt x="15319" y="15196"/>
                    </a:lnTo>
                    <a:lnTo>
                      <a:pt x="15313" y="15168"/>
                    </a:lnTo>
                    <a:lnTo>
                      <a:pt x="15310" y="15145"/>
                    </a:lnTo>
                    <a:lnTo>
                      <a:pt x="15309" y="15128"/>
                    </a:lnTo>
                    <a:lnTo>
                      <a:pt x="15304" y="15112"/>
                    </a:lnTo>
                    <a:lnTo>
                      <a:pt x="15300" y="15095"/>
                    </a:lnTo>
                    <a:lnTo>
                      <a:pt x="15299" y="15079"/>
                    </a:lnTo>
                    <a:lnTo>
                      <a:pt x="15295" y="15081"/>
                    </a:lnTo>
                    <a:lnTo>
                      <a:pt x="15293" y="15086"/>
                    </a:lnTo>
                    <a:lnTo>
                      <a:pt x="15292" y="15092"/>
                    </a:lnTo>
                    <a:lnTo>
                      <a:pt x="15291" y="15101"/>
                    </a:lnTo>
                    <a:lnTo>
                      <a:pt x="15291" y="15122"/>
                    </a:lnTo>
                    <a:lnTo>
                      <a:pt x="15291" y="15146"/>
                    </a:lnTo>
                    <a:lnTo>
                      <a:pt x="15292" y="15172"/>
                    </a:lnTo>
                    <a:lnTo>
                      <a:pt x="15292" y="15195"/>
                    </a:lnTo>
                    <a:lnTo>
                      <a:pt x="15292" y="15205"/>
                    </a:lnTo>
                    <a:lnTo>
                      <a:pt x="15291" y="15214"/>
                    </a:lnTo>
                    <a:lnTo>
                      <a:pt x="15289" y="15222"/>
                    </a:lnTo>
                    <a:lnTo>
                      <a:pt x="15288" y="15227"/>
                    </a:lnTo>
                    <a:lnTo>
                      <a:pt x="15283" y="15235"/>
                    </a:lnTo>
                    <a:lnTo>
                      <a:pt x="15277" y="15248"/>
                    </a:lnTo>
                    <a:lnTo>
                      <a:pt x="15273" y="15254"/>
                    </a:lnTo>
                    <a:lnTo>
                      <a:pt x="15269" y="15258"/>
                    </a:lnTo>
                    <a:lnTo>
                      <a:pt x="15265" y="15262"/>
                    </a:lnTo>
                    <a:lnTo>
                      <a:pt x="15263" y="15264"/>
                    </a:lnTo>
                    <a:lnTo>
                      <a:pt x="15260" y="15244"/>
                    </a:lnTo>
                    <a:lnTo>
                      <a:pt x="15257" y="15209"/>
                    </a:lnTo>
                    <a:lnTo>
                      <a:pt x="15254" y="15192"/>
                    </a:lnTo>
                    <a:lnTo>
                      <a:pt x="15252" y="15177"/>
                    </a:lnTo>
                    <a:lnTo>
                      <a:pt x="15250" y="15166"/>
                    </a:lnTo>
                    <a:lnTo>
                      <a:pt x="15247" y="15161"/>
                    </a:lnTo>
                    <a:lnTo>
                      <a:pt x="15244" y="15179"/>
                    </a:lnTo>
                    <a:lnTo>
                      <a:pt x="15240" y="15195"/>
                    </a:lnTo>
                    <a:lnTo>
                      <a:pt x="15238" y="15209"/>
                    </a:lnTo>
                    <a:lnTo>
                      <a:pt x="15236" y="15223"/>
                    </a:lnTo>
                    <a:lnTo>
                      <a:pt x="15236" y="15239"/>
                    </a:lnTo>
                    <a:lnTo>
                      <a:pt x="15236" y="15254"/>
                    </a:lnTo>
                    <a:lnTo>
                      <a:pt x="15238" y="15269"/>
                    </a:lnTo>
                    <a:lnTo>
                      <a:pt x="15240" y="15286"/>
                    </a:lnTo>
                    <a:lnTo>
                      <a:pt x="15240" y="15291"/>
                    </a:lnTo>
                    <a:lnTo>
                      <a:pt x="15239" y="15296"/>
                    </a:lnTo>
                    <a:lnTo>
                      <a:pt x="15236" y="15299"/>
                    </a:lnTo>
                    <a:lnTo>
                      <a:pt x="15233" y="15303"/>
                    </a:lnTo>
                    <a:lnTo>
                      <a:pt x="15228" y="15305"/>
                    </a:lnTo>
                    <a:lnTo>
                      <a:pt x="15222" y="15306"/>
                    </a:lnTo>
                    <a:lnTo>
                      <a:pt x="15216" y="15308"/>
                    </a:lnTo>
                    <a:lnTo>
                      <a:pt x="15210" y="15308"/>
                    </a:lnTo>
                    <a:lnTo>
                      <a:pt x="15196" y="15308"/>
                    </a:lnTo>
                    <a:lnTo>
                      <a:pt x="15182" y="15306"/>
                    </a:lnTo>
                    <a:lnTo>
                      <a:pt x="15170" y="15304"/>
                    </a:lnTo>
                    <a:lnTo>
                      <a:pt x="15163" y="15303"/>
                    </a:lnTo>
                    <a:lnTo>
                      <a:pt x="15163" y="15299"/>
                    </a:lnTo>
                    <a:lnTo>
                      <a:pt x="15158" y="15293"/>
                    </a:lnTo>
                    <a:lnTo>
                      <a:pt x="15152" y="15280"/>
                    </a:lnTo>
                    <a:lnTo>
                      <a:pt x="15145" y="15267"/>
                    </a:lnTo>
                    <a:lnTo>
                      <a:pt x="15140" y="15257"/>
                    </a:lnTo>
                    <a:lnTo>
                      <a:pt x="15133" y="15243"/>
                    </a:lnTo>
                    <a:lnTo>
                      <a:pt x="15123" y="15228"/>
                    </a:lnTo>
                    <a:lnTo>
                      <a:pt x="15114" y="15215"/>
                    </a:lnTo>
                    <a:lnTo>
                      <a:pt x="15103" y="15201"/>
                    </a:lnTo>
                    <a:lnTo>
                      <a:pt x="15105" y="15196"/>
                    </a:lnTo>
                    <a:lnTo>
                      <a:pt x="15109" y="15187"/>
                    </a:lnTo>
                    <a:lnTo>
                      <a:pt x="15110" y="15184"/>
                    </a:lnTo>
                    <a:lnTo>
                      <a:pt x="15110" y="15180"/>
                    </a:lnTo>
                    <a:lnTo>
                      <a:pt x="15110" y="15178"/>
                    </a:lnTo>
                    <a:lnTo>
                      <a:pt x="15109" y="15177"/>
                    </a:lnTo>
                    <a:lnTo>
                      <a:pt x="15109" y="15173"/>
                    </a:lnTo>
                    <a:lnTo>
                      <a:pt x="15111" y="15169"/>
                    </a:lnTo>
                    <a:lnTo>
                      <a:pt x="15111" y="15168"/>
                    </a:lnTo>
                    <a:lnTo>
                      <a:pt x="15118" y="15164"/>
                    </a:lnTo>
                    <a:lnTo>
                      <a:pt x="15126" y="15160"/>
                    </a:lnTo>
                    <a:lnTo>
                      <a:pt x="15129" y="15157"/>
                    </a:lnTo>
                    <a:lnTo>
                      <a:pt x="15134" y="15156"/>
                    </a:lnTo>
                    <a:lnTo>
                      <a:pt x="15139" y="15156"/>
                    </a:lnTo>
                    <a:lnTo>
                      <a:pt x="15145" y="15156"/>
                    </a:lnTo>
                    <a:lnTo>
                      <a:pt x="15149" y="15156"/>
                    </a:lnTo>
                    <a:lnTo>
                      <a:pt x="15153" y="15156"/>
                    </a:lnTo>
                    <a:lnTo>
                      <a:pt x="15157" y="15156"/>
                    </a:lnTo>
                    <a:lnTo>
                      <a:pt x="15161" y="15155"/>
                    </a:lnTo>
                    <a:lnTo>
                      <a:pt x="15163" y="15152"/>
                    </a:lnTo>
                    <a:lnTo>
                      <a:pt x="15165" y="15150"/>
                    </a:lnTo>
                    <a:lnTo>
                      <a:pt x="15167" y="15146"/>
                    </a:lnTo>
                    <a:lnTo>
                      <a:pt x="15167" y="15142"/>
                    </a:lnTo>
                    <a:lnTo>
                      <a:pt x="15167" y="15118"/>
                    </a:lnTo>
                    <a:lnTo>
                      <a:pt x="15165" y="15093"/>
                    </a:lnTo>
                    <a:lnTo>
                      <a:pt x="15164" y="15069"/>
                    </a:lnTo>
                    <a:lnTo>
                      <a:pt x="15164" y="15044"/>
                    </a:lnTo>
                    <a:lnTo>
                      <a:pt x="15163" y="15031"/>
                    </a:lnTo>
                    <a:lnTo>
                      <a:pt x="15161" y="15018"/>
                    </a:lnTo>
                    <a:lnTo>
                      <a:pt x="15158" y="15003"/>
                    </a:lnTo>
                    <a:lnTo>
                      <a:pt x="15157" y="14990"/>
                    </a:lnTo>
                    <a:lnTo>
                      <a:pt x="15158" y="14984"/>
                    </a:lnTo>
                    <a:lnTo>
                      <a:pt x="15162" y="14979"/>
                    </a:lnTo>
                    <a:lnTo>
                      <a:pt x="15165" y="14976"/>
                    </a:lnTo>
                    <a:lnTo>
                      <a:pt x="15171" y="14972"/>
                    </a:lnTo>
                    <a:lnTo>
                      <a:pt x="15183" y="14966"/>
                    </a:lnTo>
                    <a:lnTo>
                      <a:pt x="15194" y="14958"/>
                    </a:lnTo>
                    <a:lnTo>
                      <a:pt x="15198" y="14954"/>
                    </a:lnTo>
                    <a:lnTo>
                      <a:pt x="15200" y="14949"/>
                    </a:lnTo>
                    <a:lnTo>
                      <a:pt x="15203" y="14944"/>
                    </a:lnTo>
                    <a:lnTo>
                      <a:pt x="15203" y="14939"/>
                    </a:lnTo>
                    <a:lnTo>
                      <a:pt x="15203" y="14935"/>
                    </a:lnTo>
                    <a:lnTo>
                      <a:pt x="15202" y="14929"/>
                    </a:lnTo>
                    <a:lnTo>
                      <a:pt x="15200" y="14924"/>
                    </a:lnTo>
                    <a:lnTo>
                      <a:pt x="15198" y="14919"/>
                    </a:lnTo>
                    <a:lnTo>
                      <a:pt x="15196" y="14915"/>
                    </a:lnTo>
                    <a:lnTo>
                      <a:pt x="15193" y="14911"/>
                    </a:lnTo>
                    <a:lnTo>
                      <a:pt x="15189" y="14907"/>
                    </a:lnTo>
                    <a:lnTo>
                      <a:pt x="15185" y="14903"/>
                    </a:lnTo>
                    <a:lnTo>
                      <a:pt x="15180" y="14901"/>
                    </a:lnTo>
                    <a:lnTo>
                      <a:pt x="15176" y="14899"/>
                    </a:lnTo>
                    <a:lnTo>
                      <a:pt x="15171" y="14897"/>
                    </a:lnTo>
                    <a:lnTo>
                      <a:pt x="15165" y="14897"/>
                    </a:lnTo>
                    <a:lnTo>
                      <a:pt x="15168" y="14894"/>
                    </a:lnTo>
                    <a:lnTo>
                      <a:pt x="15171" y="14890"/>
                    </a:lnTo>
                    <a:lnTo>
                      <a:pt x="15176" y="14887"/>
                    </a:lnTo>
                    <a:lnTo>
                      <a:pt x="15182" y="14883"/>
                    </a:lnTo>
                    <a:lnTo>
                      <a:pt x="15194" y="14876"/>
                    </a:lnTo>
                    <a:lnTo>
                      <a:pt x="15203" y="14871"/>
                    </a:lnTo>
                    <a:lnTo>
                      <a:pt x="15215" y="14854"/>
                    </a:lnTo>
                    <a:lnTo>
                      <a:pt x="15227" y="14841"/>
                    </a:lnTo>
                    <a:lnTo>
                      <a:pt x="15227" y="14838"/>
                    </a:lnTo>
                    <a:lnTo>
                      <a:pt x="15250" y="14841"/>
                    </a:lnTo>
                    <a:lnTo>
                      <a:pt x="15275" y="14844"/>
                    </a:lnTo>
                    <a:lnTo>
                      <a:pt x="15287" y="14846"/>
                    </a:lnTo>
                    <a:lnTo>
                      <a:pt x="15299" y="14846"/>
                    </a:lnTo>
                    <a:lnTo>
                      <a:pt x="15310" y="14844"/>
                    </a:lnTo>
                    <a:lnTo>
                      <a:pt x="15319" y="14841"/>
                    </a:lnTo>
                    <a:lnTo>
                      <a:pt x="15327" y="14841"/>
                    </a:lnTo>
                    <a:lnTo>
                      <a:pt x="15333" y="14846"/>
                    </a:lnTo>
                    <a:lnTo>
                      <a:pt x="15339" y="14850"/>
                    </a:lnTo>
                    <a:lnTo>
                      <a:pt x="15348" y="14859"/>
                    </a:lnTo>
                    <a:lnTo>
                      <a:pt x="15357" y="14867"/>
                    </a:lnTo>
                    <a:lnTo>
                      <a:pt x="15366" y="14879"/>
                    </a:lnTo>
                    <a:lnTo>
                      <a:pt x="15376" y="14890"/>
                    </a:lnTo>
                    <a:lnTo>
                      <a:pt x="15386" y="14901"/>
                    </a:lnTo>
                    <a:lnTo>
                      <a:pt x="15396" y="14912"/>
                    </a:lnTo>
                    <a:lnTo>
                      <a:pt x="15404" y="14920"/>
                    </a:lnTo>
                    <a:lnTo>
                      <a:pt x="15410" y="14930"/>
                    </a:lnTo>
                    <a:lnTo>
                      <a:pt x="15415" y="14938"/>
                    </a:lnTo>
                    <a:lnTo>
                      <a:pt x="15418" y="14949"/>
                    </a:lnTo>
                    <a:lnTo>
                      <a:pt x="15423" y="14960"/>
                    </a:lnTo>
                    <a:lnTo>
                      <a:pt x="15429" y="14970"/>
                    </a:lnTo>
                    <a:lnTo>
                      <a:pt x="15436" y="14978"/>
                    </a:lnTo>
                    <a:lnTo>
                      <a:pt x="15443" y="14988"/>
                    </a:lnTo>
                    <a:lnTo>
                      <a:pt x="15447" y="14989"/>
                    </a:lnTo>
                    <a:lnTo>
                      <a:pt x="15448" y="14990"/>
                    </a:lnTo>
                    <a:lnTo>
                      <a:pt x="15451" y="14989"/>
                    </a:lnTo>
                    <a:lnTo>
                      <a:pt x="15453" y="14989"/>
                    </a:lnTo>
                    <a:lnTo>
                      <a:pt x="15452" y="14978"/>
                    </a:lnTo>
                    <a:lnTo>
                      <a:pt x="15448" y="14966"/>
                    </a:lnTo>
                    <a:lnTo>
                      <a:pt x="15443" y="14953"/>
                    </a:lnTo>
                    <a:lnTo>
                      <a:pt x="15439" y="14937"/>
                    </a:lnTo>
                    <a:lnTo>
                      <a:pt x="15433" y="14923"/>
                    </a:lnTo>
                    <a:lnTo>
                      <a:pt x="15427" y="14909"/>
                    </a:lnTo>
                    <a:lnTo>
                      <a:pt x="15421" y="14899"/>
                    </a:lnTo>
                    <a:lnTo>
                      <a:pt x="15416" y="14891"/>
                    </a:lnTo>
                    <a:lnTo>
                      <a:pt x="15400" y="14872"/>
                    </a:lnTo>
                    <a:lnTo>
                      <a:pt x="15382" y="14850"/>
                    </a:lnTo>
                    <a:lnTo>
                      <a:pt x="15374" y="14838"/>
                    </a:lnTo>
                    <a:lnTo>
                      <a:pt x="15366" y="14828"/>
                    </a:lnTo>
                    <a:lnTo>
                      <a:pt x="15360" y="14818"/>
                    </a:lnTo>
                    <a:lnTo>
                      <a:pt x="15356" y="14809"/>
                    </a:lnTo>
                    <a:lnTo>
                      <a:pt x="15338" y="14811"/>
                    </a:lnTo>
                    <a:lnTo>
                      <a:pt x="15316" y="14812"/>
                    </a:lnTo>
                    <a:lnTo>
                      <a:pt x="15306" y="14812"/>
                    </a:lnTo>
                    <a:lnTo>
                      <a:pt x="15297" y="14809"/>
                    </a:lnTo>
                    <a:lnTo>
                      <a:pt x="15293" y="14807"/>
                    </a:lnTo>
                    <a:lnTo>
                      <a:pt x="15289" y="14805"/>
                    </a:lnTo>
                    <a:lnTo>
                      <a:pt x="15286" y="14802"/>
                    </a:lnTo>
                    <a:lnTo>
                      <a:pt x="15282" y="14799"/>
                    </a:lnTo>
                    <a:lnTo>
                      <a:pt x="15281" y="14796"/>
                    </a:lnTo>
                    <a:lnTo>
                      <a:pt x="15279" y="14796"/>
                    </a:lnTo>
                    <a:lnTo>
                      <a:pt x="15275" y="14795"/>
                    </a:lnTo>
                    <a:lnTo>
                      <a:pt x="15273" y="14796"/>
                    </a:lnTo>
                    <a:lnTo>
                      <a:pt x="15264" y="14799"/>
                    </a:lnTo>
                    <a:lnTo>
                      <a:pt x="15254" y="14803"/>
                    </a:lnTo>
                    <a:lnTo>
                      <a:pt x="15245" y="14808"/>
                    </a:lnTo>
                    <a:lnTo>
                      <a:pt x="15235" y="14813"/>
                    </a:lnTo>
                    <a:lnTo>
                      <a:pt x="15227" y="14817"/>
                    </a:lnTo>
                    <a:lnTo>
                      <a:pt x="15220" y="14818"/>
                    </a:lnTo>
                    <a:lnTo>
                      <a:pt x="15216" y="14824"/>
                    </a:lnTo>
                    <a:lnTo>
                      <a:pt x="15208" y="14831"/>
                    </a:lnTo>
                    <a:lnTo>
                      <a:pt x="15196" y="14840"/>
                    </a:lnTo>
                    <a:lnTo>
                      <a:pt x="15182" y="14848"/>
                    </a:lnTo>
                    <a:lnTo>
                      <a:pt x="15156" y="14866"/>
                    </a:lnTo>
                    <a:lnTo>
                      <a:pt x="15138" y="14879"/>
                    </a:lnTo>
                    <a:lnTo>
                      <a:pt x="15133" y="14883"/>
                    </a:lnTo>
                    <a:lnTo>
                      <a:pt x="15128" y="14883"/>
                    </a:lnTo>
                    <a:lnTo>
                      <a:pt x="15126" y="14882"/>
                    </a:lnTo>
                    <a:lnTo>
                      <a:pt x="15123" y="14878"/>
                    </a:lnTo>
                    <a:lnTo>
                      <a:pt x="15120" y="14874"/>
                    </a:lnTo>
                    <a:lnTo>
                      <a:pt x="15117" y="14871"/>
                    </a:lnTo>
                    <a:lnTo>
                      <a:pt x="15115" y="14868"/>
                    </a:lnTo>
                    <a:lnTo>
                      <a:pt x="15111" y="14867"/>
                    </a:lnTo>
                    <a:lnTo>
                      <a:pt x="15109" y="14872"/>
                    </a:lnTo>
                    <a:lnTo>
                      <a:pt x="15106" y="14877"/>
                    </a:lnTo>
                    <a:lnTo>
                      <a:pt x="15103" y="14882"/>
                    </a:lnTo>
                    <a:lnTo>
                      <a:pt x="15099" y="14885"/>
                    </a:lnTo>
                    <a:lnTo>
                      <a:pt x="15090" y="14895"/>
                    </a:lnTo>
                    <a:lnTo>
                      <a:pt x="15082" y="14903"/>
                    </a:lnTo>
                    <a:lnTo>
                      <a:pt x="15079" y="14908"/>
                    </a:lnTo>
                    <a:lnTo>
                      <a:pt x="15078" y="14912"/>
                    </a:lnTo>
                    <a:lnTo>
                      <a:pt x="15076" y="14917"/>
                    </a:lnTo>
                    <a:lnTo>
                      <a:pt x="15076" y="14921"/>
                    </a:lnTo>
                    <a:lnTo>
                      <a:pt x="15079" y="14925"/>
                    </a:lnTo>
                    <a:lnTo>
                      <a:pt x="15084" y="14930"/>
                    </a:lnTo>
                    <a:lnTo>
                      <a:pt x="15090" y="14935"/>
                    </a:lnTo>
                    <a:lnTo>
                      <a:pt x="15098" y="14938"/>
                    </a:lnTo>
                    <a:lnTo>
                      <a:pt x="15103" y="14942"/>
                    </a:lnTo>
                    <a:lnTo>
                      <a:pt x="15106" y="14945"/>
                    </a:lnTo>
                    <a:lnTo>
                      <a:pt x="15109" y="14949"/>
                    </a:lnTo>
                    <a:lnTo>
                      <a:pt x="15110" y="14954"/>
                    </a:lnTo>
                    <a:lnTo>
                      <a:pt x="15109" y="14959"/>
                    </a:lnTo>
                    <a:lnTo>
                      <a:pt x="15109" y="14965"/>
                    </a:lnTo>
                    <a:lnTo>
                      <a:pt x="15106" y="14971"/>
                    </a:lnTo>
                    <a:lnTo>
                      <a:pt x="15104" y="14976"/>
                    </a:lnTo>
                    <a:lnTo>
                      <a:pt x="15091" y="14998"/>
                    </a:lnTo>
                    <a:lnTo>
                      <a:pt x="15080" y="15015"/>
                    </a:lnTo>
                    <a:lnTo>
                      <a:pt x="15078" y="15020"/>
                    </a:lnTo>
                    <a:lnTo>
                      <a:pt x="15078" y="15026"/>
                    </a:lnTo>
                    <a:lnTo>
                      <a:pt x="15078" y="15032"/>
                    </a:lnTo>
                    <a:lnTo>
                      <a:pt x="15080" y="15039"/>
                    </a:lnTo>
                    <a:lnTo>
                      <a:pt x="15084" y="15053"/>
                    </a:lnTo>
                    <a:lnTo>
                      <a:pt x="15085" y="15065"/>
                    </a:lnTo>
                    <a:lnTo>
                      <a:pt x="15085" y="15068"/>
                    </a:lnTo>
                    <a:lnTo>
                      <a:pt x="15084" y="15071"/>
                    </a:lnTo>
                    <a:lnTo>
                      <a:pt x="15081" y="15074"/>
                    </a:lnTo>
                    <a:lnTo>
                      <a:pt x="15078" y="15075"/>
                    </a:lnTo>
                    <a:lnTo>
                      <a:pt x="15070" y="15079"/>
                    </a:lnTo>
                    <a:lnTo>
                      <a:pt x="15061" y="15081"/>
                    </a:lnTo>
                    <a:lnTo>
                      <a:pt x="15041" y="15084"/>
                    </a:lnTo>
                    <a:lnTo>
                      <a:pt x="15026" y="15084"/>
                    </a:lnTo>
                    <a:lnTo>
                      <a:pt x="15023" y="15095"/>
                    </a:lnTo>
                    <a:lnTo>
                      <a:pt x="15022" y="15107"/>
                    </a:lnTo>
                    <a:lnTo>
                      <a:pt x="15023" y="15118"/>
                    </a:lnTo>
                    <a:lnTo>
                      <a:pt x="15025" y="15127"/>
                    </a:lnTo>
                    <a:lnTo>
                      <a:pt x="15029" y="15149"/>
                    </a:lnTo>
                    <a:lnTo>
                      <a:pt x="15031" y="15171"/>
                    </a:lnTo>
                    <a:lnTo>
                      <a:pt x="15028" y="15171"/>
                    </a:lnTo>
                    <a:lnTo>
                      <a:pt x="15023" y="15167"/>
                    </a:lnTo>
                    <a:lnTo>
                      <a:pt x="15019" y="15162"/>
                    </a:lnTo>
                    <a:lnTo>
                      <a:pt x="15013" y="15156"/>
                    </a:lnTo>
                    <a:lnTo>
                      <a:pt x="14999" y="15142"/>
                    </a:lnTo>
                    <a:lnTo>
                      <a:pt x="14986" y="15124"/>
                    </a:lnTo>
                    <a:lnTo>
                      <a:pt x="14972" y="15104"/>
                    </a:lnTo>
                    <a:lnTo>
                      <a:pt x="14960" y="15086"/>
                    </a:lnTo>
                    <a:lnTo>
                      <a:pt x="14950" y="15072"/>
                    </a:lnTo>
                    <a:lnTo>
                      <a:pt x="14945" y="15061"/>
                    </a:lnTo>
                    <a:lnTo>
                      <a:pt x="14948" y="15056"/>
                    </a:lnTo>
                    <a:lnTo>
                      <a:pt x="14949" y="15053"/>
                    </a:lnTo>
                    <a:lnTo>
                      <a:pt x="14949" y="15048"/>
                    </a:lnTo>
                    <a:lnTo>
                      <a:pt x="14949" y="15044"/>
                    </a:lnTo>
                    <a:lnTo>
                      <a:pt x="14946" y="15037"/>
                    </a:lnTo>
                    <a:lnTo>
                      <a:pt x="14943" y="15031"/>
                    </a:lnTo>
                    <a:lnTo>
                      <a:pt x="14942" y="15027"/>
                    </a:lnTo>
                    <a:lnTo>
                      <a:pt x="14942" y="15024"/>
                    </a:lnTo>
                    <a:lnTo>
                      <a:pt x="14942" y="15020"/>
                    </a:lnTo>
                    <a:lnTo>
                      <a:pt x="14943" y="15018"/>
                    </a:lnTo>
                    <a:lnTo>
                      <a:pt x="14946" y="15014"/>
                    </a:lnTo>
                    <a:lnTo>
                      <a:pt x="14950" y="15010"/>
                    </a:lnTo>
                    <a:lnTo>
                      <a:pt x="14956" y="15006"/>
                    </a:lnTo>
                    <a:lnTo>
                      <a:pt x="14964" y="15002"/>
                    </a:lnTo>
                    <a:lnTo>
                      <a:pt x="14967" y="15001"/>
                    </a:lnTo>
                    <a:lnTo>
                      <a:pt x="14968" y="14997"/>
                    </a:lnTo>
                    <a:lnTo>
                      <a:pt x="14968" y="14995"/>
                    </a:lnTo>
                    <a:lnTo>
                      <a:pt x="14967" y="14990"/>
                    </a:lnTo>
                    <a:lnTo>
                      <a:pt x="14966" y="14982"/>
                    </a:lnTo>
                    <a:lnTo>
                      <a:pt x="14963" y="14972"/>
                    </a:lnTo>
                    <a:lnTo>
                      <a:pt x="14962" y="14967"/>
                    </a:lnTo>
                    <a:lnTo>
                      <a:pt x="14962" y="14962"/>
                    </a:lnTo>
                    <a:lnTo>
                      <a:pt x="14963" y="14959"/>
                    </a:lnTo>
                    <a:lnTo>
                      <a:pt x="14966" y="14956"/>
                    </a:lnTo>
                    <a:lnTo>
                      <a:pt x="14969" y="14954"/>
                    </a:lnTo>
                    <a:lnTo>
                      <a:pt x="14974" y="14953"/>
                    </a:lnTo>
                    <a:lnTo>
                      <a:pt x="14980" y="14953"/>
                    </a:lnTo>
                    <a:lnTo>
                      <a:pt x="14989" y="14954"/>
                    </a:lnTo>
                    <a:lnTo>
                      <a:pt x="14993" y="14954"/>
                    </a:lnTo>
                    <a:lnTo>
                      <a:pt x="14997" y="14954"/>
                    </a:lnTo>
                    <a:lnTo>
                      <a:pt x="15001" y="14953"/>
                    </a:lnTo>
                    <a:lnTo>
                      <a:pt x="15002" y="14951"/>
                    </a:lnTo>
                    <a:lnTo>
                      <a:pt x="15004" y="14947"/>
                    </a:lnTo>
                    <a:lnTo>
                      <a:pt x="15004" y="14941"/>
                    </a:lnTo>
                    <a:lnTo>
                      <a:pt x="15002" y="14927"/>
                    </a:lnTo>
                    <a:lnTo>
                      <a:pt x="14999" y="14917"/>
                    </a:lnTo>
                    <a:lnTo>
                      <a:pt x="15001" y="14911"/>
                    </a:lnTo>
                    <a:lnTo>
                      <a:pt x="15003" y="14907"/>
                    </a:lnTo>
                    <a:lnTo>
                      <a:pt x="15007" y="14903"/>
                    </a:lnTo>
                    <a:lnTo>
                      <a:pt x="15010" y="14901"/>
                    </a:lnTo>
                    <a:lnTo>
                      <a:pt x="15014" y="14896"/>
                    </a:lnTo>
                    <a:lnTo>
                      <a:pt x="15017" y="14891"/>
                    </a:lnTo>
                    <a:lnTo>
                      <a:pt x="15020" y="14884"/>
                    </a:lnTo>
                    <a:lnTo>
                      <a:pt x="15021" y="14874"/>
                    </a:lnTo>
                    <a:lnTo>
                      <a:pt x="15019" y="14853"/>
                    </a:lnTo>
                    <a:lnTo>
                      <a:pt x="15019" y="14838"/>
                    </a:lnTo>
                    <a:lnTo>
                      <a:pt x="15020" y="14836"/>
                    </a:lnTo>
                    <a:lnTo>
                      <a:pt x="15022" y="14834"/>
                    </a:lnTo>
                    <a:lnTo>
                      <a:pt x="15025" y="14832"/>
                    </a:lnTo>
                    <a:lnTo>
                      <a:pt x="15028" y="14831"/>
                    </a:lnTo>
                    <a:lnTo>
                      <a:pt x="15038" y="14829"/>
                    </a:lnTo>
                    <a:lnTo>
                      <a:pt x="15053" y="14829"/>
                    </a:lnTo>
                    <a:lnTo>
                      <a:pt x="15052" y="14817"/>
                    </a:lnTo>
                    <a:lnTo>
                      <a:pt x="15049" y="14806"/>
                    </a:lnTo>
                    <a:lnTo>
                      <a:pt x="15045" y="14795"/>
                    </a:lnTo>
                    <a:lnTo>
                      <a:pt x="15043" y="14782"/>
                    </a:lnTo>
                    <a:lnTo>
                      <a:pt x="15038" y="14692"/>
                    </a:lnTo>
                    <a:lnTo>
                      <a:pt x="15037" y="14682"/>
                    </a:lnTo>
                    <a:lnTo>
                      <a:pt x="15038" y="14675"/>
                    </a:lnTo>
                    <a:lnTo>
                      <a:pt x="15039" y="14671"/>
                    </a:lnTo>
                    <a:lnTo>
                      <a:pt x="15041" y="14669"/>
                    </a:lnTo>
                    <a:lnTo>
                      <a:pt x="15050" y="14666"/>
                    </a:lnTo>
                    <a:lnTo>
                      <a:pt x="15066" y="14665"/>
                    </a:lnTo>
                    <a:lnTo>
                      <a:pt x="15087" y="14661"/>
                    </a:lnTo>
                    <a:lnTo>
                      <a:pt x="15112" y="14660"/>
                    </a:lnTo>
                    <a:lnTo>
                      <a:pt x="15138" y="14659"/>
                    </a:lnTo>
                    <a:lnTo>
                      <a:pt x="15161" y="14659"/>
                    </a:lnTo>
                    <a:lnTo>
                      <a:pt x="15170" y="14661"/>
                    </a:lnTo>
                    <a:lnTo>
                      <a:pt x="15182" y="14667"/>
                    </a:lnTo>
                    <a:lnTo>
                      <a:pt x="15193" y="14673"/>
                    </a:lnTo>
                    <a:lnTo>
                      <a:pt x="15204" y="14680"/>
                    </a:lnTo>
                    <a:lnTo>
                      <a:pt x="15209" y="14682"/>
                    </a:lnTo>
                    <a:lnTo>
                      <a:pt x="15212" y="14683"/>
                    </a:lnTo>
                    <a:lnTo>
                      <a:pt x="15216" y="14684"/>
                    </a:lnTo>
                    <a:lnTo>
                      <a:pt x="15220" y="14683"/>
                    </a:lnTo>
                    <a:lnTo>
                      <a:pt x="15221" y="14682"/>
                    </a:lnTo>
                    <a:lnTo>
                      <a:pt x="15222" y="14678"/>
                    </a:lnTo>
                    <a:lnTo>
                      <a:pt x="15222" y="14673"/>
                    </a:lnTo>
                    <a:lnTo>
                      <a:pt x="15220" y="14666"/>
                    </a:lnTo>
                    <a:lnTo>
                      <a:pt x="15217" y="14657"/>
                    </a:lnTo>
                    <a:lnTo>
                      <a:pt x="15214" y="14647"/>
                    </a:lnTo>
                    <a:lnTo>
                      <a:pt x="15211" y="14637"/>
                    </a:lnTo>
                    <a:lnTo>
                      <a:pt x="15210" y="14625"/>
                    </a:lnTo>
                    <a:lnTo>
                      <a:pt x="15173" y="14631"/>
                    </a:lnTo>
                    <a:lnTo>
                      <a:pt x="15126" y="14640"/>
                    </a:lnTo>
                    <a:lnTo>
                      <a:pt x="15115" y="14640"/>
                    </a:lnTo>
                    <a:lnTo>
                      <a:pt x="15104" y="14640"/>
                    </a:lnTo>
                    <a:lnTo>
                      <a:pt x="15094" y="14639"/>
                    </a:lnTo>
                    <a:lnTo>
                      <a:pt x="15085" y="14636"/>
                    </a:lnTo>
                    <a:lnTo>
                      <a:pt x="15081" y="14635"/>
                    </a:lnTo>
                    <a:lnTo>
                      <a:pt x="15079" y="14633"/>
                    </a:lnTo>
                    <a:lnTo>
                      <a:pt x="15075" y="14630"/>
                    </a:lnTo>
                    <a:lnTo>
                      <a:pt x="15073" y="14627"/>
                    </a:lnTo>
                    <a:lnTo>
                      <a:pt x="15070" y="14623"/>
                    </a:lnTo>
                    <a:lnTo>
                      <a:pt x="15069" y="14618"/>
                    </a:lnTo>
                    <a:lnTo>
                      <a:pt x="15069" y="14613"/>
                    </a:lnTo>
                    <a:lnTo>
                      <a:pt x="15068" y="14609"/>
                    </a:lnTo>
                    <a:lnTo>
                      <a:pt x="15067" y="14609"/>
                    </a:lnTo>
                    <a:lnTo>
                      <a:pt x="15063" y="14616"/>
                    </a:lnTo>
                    <a:lnTo>
                      <a:pt x="15060" y="14621"/>
                    </a:lnTo>
                    <a:lnTo>
                      <a:pt x="15056" y="14623"/>
                    </a:lnTo>
                    <a:lnTo>
                      <a:pt x="15052" y="14625"/>
                    </a:lnTo>
                    <a:lnTo>
                      <a:pt x="15049" y="14627"/>
                    </a:lnTo>
                    <a:lnTo>
                      <a:pt x="15046" y="14630"/>
                    </a:lnTo>
                    <a:lnTo>
                      <a:pt x="15045" y="14637"/>
                    </a:lnTo>
                    <a:lnTo>
                      <a:pt x="15044" y="14647"/>
                    </a:lnTo>
                    <a:lnTo>
                      <a:pt x="15044" y="14651"/>
                    </a:lnTo>
                    <a:lnTo>
                      <a:pt x="15043" y="14654"/>
                    </a:lnTo>
                    <a:lnTo>
                      <a:pt x="15041" y="14657"/>
                    </a:lnTo>
                    <a:lnTo>
                      <a:pt x="15039" y="14658"/>
                    </a:lnTo>
                    <a:lnTo>
                      <a:pt x="15034" y="14660"/>
                    </a:lnTo>
                    <a:lnTo>
                      <a:pt x="15028" y="14663"/>
                    </a:lnTo>
                    <a:lnTo>
                      <a:pt x="15022" y="14665"/>
                    </a:lnTo>
                    <a:lnTo>
                      <a:pt x="15016" y="14669"/>
                    </a:lnTo>
                    <a:lnTo>
                      <a:pt x="15014" y="14672"/>
                    </a:lnTo>
                    <a:lnTo>
                      <a:pt x="15011" y="14676"/>
                    </a:lnTo>
                    <a:lnTo>
                      <a:pt x="15009" y="14681"/>
                    </a:lnTo>
                    <a:lnTo>
                      <a:pt x="15008" y="14686"/>
                    </a:lnTo>
                    <a:lnTo>
                      <a:pt x="15007" y="14689"/>
                    </a:lnTo>
                    <a:lnTo>
                      <a:pt x="15005" y="14693"/>
                    </a:lnTo>
                    <a:lnTo>
                      <a:pt x="15004" y="14694"/>
                    </a:lnTo>
                    <a:lnTo>
                      <a:pt x="15003" y="14695"/>
                    </a:lnTo>
                    <a:lnTo>
                      <a:pt x="14999" y="14695"/>
                    </a:lnTo>
                    <a:lnTo>
                      <a:pt x="14995" y="14693"/>
                    </a:lnTo>
                    <a:lnTo>
                      <a:pt x="14986" y="14683"/>
                    </a:lnTo>
                    <a:lnTo>
                      <a:pt x="14980" y="14675"/>
                    </a:lnTo>
                    <a:lnTo>
                      <a:pt x="14975" y="14666"/>
                    </a:lnTo>
                    <a:lnTo>
                      <a:pt x="14970" y="14660"/>
                    </a:lnTo>
                    <a:lnTo>
                      <a:pt x="14966" y="14655"/>
                    </a:lnTo>
                    <a:lnTo>
                      <a:pt x="14961" y="14651"/>
                    </a:lnTo>
                    <a:lnTo>
                      <a:pt x="14950" y="14645"/>
                    </a:lnTo>
                    <a:lnTo>
                      <a:pt x="14936" y="14636"/>
                    </a:lnTo>
                    <a:lnTo>
                      <a:pt x="14917" y="14627"/>
                    </a:lnTo>
                    <a:lnTo>
                      <a:pt x="14898" y="14616"/>
                    </a:lnTo>
                    <a:lnTo>
                      <a:pt x="14895" y="14612"/>
                    </a:lnTo>
                    <a:lnTo>
                      <a:pt x="14891" y="14609"/>
                    </a:lnTo>
                    <a:lnTo>
                      <a:pt x="14889" y="14605"/>
                    </a:lnTo>
                    <a:lnTo>
                      <a:pt x="14886" y="14601"/>
                    </a:lnTo>
                    <a:lnTo>
                      <a:pt x="14885" y="14596"/>
                    </a:lnTo>
                    <a:lnTo>
                      <a:pt x="14885" y="14592"/>
                    </a:lnTo>
                    <a:lnTo>
                      <a:pt x="14885" y="14587"/>
                    </a:lnTo>
                    <a:lnTo>
                      <a:pt x="14887" y="14581"/>
                    </a:lnTo>
                    <a:lnTo>
                      <a:pt x="14891" y="14568"/>
                    </a:lnTo>
                    <a:lnTo>
                      <a:pt x="14895" y="14553"/>
                    </a:lnTo>
                    <a:lnTo>
                      <a:pt x="14897" y="14538"/>
                    </a:lnTo>
                    <a:lnTo>
                      <a:pt x="14899" y="14522"/>
                    </a:lnTo>
                    <a:lnTo>
                      <a:pt x="14901" y="14491"/>
                    </a:lnTo>
                    <a:lnTo>
                      <a:pt x="14901" y="14460"/>
                    </a:lnTo>
                    <a:lnTo>
                      <a:pt x="14907" y="14464"/>
                    </a:lnTo>
                    <a:lnTo>
                      <a:pt x="14913" y="14471"/>
                    </a:lnTo>
                    <a:lnTo>
                      <a:pt x="14919" y="14480"/>
                    </a:lnTo>
                    <a:lnTo>
                      <a:pt x="14926" y="14491"/>
                    </a:lnTo>
                    <a:lnTo>
                      <a:pt x="14937" y="14513"/>
                    </a:lnTo>
                    <a:lnTo>
                      <a:pt x="14948" y="14531"/>
                    </a:lnTo>
                    <a:lnTo>
                      <a:pt x="14951" y="14535"/>
                    </a:lnTo>
                    <a:lnTo>
                      <a:pt x="14955" y="14539"/>
                    </a:lnTo>
                    <a:lnTo>
                      <a:pt x="14961" y="14542"/>
                    </a:lnTo>
                    <a:lnTo>
                      <a:pt x="14966" y="14544"/>
                    </a:lnTo>
                    <a:lnTo>
                      <a:pt x="14976" y="14546"/>
                    </a:lnTo>
                    <a:lnTo>
                      <a:pt x="14989" y="14547"/>
                    </a:lnTo>
                    <a:lnTo>
                      <a:pt x="14999" y="14547"/>
                    </a:lnTo>
                    <a:lnTo>
                      <a:pt x="15010" y="14548"/>
                    </a:lnTo>
                    <a:lnTo>
                      <a:pt x="15014" y="14548"/>
                    </a:lnTo>
                    <a:lnTo>
                      <a:pt x="15017" y="14550"/>
                    </a:lnTo>
                    <a:lnTo>
                      <a:pt x="15020" y="14552"/>
                    </a:lnTo>
                    <a:lnTo>
                      <a:pt x="15022" y="14554"/>
                    </a:lnTo>
                    <a:lnTo>
                      <a:pt x="15025" y="14565"/>
                    </a:lnTo>
                    <a:lnTo>
                      <a:pt x="15028" y="14578"/>
                    </a:lnTo>
                    <a:lnTo>
                      <a:pt x="15032" y="14586"/>
                    </a:lnTo>
                    <a:lnTo>
                      <a:pt x="15035" y="14590"/>
                    </a:lnTo>
                    <a:lnTo>
                      <a:pt x="15037" y="14593"/>
                    </a:lnTo>
                    <a:lnTo>
                      <a:pt x="15039" y="14594"/>
                    </a:lnTo>
                    <a:lnTo>
                      <a:pt x="15041" y="14595"/>
                    </a:lnTo>
                    <a:lnTo>
                      <a:pt x="15045" y="14595"/>
                    </a:lnTo>
                    <a:lnTo>
                      <a:pt x="15044" y="14580"/>
                    </a:lnTo>
                    <a:lnTo>
                      <a:pt x="15041" y="14554"/>
                    </a:lnTo>
                    <a:lnTo>
                      <a:pt x="15038" y="14529"/>
                    </a:lnTo>
                    <a:lnTo>
                      <a:pt x="15034" y="14511"/>
                    </a:lnTo>
                    <a:lnTo>
                      <a:pt x="15016" y="14512"/>
                    </a:lnTo>
                    <a:lnTo>
                      <a:pt x="14991" y="14515"/>
                    </a:lnTo>
                    <a:lnTo>
                      <a:pt x="14980" y="14516"/>
                    </a:lnTo>
                    <a:lnTo>
                      <a:pt x="14969" y="14515"/>
                    </a:lnTo>
                    <a:lnTo>
                      <a:pt x="14964" y="14515"/>
                    </a:lnTo>
                    <a:lnTo>
                      <a:pt x="14961" y="14513"/>
                    </a:lnTo>
                    <a:lnTo>
                      <a:pt x="14957" y="14512"/>
                    </a:lnTo>
                    <a:lnTo>
                      <a:pt x="14956" y="14510"/>
                    </a:lnTo>
                    <a:lnTo>
                      <a:pt x="14946" y="14493"/>
                    </a:lnTo>
                    <a:lnTo>
                      <a:pt x="14939" y="14475"/>
                    </a:lnTo>
                    <a:lnTo>
                      <a:pt x="14934" y="14467"/>
                    </a:lnTo>
                    <a:lnTo>
                      <a:pt x="14930" y="14457"/>
                    </a:lnTo>
                    <a:lnTo>
                      <a:pt x="14925" y="14448"/>
                    </a:lnTo>
                    <a:lnTo>
                      <a:pt x="14919" y="14440"/>
                    </a:lnTo>
                    <a:lnTo>
                      <a:pt x="14911" y="14429"/>
                    </a:lnTo>
                    <a:lnTo>
                      <a:pt x="14901" y="14416"/>
                    </a:lnTo>
                    <a:lnTo>
                      <a:pt x="14896" y="14409"/>
                    </a:lnTo>
                    <a:lnTo>
                      <a:pt x="14892" y="14404"/>
                    </a:lnTo>
                    <a:lnTo>
                      <a:pt x="14889" y="14402"/>
                    </a:lnTo>
                    <a:lnTo>
                      <a:pt x="14887" y="14402"/>
                    </a:lnTo>
                    <a:lnTo>
                      <a:pt x="14884" y="14391"/>
                    </a:lnTo>
                    <a:lnTo>
                      <a:pt x="14880" y="14381"/>
                    </a:lnTo>
                    <a:lnTo>
                      <a:pt x="14875" y="14371"/>
                    </a:lnTo>
                    <a:lnTo>
                      <a:pt x="14873" y="14362"/>
                    </a:lnTo>
                    <a:lnTo>
                      <a:pt x="14880" y="14359"/>
                    </a:lnTo>
                    <a:lnTo>
                      <a:pt x="14886" y="14356"/>
                    </a:lnTo>
                    <a:lnTo>
                      <a:pt x="14892" y="14350"/>
                    </a:lnTo>
                    <a:lnTo>
                      <a:pt x="14898" y="14345"/>
                    </a:lnTo>
                    <a:lnTo>
                      <a:pt x="14910" y="14331"/>
                    </a:lnTo>
                    <a:lnTo>
                      <a:pt x="14921" y="14316"/>
                    </a:lnTo>
                    <a:lnTo>
                      <a:pt x="14933" y="14303"/>
                    </a:lnTo>
                    <a:lnTo>
                      <a:pt x="14944" y="14290"/>
                    </a:lnTo>
                    <a:lnTo>
                      <a:pt x="14950" y="14285"/>
                    </a:lnTo>
                    <a:lnTo>
                      <a:pt x="14955" y="14280"/>
                    </a:lnTo>
                    <a:lnTo>
                      <a:pt x="14961" y="14278"/>
                    </a:lnTo>
                    <a:lnTo>
                      <a:pt x="14968" y="14275"/>
                    </a:lnTo>
                    <a:lnTo>
                      <a:pt x="14978" y="14274"/>
                    </a:lnTo>
                    <a:lnTo>
                      <a:pt x="14993" y="14272"/>
                    </a:lnTo>
                    <a:lnTo>
                      <a:pt x="15002" y="14270"/>
                    </a:lnTo>
                    <a:lnTo>
                      <a:pt x="15008" y="14269"/>
                    </a:lnTo>
                    <a:lnTo>
                      <a:pt x="15013" y="14268"/>
                    </a:lnTo>
                    <a:lnTo>
                      <a:pt x="15014" y="14266"/>
                    </a:lnTo>
                    <a:lnTo>
                      <a:pt x="15003" y="14261"/>
                    </a:lnTo>
                    <a:lnTo>
                      <a:pt x="14987" y="14250"/>
                    </a:lnTo>
                    <a:lnTo>
                      <a:pt x="14980" y="14245"/>
                    </a:lnTo>
                    <a:lnTo>
                      <a:pt x="14974" y="14239"/>
                    </a:lnTo>
                    <a:lnTo>
                      <a:pt x="14970" y="14233"/>
                    </a:lnTo>
                    <a:lnTo>
                      <a:pt x="14968" y="14227"/>
                    </a:lnTo>
                    <a:lnTo>
                      <a:pt x="14968" y="14227"/>
                    </a:lnTo>
                    <a:lnTo>
                      <a:pt x="14967" y="14226"/>
                    </a:lnTo>
                    <a:lnTo>
                      <a:pt x="14966" y="14227"/>
                    </a:lnTo>
                    <a:lnTo>
                      <a:pt x="14964" y="14239"/>
                    </a:lnTo>
                    <a:lnTo>
                      <a:pt x="14961" y="14249"/>
                    </a:lnTo>
                    <a:lnTo>
                      <a:pt x="14957" y="14257"/>
                    </a:lnTo>
                    <a:lnTo>
                      <a:pt x="14950" y="14263"/>
                    </a:lnTo>
                    <a:lnTo>
                      <a:pt x="14944" y="14267"/>
                    </a:lnTo>
                    <a:lnTo>
                      <a:pt x="14936" y="14270"/>
                    </a:lnTo>
                    <a:lnTo>
                      <a:pt x="14927" y="14273"/>
                    </a:lnTo>
                    <a:lnTo>
                      <a:pt x="14917" y="14274"/>
                    </a:lnTo>
                    <a:lnTo>
                      <a:pt x="14901" y="14278"/>
                    </a:lnTo>
                    <a:lnTo>
                      <a:pt x="14885" y="14281"/>
                    </a:lnTo>
                    <a:lnTo>
                      <a:pt x="14878" y="14285"/>
                    </a:lnTo>
                    <a:lnTo>
                      <a:pt x="14873" y="14290"/>
                    </a:lnTo>
                    <a:lnTo>
                      <a:pt x="14869" y="14296"/>
                    </a:lnTo>
                    <a:lnTo>
                      <a:pt x="14868" y="14303"/>
                    </a:lnTo>
                    <a:lnTo>
                      <a:pt x="14867" y="14310"/>
                    </a:lnTo>
                    <a:lnTo>
                      <a:pt x="14866" y="14316"/>
                    </a:lnTo>
                    <a:lnTo>
                      <a:pt x="14863" y="14322"/>
                    </a:lnTo>
                    <a:lnTo>
                      <a:pt x="14862" y="14327"/>
                    </a:lnTo>
                    <a:lnTo>
                      <a:pt x="14860" y="14331"/>
                    </a:lnTo>
                    <a:lnTo>
                      <a:pt x="14856" y="14333"/>
                    </a:lnTo>
                    <a:lnTo>
                      <a:pt x="14854" y="14335"/>
                    </a:lnTo>
                    <a:lnTo>
                      <a:pt x="14850" y="14337"/>
                    </a:lnTo>
                    <a:lnTo>
                      <a:pt x="14844" y="14338"/>
                    </a:lnTo>
                    <a:lnTo>
                      <a:pt x="14837" y="14337"/>
                    </a:lnTo>
                    <a:lnTo>
                      <a:pt x="14830" y="14334"/>
                    </a:lnTo>
                    <a:lnTo>
                      <a:pt x="14824" y="14331"/>
                    </a:lnTo>
                    <a:lnTo>
                      <a:pt x="14818" y="14325"/>
                    </a:lnTo>
                    <a:lnTo>
                      <a:pt x="14813" y="14320"/>
                    </a:lnTo>
                    <a:lnTo>
                      <a:pt x="14810" y="14314"/>
                    </a:lnTo>
                    <a:lnTo>
                      <a:pt x="14809" y="14308"/>
                    </a:lnTo>
                    <a:lnTo>
                      <a:pt x="14809" y="14305"/>
                    </a:lnTo>
                    <a:lnTo>
                      <a:pt x="14809" y="14303"/>
                    </a:lnTo>
                    <a:lnTo>
                      <a:pt x="14810" y="14300"/>
                    </a:lnTo>
                    <a:lnTo>
                      <a:pt x="14813" y="14298"/>
                    </a:lnTo>
                    <a:lnTo>
                      <a:pt x="14815" y="14297"/>
                    </a:lnTo>
                    <a:lnTo>
                      <a:pt x="14819" y="14296"/>
                    </a:lnTo>
                    <a:lnTo>
                      <a:pt x="14824" y="14294"/>
                    </a:lnTo>
                    <a:lnTo>
                      <a:pt x="14828" y="14294"/>
                    </a:lnTo>
                    <a:lnTo>
                      <a:pt x="14828" y="14293"/>
                    </a:lnTo>
                    <a:lnTo>
                      <a:pt x="14831" y="14292"/>
                    </a:lnTo>
                    <a:lnTo>
                      <a:pt x="14831" y="14290"/>
                    </a:lnTo>
                    <a:lnTo>
                      <a:pt x="14819" y="14278"/>
                    </a:lnTo>
                    <a:lnTo>
                      <a:pt x="14806" y="14266"/>
                    </a:lnTo>
                    <a:lnTo>
                      <a:pt x="14807" y="14264"/>
                    </a:lnTo>
                    <a:lnTo>
                      <a:pt x="14806" y="14263"/>
                    </a:lnTo>
                    <a:lnTo>
                      <a:pt x="14806" y="14258"/>
                    </a:lnTo>
                    <a:lnTo>
                      <a:pt x="14809" y="14255"/>
                    </a:lnTo>
                    <a:lnTo>
                      <a:pt x="14813" y="14252"/>
                    </a:lnTo>
                    <a:lnTo>
                      <a:pt x="14818" y="14250"/>
                    </a:lnTo>
                    <a:lnTo>
                      <a:pt x="14822" y="14249"/>
                    </a:lnTo>
                    <a:lnTo>
                      <a:pt x="14827" y="14247"/>
                    </a:lnTo>
                    <a:lnTo>
                      <a:pt x="14830" y="14245"/>
                    </a:lnTo>
                    <a:lnTo>
                      <a:pt x="14832" y="14244"/>
                    </a:lnTo>
                    <a:lnTo>
                      <a:pt x="14836" y="14238"/>
                    </a:lnTo>
                    <a:lnTo>
                      <a:pt x="14846" y="14227"/>
                    </a:lnTo>
                    <a:lnTo>
                      <a:pt x="14853" y="14221"/>
                    </a:lnTo>
                    <a:lnTo>
                      <a:pt x="14859" y="14215"/>
                    </a:lnTo>
                    <a:lnTo>
                      <a:pt x="14866" y="14210"/>
                    </a:lnTo>
                    <a:lnTo>
                      <a:pt x="14872" y="14208"/>
                    </a:lnTo>
                    <a:lnTo>
                      <a:pt x="14872" y="14205"/>
                    </a:lnTo>
                    <a:lnTo>
                      <a:pt x="14871" y="14205"/>
                    </a:lnTo>
                    <a:lnTo>
                      <a:pt x="14871" y="14197"/>
                    </a:lnTo>
                    <a:lnTo>
                      <a:pt x="14869" y="14190"/>
                    </a:lnTo>
                    <a:lnTo>
                      <a:pt x="14867" y="14185"/>
                    </a:lnTo>
                    <a:lnTo>
                      <a:pt x="14865" y="14182"/>
                    </a:lnTo>
                    <a:lnTo>
                      <a:pt x="14862" y="14181"/>
                    </a:lnTo>
                    <a:lnTo>
                      <a:pt x="14859" y="14180"/>
                    </a:lnTo>
                    <a:lnTo>
                      <a:pt x="14855" y="14181"/>
                    </a:lnTo>
                    <a:lnTo>
                      <a:pt x="14851" y="14182"/>
                    </a:lnTo>
                    <a:lnTo>
                      <a:pt x="14836" y="14196"/>
                    </a:lnTo>
                    <a:lnTo>
                      <a:pt x="14822" y="14208"/>
                    </a:lnTo>
                    <a:lnTo>
                      <a:pt x="14816" y="14213"/>
                    </a:lnTo>
                    <a:lnTo>
                      <a:pt x="14812" y="14215"/>
                    </a:lnTo>
                    <a:lnTo>
                      <a:pt x="14807" y="14217"/>
                    </a:lnTo>
                    <a:lnTo>
                      <a:pt x="14802" y="14219"/>
                    </a:lnTo>
                    <a:lnTo>
                      <a:pt x="14796" y="14219"/>
                    </a:lnTo>
                    <a:lnTo>
                      <a:pt x="14791" y="14219"/>
                    </a:lnTo>
                    <a:lnTo>
                      <a:pt x="14786" y="14217"/>
                    </a:lnTo>
                    <a:lnTo>
                      <a:pt x="14782" y="14216"/>
                    </a:lnTo>
                    <a:lnTo>
                      <a:pt x="14760" y="14207"/>
                    </a:lnTo>
                    <a:lnTo>
                      <a:pt x="14739" y="14196"/>
                    </a:lnTo>
                    <a:lnTo>
                      <a:pt x="14733" y="14192"/>
                    </a:lnTo>
                    <a:lnTo>
                      <a:pt x="14727" y="14187"/>
                    </a:lnTo>
                    <a:lnTo>
                      <a:pt x="14721" y="14181"/>
                    </a:lnTo>
                    <a:lnTo>
                      <a:pt x="14714" y="14174"/>
                    </a:lnTo>
                    <a:lnTo>
                      <a:pt x="14701" y="14157"/>
                    </a:lnTo>
                    <a:lnTo>
                      <a:pt x="14688" y="14138"/>
                    </a:lnTo>
                    <a:lnTo>
                      <a:pt x="14677" y="14118"/>
                    </a:lnTo>
                    <a:lnTo>
                      <a:pt x="14667" y="14097"/>
                    </a:lnTo>
                    <a:lnTo>
                      <a:pt x="14664" y="14089"/>
                    </a:lnTo>
                    <a:lnTo>
                      <a:pt x="14661" y="14080"/>
                    </a:lnTo>
                    <a:lnTo>
                      <a:pt x="14659" y="14073"/>
                    </a:lnTo>
                    <a:lnTo>
                      <a:pt x="14659" y="14066"/>
                    </a:lnTo>
                    <a:lnTo>
                      <a:pt x="14660" y="14065"/>
                    </a:lnTo>
                    <a:lnTo>
                      <a:pt x="14678" y="14069"/>
                    </a:lnTo>
                    <a:lnTo>
                      <a:pt x="14700" y="14077"/>
                    </a:lnTo>
                    <a:lnTo>
                      <a:pt x="14704" y="14078"/>
                    </a:lnTo>
                    <a:lnTo>
                      <a:pt x="14708" y="14078"/>
                    </a:lnTo>
                    <a:lnTo>
                      <a:pt x="14710" y="14077"/>
                    </a:lnTo>
                    <a:lnTo>
                      <a:pt x="14713" y="14074"/>
                    </a:lnTo>
                    <a:lnTo>
                      <a:pt x="14713" y="14071"/>
                    </a:lnTo>
                    <a:lnTo>
                      <a:pt x="14712" y="14067"/>
                    </a:lnTo>
                    <a:lnTo>
                      <a:pt x="14709" y="14060"/>
                    </a:lnTo>
                    <a:lnTo>
                      <a:pt x="14706" y="14053"/>
                    </a:lnTo>
                    <a:lnTo>
                      <a:pt x="14696" y="14036"/>
                    </a:lnTo>
                    <a:lnTo>
                      <a:pt x="14689" y="14018"/>
                    </a:lnTo>
                    <a:lnTo>
                      <a:pt x="14683" y="14001"/>
                    </a:lnTo>
                    <a:lnTo>
                      <a:pt x="14678" y="13984"/>
                    </a:lnTo>
                    <a:lnTo>
                      <a:pt x="14673" y="13984"/>
                    </a:lnTo>
                    <a:lnTo>
                      <a:pt x="14670" y="13985"/>
                    </a:lnTo>
                    <a:lnTo>
                      <a:pt x="14666" y="13986"/>
                    </a:lnTo>
                    <a:lnTo>
                      <a:pt x="14662" y="13989"/>
                    </a:lnTo>
                    <a:lnTo>
                      <a:pt x="14656" y="13994"/>
                    </a:lnTo>
                    <a:lnTo>
                      <a:pt x="14649" y="14000"/>
                    </a:lnTo>
                    <a:lnTo>
                      <a:pt x="14642" y="14003"/>
                    </a:lnTo>
                    <a:lnTo>
                      <a:pt x="14635" y="14006"/>
                    </a:lnTo>
                    <a:lnTo>
                      <a:pt x="14631" y="14006"/>
                    </a:lnTo>
                    <a:lnTo>
                      <a:pt x="14626" y="14006"/>
                    </a:lnTo>
                    <a:lnTo>
                      <a:pt x="14621" y="14003"/>
                    </a:lnTo>
                    <a:lnTo>
                      <a:pt x="14617" y="14001"/>
                    </a:lnTo>
                    <a:lnTo>
                      <a:pt x="14606" y="13992"/>
                    </a:lnTo>
                    <a:lnTo>
                      <a:pt x="14599" y="13982"/>
                    </a:lnTo>
                    <a:lnTo>
                      <a:pt x="14591" y="13972"/>
                    </a:lnTo>
                    <a:lnTo>
                      <a:pt x="14583" y="13961"/>
                    </a:lnTo>
                    <a:lnTo>
                      <a:pt x="14573" y="13948"/>
                    </a:lnTo>
                    <a:lnTo>
                      <a:pt x="14564" y="13937"/>
                    </a:lnTo>
                    <a:lnTo>
                      <a:pt x="14559" y="13933"/>
                    </a:lnTo>
                    <a:lnTo>
                      <a:pt x="14554" y="13929"/>
                    </a:lnTo>
                    <a:lnTo>
                      <a:pt x="14549" y="13926"/>
                    </a:lnTo>
                    <a:lnTo>
                      <a:pt x="14546" y="13924"/>
                    </a:lnTo>
                    <a:lnTo>
                      <a:pt x="14541" y="13923"/>
                    </a:lnTo>
                    <a:lnTo>
                      <a:pt x="14536" y="13923"/>
                    </a:lnTo>
                    <a:lnTo>
                      <a:pt x="14532" y="13924"/>
                    </a:lnTo>
                    <a:lnTo>
                      <a:pt x="14528" y="13926"/>
                    </a:lnTo>
                    <a:lnTo>
                      <a:pt x="14523" y="13930"/>
                    </a:lnTo>
                    <a:lnTo>
                      <a:pt x="14518" y="13935"/>
                    </a:lnTo>
                    <a:lnTo>
                      <a:pt x="14512" y="13942"/>
                    </a:lnTo>
                    <a:lnTo>
                      <a:pt x="14507" y="13949"/>
                    </a:lnTo>
                    <a:lnTo>
                      <a:pt x="14502" y="13955"/>
                    </a:lnTo>
                    <a:lnTo>
                      <a:pt x="14497" y="13960"/>
                    </a:lnTo>
                    <a:lnTo>
                      <a:pt x="14493" y="13962"/>
                    </a:lnTo>
                    <a:lnTo>
                      <a:pt x="14488" y="13962"/>
                    </a:lnTo>
                    <a:lnTo>
                      <a:pt x="14483" y="13962"/>
                    </a:lnTo>
                    <a:lnTo>
                      <a:pt x="14478" y="13960"/>
                    </a:lnTo>
                    <a:lnTo>
                      <a:pt x="14472" y="13957"/>
                    </a:lnTo>
                    <a:lnTo>
                      <a:pt x="14467" y="13955"/>
                    </a:lnTo>
                    <a:lnTo>
                      <a:pt x="14457" y="13947"/>
                    </a:lnTo>
                    <a:lnTo>
                      <a:pt x="14446" y="13938"/>
                    </a:lnTo>
                    <a:lnTo>
                      <a:pt x="14440" y="13935"/>
                    </a:lnTo>
                    <a:lnTo>
                      <a:pt x="14435" y="13932"/>
                    </a:lnTo>
                    <a:lnTo>
                      <a:pt x="14429" y="13930"/>
                    </a:lnTo>
                    <a:lnTo>
                      <a:pt x="14423" y="13929"/>
                    </a:lnTo>
                    <a:lnTo>
                      <a:pt x="14419" y="13927"/>
                    </a:lnTo>
                    <a:lnTo>
                      <a:pt x="14416" y="13925"/>
                    </a:lnTo>
                    <a:lnTo>
                      <a:pt x="14413" y="13921"/>
                    </a:lnTo>
                    <a:lnTo>
                      <a:pt x="14412" y="13917"/>
                    </a:lnTo>
                    <a:lnTo>
                      <a:pt x="14410" y="13905"/>
                    </a:lnTo>
                    <a:lnTo>
                      <a:pt x="14410" y="13890"/>
                    </a:lnTo>
                    <a:lnTo>
                      <a:pt x="14411" y="13861"/>
                    </a:lnTo>
                    <a:lnTo>
                      <a:pt x="14412" y="13840"/>
                    </a:lnTo>
                    <a:lnTo>
                      <a:pt x="14422" y="13837"/>
                    </a:lnTo>
                    <a:lnTo>
                      <a:pt x="14432" y="13837"/>
                    </a:lnTo>
                    <a:lnTo>
                      <a:pt x="14443" y="13837"/>
                    </a:lnTo>
                    <a:lnTo>
                      <a:pt x="14455" y="13838"/>
                    </a:lnTo>
                    <a:lnTo>
                      <a:pt x="14479" y="13840"/>
                    </a:lnTo>
                    <a:lnTo>
                      <a:pt x="14500" y="13841"/>
                    </a:lnTo>
                    <a:lnTo>
                      <a:pt x="14505" y="13841"/>
                    </a:lnTo>
                    <a:lnTo>
                      <a:pt x="14510" y="13838"/>
                    </a:lnTo>
                    <a:lnTo>
                      <a:pt x="14516" y="13836"/>
                    </a:lnTo>
                    <a:lnTo>
                      <a:pt x="14522" y="13832"/>
                    </a:lnTo>
                    <a:lnTo>
                      <a:pt x="14534" y="13823"/>
                    </a:lnTo>
                    <a:lnTo>
                      <a:pt x="14547" y="13811"/>
                    </a:lnTo>
                    <a:lnTo>
                      <a:pt x="14558" y="13799"/>
                    </a:lnTo>
                    <a:lnTo>
                      <a:pt x="14567" y="13787"/>
                    </a:lnTo>
                    <a:lnTo>
                      <a:pt x="14572" y="13781"/>
                    </a:lnTo>
                    <a:lnTo>
                      <a:pt x="14574" y="13776"/>
                    </a:lnTo>
                    <a:lnTo>
                      <a:pt x="14576" y="13771"/>
                    </a:lnTo>
                    <a:lnTo>
                      <a:pt x="14577" y="13767"/>
                    </a:lnTo>
                    <a:lnTo>
                      <a:pt x="14562" y="13770"/>
                    </a:lnTo>
                    <a:lnTo>
                      <a:pt x="14538" y="13777"/>
                    </a:lnTo>
                    <a:lnTo>
                      <a:pt x="14514" y="13787"/>
                    </a:lnTo>
                    <a:lnTo>
                      <a:pt x="14501" y="13793"/>
                    </a:lnTo>
                    <a:lnTo>
                      <a:pt x="14493" y="13793"/>
                    </a:lnTo>
                    <a:lnTo>
                      <a:pt x="14484" y="13793"/>
                    </a:lnTo>
                    <a:lnTo>
                      <a:pt x="14476" y="13791"/>
                    </a:lnTo>
                    <a:lnTo>
                      <a:pt x="14467" y="13789"/>
                    </a:lnTo>
                    <a:lnTo>
                      <a:pt x="14460" y="13785"/>
                    </a:lnTo>
                    <a:lnTo>
                      <a:pt x="14453" y="13781"/>
                    </a:lnTo>
                    <a:lnTo>
                      <a:pt x="14446" y="13776"/>
                    </a:lnTo>
                    <a:lnTo>
                      <a:pt x="14439" y="13770"/>
                    </a:lnTo>
                    <a:lnTo>
                      <a:pt x="14435" y="13765"/>
                    </a:lnTo>
                    <a:lnTo>
                      <a:pt x="14435" y="13761"/>
                    </a:lnTo>
                    <a:lnTo>
                      <a:pt x="14435" y="13756"/>
                    </a:lnTo>
                    <a:lnTo>
                      <a:pt x="14439" y="13753"/>
                    </a:lnTo>
                    <a:lnTo>
                      <a:pt x="14448" y="13746"/>
                    </a:lnTo>
                    <a:lnTo>
                      <a:pt x="14459" y="13738"/>
                    </a:lnTo>
                    <a:lnTo>
                      <a:pt x="14471" y="13732"/>
                    </a:lnTo>
                    <a:lnTo>
                      <a:pt x="14479" y="13726"/>
                    </a:lnTo>
                    <a:lnTo>
                      <a:pt x="14481" y="13723"/>
                    </a:lnTo>
                    <a:lnTo>
                      <a:pt x="14481" y="13720"/>
                    </a:lnTo>
                    <a:lnTo>
                      <a:pt x="14478" y="13717"/>
                    </a:lnTo>
                    <a:lnTo>
                      <a:pt x="14473" y="13714"/>
                    </a:lnTo>
                    <a:lnTo>
                      <a:pt x="14464" y="13711"/>
                    </a:lnTo>
                    <a:lnTo>
                      <a:pt x="14453" y="13708"/>
                    </a:lnTo>
                    <a:lnTo>
                      <a:pt x="14443" y="13707"/>
                    </a:lnTo>
                    <a:lnTo>
                      <a:pt x="14434" y="13706"/>
                    </a:lnTo>
                    <a:lnTo>
                      <a:pt x="14429" y="13705"/>
                    </a:lnTo>
                    <a:lnTo>
                      <a:pt x="14425" y="13704"/>
                    </a:lnTo>
                    <a:lnTo>
                      <a:pt x="14422" y="13701"/>
                    </a:lnTo>
                    <a:lnTo>
                      <a:pt x="14418" y="13699"/>
                    </a:lnTo>
                    <a:lnTo>
                      <a:pt x="14416" y="13695"/>
                    </a:lnTo>
                    <a:lnTo>
                      <a:pt x="14414" y="13690"/>
                    </a:lnTo>
                    <a:lnTo>
                      <a:pt x="14413" y="13684"/>
                    </a:lnTo>
                    <a:lnTo>
                      <a:pt x="14412" y="13677"/>
                    </a:lnTo>
                    <a:lnTo>
                      <a:pt x="14416" y="13653"/>
                    </a:lnTo>
                    <a:lnTo>
                      <a:pt x="14420" y="13629"/>
                    </a:lnTo>
                    <a:lnTo>
                      <a:pt x="14420" y="13624"/>
                    </a:lnTo>
                    <a:lnTo>
                      <a:pt x="14420" y="13619"/>
                    </a:lnTo>
                    <a:lnTo>
                      <a:pt x="14419" y="13614"/>
                    </a:lnTo>
                    <a:lnTo>
                      <a:pt x="14416" y="13611"/>
                    </a:lnTo>
                    <a:lnTo>
                      <a:pt x="14412" y="13607"/>
                    </a:lnTo>
                    <a:lnTo>
                      <a:pt x="14407" y="13605"/>
                    </a:lnTo>
                    <a:lnTo>
                      <a:pt x="14400" y="13604"/>
                    </a:lnTo>
                    <a:lnTo>
                      <a:pt x="14393" y="13604"/>
                    </a:lnTo>
                    <a:lnTo>
                      <a:pt x="14375" y="13604"/>
                    </a:lnTo>
                    <a:lnTo>
                      <a:pt x="14357" y="13604"/>
                    </a:lnTo>
                    <a:lnTo>
                      <a:pt x="14353" y="13602"/>
                    </a:lnTo>
                    <a:lnTo>
                      <a:pt x="14349" y="13601"/>
                    </a:lnTo>
                    <a:lnTo>
                      <a:pt x="14346" y="13600"/>
                    </a:lnTo>
                    <a:lnTo>
                      <a:pt x="14343" y="13598"/>
                    </a:lnTo>
                    <a:lnTo>
                      <a:pt x="14342" y="13595"/>
                    </a:lnTo>
                    <a:lnTo>
                      <a:pt x="14341" y="13592"/>
                    </a:lnTo>
                    <a:lnTo>
                      <a:pt x="14341" y="13587"/>
                    </a:lnTo>
                    <a:lnTo>
                      <a:pt x="14341" y="13582"/>
                    </a:lnTo>
                    <a:lnTo>
                      <a:pt x="14345" y="13563"/>
                    </a:lnTo>
                    <a:lnTo>
                      <a:pt x="14348" y="13541"/>
                    </a:lnTo>
                    <a:lnTo>
                      <a:pt x="14352" y="13521"/>
                    </a:lnTo>
                    <a:lnTo>
                      <a:pt x="14357" y="13503"/>
                    </a:lnTo>
                    <a:lnTo>
                      <a:pt x="14374" y="13512"/>
                    </a:lnTo>
                    <a:lnTo>
                      <a:pt x="14394" y="13522"/>
                    </a:lnTo>
                    <a:lnTo>
                      <a:pt x="14414" y="13530"/>
                    </a:lnTo>
                    <a:lnTo>
                      <a:pt x="14432" y="13540"/>
                    </a:lnTo>
                    <a:lnTo>
                      <a:pt x="14446" y="13547"/>
                    </a:lnTo>
                    <a:lnTo>
                      <a:pt x="14458" y="13556"/>
                    </a:lnTo>
                    <a:lnTo>
                      <a:pt x="14469" y="13564"/>
                    </a:lnTo>
                    <a:lnTo>
                      <a:pt x="14481" y="13572"/>
                    </a:lnTo>
                    <a:lnTo>
                      <a:pt x="14491" y="13582"/>
                    </a:lnTo>
                    <a:lnTo>
                      <a:pt x="14503" y="13590"/>
                    </a:lnTo>
                    <a:lnTo>
                      <a:pt x="14516" y="13598"/>
                    </a:lnTo>
                    <a:lnTo>
                      <a:pt x="14529" y="13605"/>
                    </a:lnTo>
                    <a:lnTo>
                      <a:pt x="14548" y="13613"/>
                    </a:lnTo>
                    <a:lnTo>
                      <a:pt x="14565" y="13623"/>
                    </a:lnTo>
                    <a:lnTo>
                      <a:pt x="14582" y="13634"/>
                    </a:lnTo>
                    <a:lnTo>
                      <a:pt x="14600" y="13646"/>
                    </a:lnTo>
                    <a:lnTo>
                      <a:pt x="14614" y="13654"/>
                    </a:lnTo>
                    <a:lnTo>
                      <a:pt x="14632" y="13664"/>
                    </a:lnTo>
                    <a:lnTo>
                      <a:pt x="14636" y="13664"/>
                    </a:lnTo>
                    <a:lnTo>
                      <a:pt x="14639" y="13665"/>
                    </a:lnTo>
                    <a:lnTo>
                      <a:pt x="14642" y="13664"/>
                    </a:lnTo>
                    <a:lnTo>
                      <a:pt x="14644" y="13663"/>
                    </a:lnTo>
                    <a:lnTo>
                      <a:pt x="14644" y="13660"/>
                    </a:lnTo>
                    <a:lnTo>
                      <a:pt x="14644" y="13657"/>
                    </a:lnTo>
                    <a:lnTo>
                      <a:pt x="14642" y="13652"/>
                    </a:lnTo>
                    <a:lnTo>
                      <a:pt x="14637" y="13646"/>
                    </a:lnTo>
                    <a:lnTo>
                      <a:pt x="14633" y="13641"/>
                    </a:lnTo>
                    <a:lnTo>
                      <a:pt x="14629" y="13636"/>
                    </a:lnTo>
                    <a:lnTo>
                      <a:pt x="14624" y="13633"/>
                    </a:lnTo>
                    <a:lnTo>
                      <a:pt x="14618" y="13629"/>
                    </a:lnTo>
                    <a:lnTo>
                      <a:pt x="14607" y="13624"/>
                    </a:lnTo>
                    <a:lnTo>
                      <a:pt x="14595" y="13620"/>
                    </a:lnTo>
                    <a:lnTo>
                      <a:pt x="14583" y="13617"/>
                    </a:lnTo>
                    <a:lnTo>
                      <a:pt x="14571" y="13614"/>
                    </a:lnTo>
                    <a:lnTo>
                      <a:pt x="14559" y="13610"/>
                    </a:lnTo>
                    <a:lnTo>
                      <a:pt x="14549" y="13604"/>
                    </a:lnTo>
                    <a:lnTo>
                      <a:pt x="14544" y="13599"/>
                    </a:lnTo>
                    <a:lnTo>
                      <a:pt x="14542" y="13594"/>
                    </a:lnTo>
                    <a:lnTo>
                      <a:pt x="14541" y="13588"/>
                    </a:lnTo>
                    <a:lnTo>
                      <a:pt x="14540" y="13582"/>
                    </a:lnTo>
                    <a:lnTo>
                      <a:pt x="14540" y="13575"/>
                    </a:lnTo>
                    <a:lnTo>
                      <a:pt x="14541" y="13568"/>
                    </a:lnTo>
                    <a:lnTo>
                      <a:pt x="14543" y="13560"/>
                    </a:lnTo>
                    <a:lnTo>
                      <a:pt x="14546" y="13553"/>
                    </a:lnTo>
                    <a:lnTo>
                      <a:pt x="14558" y="13525"/>
                    </a:lnTo>
                    <a:lnTo>
                      <a:pt x="14566" y="13504"/>
                    </a:lnTo>
                    <a:lnTo>
                      <a:pt x="14562" y="13503"/>
                    </a:lnTo>
                    <a:lnTo>
                      <a:pt x="14561" y="13501"/>
                    </a:lnTo>
                    <a:lnTo>
                      <a:pt x="14558" y="13501"/>
                    </a:lnTo>
                    <a:lnTo>
                      <a:pt x="14549" y="13503"/>
                    </a:lnTo>
                    <a:lnTo>
                      <a:pt x="14543" y="13500"/>
                    </a:lnTo>
                    <a:lnTo>
                      <a:pt x="14537" y="13500"/>
                    </a:lnTo>
                    <a:lnTo>
                      <a:pt x="14532" y="13500"/>
                    </a:lnTo>
                    <a:lnTo>
                      <a:pt x="14530" y="13501"/>
                    </a:lnTo>
                    <a:lnTo>
                      <a:pt x="14528" y="13503"/>
                    </a:lnTo>
                    <a:lnTo>
                      <a:pt x="14525" y="13506"/>
                    </a:lnTo>
                    <a:lnTo>
                      <a:pt x="14524" y="13510"/>
                    </a:lnTo>
                    <a:lnTo>
                      <a:pt x="14524" y="13513"/>
                    </a:lnTo>
                    <a:lnTo>
                      <a:pt x="14525" y="13534"/>
                    </a:lnTo>
                    <a:lnTo>
                      <a:pt x="14528" y="13554"/>
                    </a:lnTo>
                    <a:lnTo>
                      <a:pt x="14528" y="13557"/>
                    </a:lnTo>
                    <a:lnTo>
                      <a:pt x="14528" y="13558"/>
                    </a:lnTo>
                    <a:lnTo>
                      <a:pt x="14526" y="13559"/>
                    </a:lnTo>
                    <a:lnTo>
                      <a:pt x="14525" y="13558"/>
                    </a:lnTo>
                    <a:lnTo>
                      <a:pt x="14520" y="13554"/>
                    </a:lnTo>
                    <a:lnTo>
                      <a:pt x="14516" y="13549"/>
                    </a:lnTo>
                    <a:lnTo>
                      <a:pt x="14506" y="13536"/>
                    </a:lnTo>
                    <a:lnTo>
                      <a:pt x="14500" y="13528"/>
                    </a:lnTo>
                    <a:lnTo>
                      <a:pt x="14490" y="13518"/>
                    </a:lnTo>
                    <a:lnTo>
                      <a:pt x="14481" y="13510"/>
                    </a:lnTo>
                    <a:lnTo>
                      <a:pt x="14470" y="13501"/>
                    </a:lnTo>
                    <a:lnTo>
                      <a:pt x="14458" y="13494"/>
                    </a:lnTo>
                    <a:lnTo>
                      <a:pt x="14441" y="13486"/>
                    </a:lnTo>
                    <a:lnTo>
                      <a:pt x="14420" y="13474"/>
                    </a:lnTo>
                    <a:lnTo>
                      <a:pt x="14411" y="13468"/>
                    </a:lnTo>
                    <a:lnTo>
                      <a:pt x="14402" y="13462"/>
                    </a:lnTo>
                    <a:lnTo>
                      <a:pt x="14394" y="13456"/>
                    </a:lnTo>
                    <a:lnTo>
                      <a:pt x="14389" y="13450"/>
                    </a:lnTo>
                    <a:lnTo>
                      <a:pt x="14387" y="13445"/>
                    </a:lnTo>
                    <a:lnTo>
                      <a:pt x="14384" y="13440"/>
                    </a:lnTo>
                    <a:lnTo>
                      <a:pt x="14383" y="13435"/>
                    </a:lnTo>
                    <a:lnTo>
                      <a:pt x="14382" y="13429"/>
                    </a:lnTo>
                    <a:lnTo>
                      <a:pt x="14382" y="13420"/>
                    </a:lnTo>
                    <a:lnTo>
                      <a:pt x="14383" y="13409"/>
                    </a:lnTo>
                    <a:lnTo>
                      <a:pt x="14384" y="13397"/>
                    </a:lnTo>
                    <a:lnTo>
                      <a:pt x="14386" y="13386"/>
                    </a:lnTo>
                    <a:lnTo>
                      <a:pt x="14387" y="13374"/>
                    </a:lnTo>
                    <a:lnTo>
                      <a:pt x="14384" y="13363"/>
                    </a:lnTo>
                    <a:lnTo>
                      <a:pt x="14384" y="13357"/>
                    </a:lnTo>
                    <a:lnTo>
                      <a:pt x="14386" y="13353"/>
                    </a:lnTo>
                    <a:lnTo>
                      <a:pt x="14388" y="13352"/>
                    </a:lnTo>
                    <a:lnTo>
                      <a:pt x="14392" y="13351"/>
                    </a:lnTo>
                    <a:lnTo>
                      <a:pt x="14401" y="13352"/>
                    </a:lnTo>
                    <a:lnTo>
                      <a:pt x="14411" y="13355"/>
                    </a:lnTo>
                    <a:lnTo>
                      <a:pt x="14445" y="13363"/>
                    </a:lnTo>
                    <a:lnTo>
                      <a:pt x="14479" y="13369"/>
                    </a:lnTo>
                    <a:lnTo>
                      <a:pt x="14514" y="13375"/>
                    </a:lnTo>
                    <a:lnTo>
                      <a:pt x="14548" y="13381"/>
                    </a:lnTo>
                    <a:lnTo>
                      <a:pt x="14564" y="13380"/>
                    </a:lnTo>
                    <a:lnTo>
                      <a:pt x="14581" y="13377"/>
                    </a:lnTo>
                    <a:lnTo>
                      <a:pt x="14552" y="13368"/>
                    </a:lnTo>
                    <a:lnTo>
                      <a:pt x="14523" y="13357"/>
                    </a:lnTo>
                    <a:lnTo>
                      <a:pt x="14508" y="13351"/>
                    </a:lnTo>
                    <a:lnTo>
                      <a:pt x="14494" y="13346"/>
                    </a:lnTo>
                    <a:lnTo>
                      <a:pt x="14478" y="13341"/>
                    </a:lnTo>
                    <a:lnTo>
                      <a:pt x="14463" y="13338"/>
                    </a:lnTo>
                    <a:lnTo>
                      <a:pt x="14434" y="13332"/>
                    </a:lnTo>
                    <a:lnTo>
                      <a:pt x="14410" y="13326"/>
                    </a:lnTo>
                    <a:lnTo>
                      <a:pt x="14398" y="13326"/>
                    </a:lnTo>
                    <a:lnTo>
                      <a:pt x="14386" y="13327"/>
                    </a:lnTo>
                    <a:lnTo>
                      <a:pt x="14380" y="13329"/>
                    </a:lnTo>
                    <a:lnTo>
                      <a:pt x="14372" y="13333"/>
                    </a:lnTo>
                    <a:lnTo>
                      <a:pt x="14365" y="13336"/>
                    </a:lnTo>
                    <a:lnTo>
                      <a:pt x="14357" y="13341"/>
                    </a:lnTo>
                    <a:lnTo>
                      <a:pt x="14353" y="13345"/>
                    </a:lnTo>
                    <a:lnTo>
                      <a:pt x="14349" y="13349"/>
                    </a:lnTo>
                    <a:lnTo>
                      <a:pt x="14347" y="13352"/>
                    </a:lnTo>
                    <a:lnTo>
                      <a:pt x="14345" y="13357"/>
                    </a:lnTo>
                    <a:lnTo>
                      <a:pt x="14342" y="13367"/>
                    </a:lnTo>
                    <a:lnTo>
                      <a:pt x="14340" y="13377"/>
                    </a:lnTo>
                    <a:lnTo>
                      <a:pt x="14339" y="13399"/>
                    </a:lnTo>
                    <a:lnTo>
                      <a:pt x="14336" y="13420"/>
                    </a:lnTo>
                    <a:lnTo>
                      <a:pt x="14334" y="13426"/>
                    </a:lnTo>
                    <a:lnTo>
                      <a:pt x="14333" y="13428"/>
                    </a:lnTo>
                    <a:lnTo>
                      <a:pt x="14330" y="13429"/>
                    </a:lnTo>
                    <a:lnTo>
                      <a:pt x="14327" y="13428"/>
                    </a:lnTo>
                    <a:lnTo>
                      <a:pt x="14322" y="13422"/>
                    </a:lnTo>
                    <a:lnTo>
                      <a:pt x="14316" y="13411"/>
                    </a:lnTo>
                    <a:lnTo>
                      <a:pt x="14305" y="13386"/>
                    </a:lnTo>
                    <a:lnTo>
                      <a:pt x="14296" y="13369"/>
                    </a:lnTo>
                    <a:lnTo>
                      <a:pt x="14289" y="13358"/>
                    </a:lnTo>
                    <a:lnTo>
                      <a:pt x="14281" y="13347"/>
                    </a:lnTo>
                    <a:lnTo>
                      <a:pt x="14272" y="13336"/>
                    </a:lnTo>
                    <a:lnTo>
                      <a:pt x="14265" y="13326"/>
                    </a:lnTo>
                    <a:lnTo>
                      <a:pt x="14263" y="13321"/>
                    </a:lnTo>
                    <a:lnTo>
                      <a:pt x="14264" y="13315"/>
                    </a:lnTo>
                    <a:lnTo>
                      <a:pt x="14266" y="13310"/>
                    </a:lnTo>
                    <a:lnTo>
                      <a:pt x="14270" y="13305"/>
                    </a:lnTo>
                    <a:lnTo>
                      <a:pt x="14277" y="13294"/>
                    </a:lnTo>
                    <a:lnTo>
                      <a:pt x="14284" y="13286"/>
                    </a:lnTo>
                    <a:lnTo>
                      <a:pt x="14287" y="13284"/>
                    </a:lnTo>
                    <a:lnTo>
                      <a:pt x="14289" y="13284"/>
                    </a:lnTo>
                    <a:lnTo>
                      <a:pt x="14292" y="13285"/>
                    </a:lnTo>
                    <a:lnTo>
                      <a:pt x="14295" y="13286"/>
                    </a:lnTo>
                    <a:lnTo>
                      <a:pt x="14301" y="13292"/>
                    </a:lnTo>
                    <a:lnTo>
                      <a:pt x="14307" y="13299"/>
                    </a:lnTo>
                    <a:lnTo>
                      <a:pt x="14317" y="13316"/>
                    </a:lnTo>
                    <a:lnTo>
                      <a:pt x="14323" y="13324"/>
                    </a:lnTo>
                    <a:lnTo>
                      <a:pt x="14325" y="13323"/>
                    </a:lnTo>
                    <a:lnTo>
                      <a:pt x="14327" y="13322"/>
                    </a:lnTo>
                    <a:lnTo>
                      <a:pt x="14328" y="13321"/>
                    </a:lnTo>
                    <a:lnTo>
                      <a:pt x="14329" y="13317"/>
                    </a:lnTo>
                    <a:lnTo>
                      <a:pt x="14330" y="13311"/>
                    </a:lnTo>
                    <a:lnTo>
                      <a:pt x="14331" y="13303"/>
                    </a:lnTo>
                    <a:lnTo>
                      <a:pt x="14331" y="13287"/>
                    </a:lnTo>
                    <a:lnTo>
                      <a:pt x="14331" y="13276"/>
                    </a:lnTo>
                    <a:lnTo>
                      <a:pt x="14333" y="13274"/>
                    </a:lnTo>
                    <a:lnTo>
                      <a:pt x="14334" y="13273"/>
                    </a:lnTo>
                    <a:lnTo>
                      <a:pt x="14341" y="13272"/>
                    </a:lnTo>
                    <a:lnTo>
                      <a:pt x="14348" y="13270"/>
                    </a:lnTo>
                    <a:lnTo>
                      <a:pt x="14355" y="13268"/>
                    </a:lnTo>
                    <a:lnTo>
                      <a:pt x="14363" y="13265"/>
                    </a:lnTo>
                    <a:lnTo>
                      <a:pt x="14378" y="13257"/>
                    </a:lnTo>
                    <a:lnTo>
                      <a:pt x="14393" y="13246"/>
                    </a:lnTo>
                    <a:lnTo>
                      <a:pt x="14399" y="13240"/>
                    </a:lnTo>
                    <a:lnTo>
                      <a:pt x="14405" y="13234"/>
                    </a:lnTo>
                    <a:lnTo>
                      <a:pt x="14411" y="13228"/>
                    </a:lnTo>
                    <a:lnTo>
                      <a:pt x="14414" y="13221"/>
                    </a:lnTo>
                    <a:lnTo>
                      <a:pt x="14419" y="13214"/>
                    </a:lnTo>
                    <a:lnTo>
                      <a:pt x="14422" y="13207"/>
                    </a:lnTo>
                    <a:lnTo>
                      <a:pt x="14423" y="13199"/>
                    </a:lnTo>
                    <a:lnTo>
                      <a:pt x="14424" y="13193"/>
                    </a:lnTo>
                    <a:lnTo>
                      <a:pt x="14423" y="13192"/>
                    </a:lnTo>
                    <a:lnTo>
                      <a:pt x="14416" y="13193"/>
                    </a:lnTo>
                    <a:lnTo>
                      <a:pt x="14408" y="13196"/>
                    </a:lnTo>
                    <a:lnTo>
                      <a:pt x="14399" y="13201"/>
                    </a:lnTo>
                    <a:lnTo>
                      <a:pt x="14390" y="13207"/>
                    </a:lnTo>
                    <a:lnTo>
                      <a:pt x="14370" y="13220"/>
                    </a:lnTo>
                    <a:lnTo>
                      <a:pt x="14349" y="13232"/>
                    </a:lnTo>
                    <a:lnTo>
                      <a:pt x="14340" y="13237"/>
                    </a:lnTo>
                    <a:lnTo>
                      <a:pt x="14330" y="13240"/>
                    </a:lnTo>
                    <a:lnTo>
                      <a:pt x="14321" y="13241"/>
                    </a:lnTo>
                    <a:lnTo>
                      <a:pt x="14312" y="13241"/>
                    </a:lnTo>
                    <a:lnTo>
                      <a:pt x="14307" y="13240"/>
                    </a:lnTo>
                    <a:lnTo>
                      <a:pt x="14304" y="13238"/>
                    </a:lnTo>
                    <a:lnTo>
                      <a:pt x="14300" y="13234"/>
                    </a:lnTo>
                    <a:lnTo>
                      <a:pt x="14296" y="13231"/>
                    </a:lnTo>
                    <a:lnTo>
                      <a:pt x="14294" y="13226"/>
                    </a:lnTo>
                    <a:lnTo>
                      <a:pt x="14290" y="13220"/>
                    </a:lnTo>
                    <a:lnTo>
                      <a:pt x="14288" y="13214"/>
                    </a:lnTo>
                    <a:lnTo>
                      <a:pt x="14286" y="13205"/>
                    </a:lnTo>
                    <a:lnTo>
                      <a:pt x="14284" y="13204"/>
                    </a:lnTo>
                    <a:lnTo>
                      <a:pt x="14272" y="13226"/>
                    </a:lnTo>
                    <a:lnTo>
                      <a:pt x="14262" y="13251"/>
                    </a:lnTo>
                    <a:lnTo>
                      <a:pt x="14254" y="13262"/>
                    </a:lnTo>
                    <a:lnTo>
                      <a:pt x="14247" y="13272"/>
                    </a:lnTo>
                    <a:lnTo>
                      <a:pt x="14244" y="13275"/>
                    </a:lnTo>
                    <a:lnTo>
                      <a:pt x="14239" y="13279"/>
                    </a:lnTo>
                    <a:lnTo>
                      <a:pt x="14235" y="13280"/>
                    </a:lnTo>
                    <a:lnTo>
                      <a:pt x="14230" y="13281"/>
                    </a:lnTo>
                    <a:lnTo>
                      <a:pt x="14221" y="13256"/>
                    </a:lnTo>
                    <a:lnTo>
                      <a:pt x="14207" y="13226"/>
                    </a:lnTo>
                    <a:lnTo>
                      <a:pt x="14193" y="13196"/>
                    </a:lnTo>
                    <a:lnTo>
                      <a:pt x="14179" y="13170"/>
                    </a:lnTo>
                    <a:lnTo>
                      <a:pt x="14174" y="13162"/>
                    </a:lnTo>
                    <a:lnTo>
                      <a:pt x="14171" y="13154"/>
                    </a:lnTo>
                    <a:lnTo>
                      <a:pt x="14169" y="13145"/>
                    </a:lnTo>
                    <a:lnTo>
                      <a:pt x="14168" y="13137"/>
                    </a:lnTo>
                    <a:lnTo>
                      <a:pt x="14168" y="13128"/>
                    </a:lnTo>
                    <a:lnTo>
                      <a:pt x="14169" y="13121"/>
                    </a:lnTo>
                    <a:lnTo>
                      <a:pt x="14170" y="13113"/>
                    </a:lnTo>
                    <a:lnTo>
                      <a:pt x="14173" y="13105"/>
                    </a:lnTo>
                    <a:lnTo>
                      <a:pt x="14179" y="13090"/>
                    </a:lnTo>
                    <a:lnTo>
                      <a:pt x="14187" y="13074"/>
                    </a:lnTo>
                    <a:lnTo>
                      <a:pt x="14195" y="13060"/>
                    </a:lnTo>
                    <a:lnTo>
                      <a:pt x="14204" y="13044"/>
                    </a:lnTo>
                    <a:lnTo>
                      <a:pt x="14209" y="13034"/>
                    </a:lnTo>
                    <a:lnTo>
                      <a:pt x="14211" y="13024"/>
                    </a:lnTo>
                    <a:lnTo>
                      <a:pt x="14212" y="13010"/>
                    </a:lnTo>
                    <a:lnTo>
                      <a:pt x="14213" y="12996"/>
                    </a:lnTo>
                    <a:lnTo>
                      <a:pt x="14215" y="12968"/>
                    </a:lnTo>
                    <a:lnTo>
                      <a:pt x="14218" y="12944"/>
                    </a:lnTo>
                    <a:lnTo>
                      <a:pt x="14230" y="12901"/>
                    </a:lnTo>
                    <a:lnTo>
                      <a:pt x="14234" y="12886"/>
                    </a:lnTo>
                    <a:lnTo>
                      <a:pt x="14224" y="12898"/>
                    </a:lnTo>
                    <a:lnTo>
                      <a:pt x="14199" y="12932"/>
                    </a:lnTo>
                    <a:lnTo>
                      <a:pt x="14188" y="12949"/>
                    </a:lnTo>
                    <a:lnTo>
                      <a:pt x="14180" y="12965"/>
                    </a:lnTo>
                    <a:lnTo>
                      <a:pt x="14173" y="12980"/>
                    </a:lnTo>
                    <a:lnTo>
                      <a:pt x="14169" y="12996"/>
                    </a:lnTo>
                    <a:lnTo>
                      <a:pt x="14165" y="13013"/>
                    </a:lnTo>
                    <a:lnTo>
                      <a:pt x="14164" y="13030"/>
                    </a:lnTo>
                    <a:lnTo>
                      <a:pt x="14163" y="13048"/>
                    </a:lnTo>
                    <a:lnTo>
                      <a:pt x="14163" y="13067"/>
                    </a:lnTo>
                    <a:lnTo>
                      <a:pt x="14163" y="13075"/>
                    </a:lnTo>
                    <a:lnTo>
                      <a:pt x="14162" y="13083"/>
                    </a:lnTo>
                    <a:lnTo>
                      <a:pt x="14159" y="13087"/>
                    </a:lnTo>
                    <a:lnTo>
                      <a:pt x="14156" y="13091"/>
                    </a:lnTo>
                    <a:lnTo>
                      <a:pt x="14152" y="13095"/>
                    </a:lnTo>
                    <a:lnTo>
                      <a:pt x="14148" y="13097"/>
                    </a:lnTo>
                    <a:lnTo>
                      <a:pt x="14144" y="13098"/>
                    </a:lnTo>
                    <a:lnTo>
                      <a:pt x="14139" y="13098"/>
                    </a:lnTo>
                    <a:lnTo>
                      <a:pt x="14118" y="13097"/>
                    </a:lnTo>
                    <a:lnTo>
                      <a:pt x="14098" y="13095"/>
                    </a:lnTo>
                    <a:lnTo>
                      <a:pt x="14094" y="13101"/>
                    </a:lnTo>
                    <a:lnTo>
                      <a:pt x="14089" y="13105"/>
                    </a:lnTo>
                    <a:lnTo>
                      <a:pt x="14082" y="13109"/>
                    </a:lnTo>
                    <a:lnTo>
                      <a:pt x="14074" y="13111"/>
                    </a:lnTo>
                    <a:lnTo>
                      <a:pt x="14065" y="13113"/>
                    </a:lnTo>
                    <a:lnTo>
                      <a:pt x="14055" y="13113"/>
                    </a:lnTo>
                    <a:lnTo>
                      <a:pt x="14044" y="13113"/>
                    </a:lnTo>
                    <a:lnTo>
                      <a:pt x="14032" y="13111"/>
                    </a:lnTo>
                    <a:lnTo>
                      <a:pt x="14009" y="13107"/>
                    </a:lnTo>
                    <a:lnTo>
                      <a:pt x="13987" y="13101"/>
                    </a:lnTo>
                    <a:lnTo>
                      <a:pt x="13968" y="13093"/>
                    </a:lnTo>
                    <a:lnTo>
                      <a:pt x="13955" y="13086"/>
                    </a:lnTo>
                    <a:lnTo>
                      <a:pt x="13943" y="13078"/>
                    </a:lnTo>
                    <a:lnTo>
                      <a:pt x="13933" y="13069"/>
                    </a:lnTo>
                    <a:lnTo>
                      <a:pt x="13931" y="13066"/>
                    </a:lnTo>
                    <a:lnTo>
                      <a:pt x="13928" y="13062"/>
                    </a:lnTo>
                    <a:lnTo>
                      <a:pt x="13927" y="13058"/>
                    </a:lnTo>
                    <a:lnTo>
                      <a:pt x="13926" y="13055"/>
                    </a:lnTo>
                    <a:lnTo>
                      <a:pt x="13927" y="13049"/>
                    </a:lnTo>
                    <a:lnTo>
                      <a:pt x="13929" y="13043"/>
                    </a:lnTo>
                    <a:lnTo>
                      <a:pt x="13934" y="13037"/>
                    </a:lnTo>
                    <a:lnTo>
                      <a:pt x="13941" y="13032"/>
                    </a:lnTo>
                    <a:lnTo>
                      <a:pt x="13956" y="13021"/>
                    </a:lnTo>
                    <a:lnTo>
                      <a:pt x="13970" y="13012"/>
                    </a:lnTo>
                    <a:lnTo>
                      <a:pt x="13978" y="13007"/>
                    </a:lnTo>
                    <a:lnTo>
                      <a:pt x="13982" y="13001"/>
                    </a:lnTo>
                    <a:lnTo>
                      <a:pt x="13986" y="12995"/>
                    </a:lnTo>
                    <a:lnTo>
                      <a:pt x="13987" y="12989"/>
                    </a:lnTo>
                    <a:lnTo>
                      <a:pt x="13968" y="12984"/>
                    </a:lnTo>
                    <a:lnTo>
                      <a:pt x="13945" y="12978"/>
                    </a:lnTo>
                    <a:lnTo>
                      <a:pt x="13921" y="12973"/>
                    </a:lnTo>
                    <a:lnTo>
                      <a:pt x="13902" y="12971"/>
                    </a:lnTo>
                    <a:lnTo>
                      <a:pt x="13897" y="12943"/>
                    </a:lnTo>
                    <a:lnTo>
                      <a:pt x="13890" y="12912"/>
                    </a:lnTo>
                    <a:lnTo>
                      <a:pt x="13886" y="12896"/>
                    </a:lnTo>
                    <a:lnTo>
                      <a:pt x="13880" y="12882"/>
                    </a:lnTo>
                    <a:lnTo>
                      <a:pt x="13876" y="12874"/>
                    </a:lnTo>
                    <a:lnTo>
                      <a:pt x="13873" y="12868"/>
                    </a:lnTo>
                    <a:lnTo>
                      <a:pt x="13868" y="12864"/>
                    </a:lnTo>
                    <a:lnTo>
                      <a:pt x="13863" y="12859"/>
                    </a:lnTo>
                    <a:lnTo>
                      <a:pt x="13851" y="12845"/>
                    </a:lnTo>
                    <a:lnTo>
                      <a:pt x="13840" y="12832"/>
                    </a:lnTo>
                    <a:lnTo>
                      <a:pt x="13831" y="12817"/>
                    </a:lnTo>
                    <a:lnTo>
                      <a:pt x="13824" y="12801"/>
                    </a:lnTo>
                    <a:lnTo>
                      <a:pt x="13817" y="12783"/>
                    </a:lnTo>
                    <a:lnTo>
                      <a:pt x="13811" y="12766"/>
                    </a:lnTo>
                    <a:lnTo>
                      <a:pt x="13808" y="12748"/>
                    </a:lnTo>
                    <a:lnTo>
                      <a:pt x="13804" y="12731"/>
                    </a:lnTo>
                    <a:lnTo>
                      <a:pt x="13805" y="12717"/>
                    </a:lnTo>
                    <a:lnTo>
                      <a:pt x="13807" y="12703"/>
                    </a:lnTo>
                    <a:lnTo>
                      <a:pt x="13809" y="12690"/>
                    </a:lnTo>
                    <a:lnTo>
                      <a:pt x="13811" y="12678"/>
                    </a:lnTo>
                    <a:lnTo>
                      <a:pt x="13815" y="12665"/>
                    </a:lnTo>
                    <a:lnTo>
                      <a:pt x="13817" y="12652"/>
                    </a:lnTo>
                    <a:lnTo>
                      <a:pt x="13820" y="12640"/>
                    </a:lnTo>
                    <a:lnTo>
                      <a:pt x="13821" y="12626"/>
                    </a:lnTo>
                    <a:lnTo>
                      <a:pt x="13821" y="12613"/>
                    </a:lnTo>
                    <a:lnTo>
                      <a:pt x="13821" y="12600"/>
                    </a:lnTo>
                    <a:lnTo>
                      <a:pt x="13819" y="12588"/>
                    </a:lnTo>
                    <a:lnTo>
                      <a:pt x="13817" y="12576"/>
                    </a:lnTo>
                    <a:lnTo>
                      <a:pt x="13814" y="12552"/>
                    </a:lnTo>
                    <a:lnTo>
                      <a:pt x="13813" y="12527"/>
                    </a:lnTo>
                    <a:lnTo>
                      <a:pt x="13809" y="12529"/>
                    </a:lnTo>
                    <a:lnTo>
                      <a:pt x="13805" y="12537"/>
                    </a:lnTo>
                    <a:lnTo>
                      <a:pt x="13801" y="12549"/>
                    </a:lnTo>
                    <a:lnTo>
                      <a:pt x="13796" y="12564"/>
                    </a:lnTo>
                    <a:lnTo>
                      <a:pt x="13786" y="12592"/>
                    </a:lnTo>
                    <a:lnTo>
                      <a:pt x="13780" y="12608"/>
                    </a:lnTo>
                    <a:lnTo>
                      <a:pt x="13774" y="12622"/>
                    </a:lnTo>
                    <a:lnTo>
                      <a:pt x="13766" y="12642"/>
                    </a:lnTo>
                    <a:lnTo>
                      <a:pt x="13761" y="12652"/>
                    </a:lnTo>
                    <a:lnTo>
                      <a:pt x="13757" y="12659"/>
                    </a:lnTo>
                    <a:lnTo>
                      <a:pt x="13754" y="12664"/>
                    </a:lnTo>
                    <a:lnTo>
                      <a:pt x="13753" y="12663"/>
                    </a:lnTo>
                    <a:lnTo>
                      <a:pt x="13749" y="12652"/>
                    </a:lnTo>
                    <a:lnTo>
                      <a:pt x="13745" y="12639"/>
                    </a:lnTo>
                    <a:lnTo>
                      <a:pt x="13743" y="12625"/>
                    </a:lnTo>
                    <a:lnTo>
                      <a:pt x="13740" y="12614"/>
                    </a:lnTo>
                    <a:lnTo>
                      <a:pt x="13737" y="12593"/>
                    </a:lnTo>
                    <a:lnTo>
                      <a:pt x="13733" y="12572"/>
                    </a:lnTo>
                    <a:lnTo>
                      <a:pt x="13727" y="12551"/>
                    </a:lnTo>
                    <a:lnTo>
                      <a:pt x="13722" y="12529"/>
                    </a:lnTo>
                    <a:lnTo>
                      <a:pt x="13716" y="12507"/>
                    </a:lnTo>
                    <a:lnTo>
                      <a:pt x="13712" y="12486"/>
                    </a:lnTo>
                    <a:lnTo>
                      <a:pt x="13708" y="12464"/>
                    </a:lnTo>
                    <a:lnTo>
                      <a:pt x="13707" y="12441"/>
                    </a:lnTo>
                    <a:lnTo>
                      <a:pt x="13704" y="12424"/>
                    </a:lnTo>
                    <a:lnTo>
                      <a:pt x="13700" y="12407"/>
                    </a:lnTo>
                    <a:lnTo>
                      <a:pt x="13694" y="12391"/>
                    </a:lnTo>
                    <a:lnTo>
                      <a:pt x="13688" y="12374"/>
                    </a:lnTo>
                    <a:lnTo>
                      <a:pt x="13685" y="12365"/>
                    </a:lnTo>
                    <a:lnTo>
                      <a:pt x="13684" y="12357"/>
                    </a:lnTo>
                    <a:lnTo>
                      <a:pt x="13683" y="12348"/>
                    </a:lnTo>
                    <a:lnTo>
                      <a:pt x="13682" y="12340"/>
                    </a:lnTo>
                    <a:lnTo>
                      <a:pt x="13683" y="12332"/>
                    </a:lnTo>
                    <a:lnTo>
                      <a:pt x="13684" y="12324"/>
                    </a:lnTo>
                    <a:lnTo>
                      <a:pt x="13688" y="12316"/>
                    </a:lnTo>
                    <a:lnTo>
                      <a:pt x="13691" y="12309"/>
                    </a:lnTo>
                    <a:lnTo>
                      <a:pt x="13704" y="12296"/>
                    </a:lnTo>
                    <a:lnTo>
                      <a:pt x="13716" y="12285"/>
                    </a:lnTo>
                    <a:lnTo>
                      <a:pt x="13721" y="12279"/>
                    </a:lnTo>
                    <a:lnTo>
                      <a:pt x="13724" y="12273"/>
                    </a:lnTo>
                    <a:lnTo>
                      <a:pt x="13724" y="12269"/>
                    </a:lnTo>
                    <a:lnTo>
                      <a:pt x="13724" y="12265"/>
                    </a:lnTo>
                    <a:lnTo>
                      <a:pt x="13722" y="12261"/>
                    </a:lnTo>
                    <a:lnTo>
                      <a:pt x="13720" y="12256"/>
                    </a:lnTo>
                    <a:lnTo>
                      <a:pt x="13719" y="12252"/>
                    </a:lnTo>
                    <a:lnTo>
                      <a:pt x="13715" y="12250"/>
                    </a:lnTo>
                    <a:lnTo>
                      <a:pt x="13712" y="12250"/>
                    </a:lnTo>
                    <a:lnTo>
                      <a:pt x="13708" y="12250"/>
                    </a:lnTo>
                    <a:lnTo>
                      <a:pt x="13700" y="12253"/>
                    </a:lnTo>
                    <a:lnTo>
                      <a:pt x="13690" y="12258"/>
                    </a:lnTo>
                    <a:lnTo>
                      <a:pt x="13671" y="12274"/>
                    </a:lnTo>
                    <a:lnTo>
                      <a:pt x="13655" y="12285"/>
                    </a:lnTo>
                    <a:lnTo>
                      <a:pt x="13650" y="12286"/>
                    </a:lnTo>
                    <a:lnTo>
                      <a:pt x="13645" y="12286"/>
                    </a:lnTo>
                    <a:lnTo>
                      <a:pt x="13643" y="12285"/>
                    </a:lnTo>
                    <a:lnTo>
                      <a:pt x="13641" y="12282"/>
                    </a:lnTo>
                    <a:lnTo>
                      <a:pt x="13638" y="12279"/>
                    </a:lnTo>
                    <a:lnTo>
                      <a:pt x="13637" y="12274"/>
                    </a:lnTo>
                    <a:lnTo>
                      <a:pt x="13636" y="12269"/>
                    </a:lnTo>
                    <a:lnTo>
                      <a:pt x="13636" y="12263"/>
                    </a:lnTo>
                    <a:lnTo>
                      <a:pt x="13637" y="12238"/>
                    </a:lnTo>
                    <a:lnTo>
                      <a:pt x="13638" y="12219"/>
                    </a:lnTo>
                    <a:lnTo>
                      <a:pt x="13638" y="12191"/>
                    </a:lnTo>
                    <a:lnTo>
                      <a:pt x="13639" y="12162"/>
                    </a:lnTo>
                    <a:lnTo>
                      <a:pt x="13639" y="12148"/>
                    </a:lnTo>
                    <a:lnTo>
                      <a:pt x="13639" y="12134"/>
                    </a:lnTo>
                    <a:lnTo>
                      <a:pt x="13638" y="12121"/>
                    </a:lnTo>
                    <a:lnTo>
                      <a:pt x="13636" y="12108"/>
                    </a:lnTo>
                    <a:lnTo>
                      <a:pt x="13632" y="12110"/>
                    </a:lnTo>
                    <a:lnTo>
                      <a:pt x="13630" y="12113"/>
                    </a:lnTo>
                    <a:lnTo>
                      <a:pt x="13626" y="12116"/>
                    </a:lnTo>
                    <a:lnTo>
                      <a:pt x="13624" y="12121"/>
                    </a:lnTo>
                    <a:lnTo>
                      <a:pt x="13619" y="12132"/>
                    </a:lnTo>
                    <a:lnTo>
                      <a:pt x="13615" y="12144"/>
                    </a:lnTo>
                    <a:lnTo>
                      <a:pt x="13612" y="12156"/>
                    </a:lnTo>
                    <a:lnTo>
                      <a:pt x="13609" y="12169"/>
                    </a:lnTo>
                    <a:lnTo>
                      <a:pt x="13608" y="12179"/>
                    </a:lnTo>
                    <a:lnTo>
                      <a:pt x="13608" y="12187"/>
                    </a:lnTo>
                    <a:lnTo>
                      <a:pt x="13607" y="12194"/>
                    </a:lnTo>
                    <a:lnTo>
                      <a:pt x="13606" y="12200"/>
                    </a:lnTo>
                    <a:lnTo>
                      <a:pt x="13603" y="12205"/>
                    </a:lnTo>
                    <a:lnTo>
                      <a:pt x="13601" y="12209"/>
                    </a:lnTo>
                    <a:lnTo>
                      <a:pt x="13597" y="12211"/>
                    </a:lnTo>
                    <a:lnTo>
                      <a:pt x="13592" y="12214"/>
                    </a:lnTo>
                    <a:lnTo>
                      <a:pt x="13589" y="12215"/>
                    </a:lnTo>
                    <a:lnTo>
                      <a:pt x="13584" y="12215"/>
                    </a:lnTo>
                    <a:lnTo>
                      <a:pt x="13562" y="12212"/>
                    </a:lnTo>
                    <a:lnTo>
                      <a:pt x="13544" y="12210"/>
                    </a:lnTo>
                    <a:lnTo>
                      <a:pt x="13544" y="12214"/>
                    </a:lnTo>
                    <a:lnTo>
                      <a:pt x="13547" y="12219"/>
                    </a:lnTo>
                    <a:lnTo>
                      <a:pt x="13549" y="12222"/>
                    </a:lnTo>
                    <a:lnTo>
                      <a:pt x="13552" y="12226"/>
                    </a:lnTo>
                    <a:lnTo>
                      <a:pt x="13559" y="12234"/>
                    </a:lnTo>
                    <a:lnTo>
                      <a:pt x="13568" y="12241"/>
                    </a:lnTo>
                    <a:lnTo>
                      <a:pt x="13577" y="12249"/>
                    </a:lnTo>
                    <a:lnTo>
                      <a:pt x="13584" y="12256"/>
                    </a:lnTo>
                    <a:lnTo>
                      <a:pt x="13588" y="12259"/>
                    </a:lnTo>
                    <a:lnTo>
                      <a:pt x="13590" y="12263"/>
                    </a:lnTo>
                    <a:lnTo>
                      <a:pt x="13592" y="12267"/>
                    </a:lnTo>
                    <a:lnTo>
                      <a:pt x="13592" y="12270"/>
                    </a:lnTo>
                    <a:lnTo>
                      <a:pt x="13592" y="12275"/>
                    </a:lnTo>
                    <a:lnTo>
                      <a:pt x="13591" y="12277"/>
                    </a:lnTo>
                    <a:lnTo>
                      <a:pt x="13589" y="12280"/>
                    </a:lnTo>
                    <a:lnTo>
                      <a:pt x="13585" y="12280"/>
                    </a:lnTo>
                    <a:lnTo>
                      <a:pt x="13574" y="12279"/>
                    </a:lnTo>
                    <a:lnTo>
                      <a:pt x="13562" y="12275"/>
                    </a:lnTo>
                    <a:lnTo>
                      <a:pt x="13538" y="12265"/>
                    </a:lnTo>
                    <a:lnTo>
                      <a:pt x="13523" y="12259"/>
                    </a:lnTo>
                    <a:lnTo>
                      <a:pt x="13524" y="12264"/>
                    </a:lnTo>
                    <a:lnTo>
                      <a:pt x="13527" y="12270"/>
                    </a:lnTo>
                    <a:lnTo>
                      <a:pt x="13533" y="12277"/>
                    </a:lnTo>
                    <a:lnTo>
                      <a:pt x="13539" y="12285"/>
                    </a:lnTo>
                    <a:lnTo>
                      <a:pt x="13553" y="12297"/>
                    </a:lnTo>
                    <a:lnTo>
                      <a:pt x="13562" y="12308"/>
                    </a:lnTo>
                    <a:lnTo>
                      <a:pt x="13572" y="12321"/>
                    </a:lnTo>
                    <a:lnTo>
                      <a:pt x="13580" y="12334"/>
                    </a:lnTo>
                    <a:lnTo>
                      <a:pt x="13588" y="12348"/>
                    </a:lnTo>
                    <a:lnTo>
                      <a:pt x="13595" y="12365"/>
                    </a:lnTo>
                    <a:lnTo>
                      <a:pt x="13603" y="12387"/>
                    </a:lnTo>
                    <a:lnTo>
                      <a:pt x="13608" y="12409"/>
                    </a:lnTo>
                    <a:lnTo>
                      <a:pt x="13613" y="12432"/>
                    </a:lnTo>
                    <a:lnTo>
                      <a:pt x="13617" y="12456"/>
                    </a:lnTo>
                    <a:lnTo>
                      <a:pt x="13621" y="12478"/>
                    </a:lnTo>
                    <a:lnTo>
                      <a:pt x="13625" y="12501"/>
                    </a:lnTo>
                    <a:lnTo>
                      <a:pt x="13630" y="12525"/>
                    </a:lnTo>
                    <a:lnTo>
                      <a:pt x="13637" y="12547"/>
                    </a:lnTo>
                    <a:lnTo>
                      <a:pt x="13647" y="12577"/>
                    </a:lnTo>
                    <a:lnTo>
                      <a:pt x="13656" y="12610"/>
                    </a:lnTo>
                    <a:lnTo>
                      <a:pt x="13660" y="12626"/>
                    </a:lnTo>
                    <a:lnTo>
                      <a:pt x="13663" y="12643"/>
                    </a:lnTo>
                    <a:lnTo>
                      <a:pt x="13665" y="12659"/>
                    </a:lnTo>
                    <a:lnTo>
                      <a:pt x="13665" y="12673"/>
                    </a:lnTo>
                    <a:lnTo>
                      <a:pt x="13672" y="12688"/>
                    </a:lnTo>
                    <a:lnTo>
                      <a:pt x="13678" y="12705"/>
                    </a:lnTo>
                    <a:lnTo>
                      <a:pt x="13684" y="12723"/>
                    </a:lnTo>
                    <a:lnTo>
                      <a:pt x="13691" y="12738"/>
                    </a:lnTo>
                    <a:lnTo>
                      <a:pt x="13697" y="12750"/>
                    </a:lnTo>
                    <a:lnTo>
                      <a:pt x="13701" y="12760"/>
                    </a:lnTo>
                    <a:lnTo>
                      <a:pt x="13701" y="12765"/>
                    </a:lnTo>
                    <a:lnTo>
                      <a:pt x="13700" y="12770"/>
                    </a:lnTo>
                    <a:lnTo>
                      <a:pt x="13697" y="12776"/>
                    </a:lnTo>
                    <a:lnTo>
                      <a:pt x="13691" y="12781"/>
                    </a:lnTo>
                    <a:lnTo>
                      <a:pt x="13688" y="12787"/>
                    </a:lnTo>
                    <a:lnTo>
                      <a:pt x="13685" y="12791"/>
                    </a:lnTo>
                    <a:lnTo>
                      <a:pt x="13684" y="12797"/>
                    </a:lnTo>
                    <a:lnTo>
                      <a:pt x="13685" y="12803"/>
                    </a:lnTo>
                    <a:lnTo>
                      <a:pt x="13686" y="12809"/>
                    </a:lnTo>
                    <a:lnTo>
                      <a:pt x="13689" y="12817"/>
                    </a:lnTo>
                    <a:lnTo>
                      <a:pt x="13692" y="12823"/>
                    </a:lnTo>
                    <a:lnTo>
                      <a:pt x="13696" y="12830"/>
                    </a:lnTo>
                    <a:lnTo>
                      <a:pt x="13704" y="12843"/>
                    </a:lnTo>
                    <a:lnTo>
                      <a:pt x="13713" y="12858"/>
                    </a:lnTo>
                    <a:lnTo>
                      <a:pt x="13721" y="12871"/>
                    </a:lnTo>
                    <a:lnTo>
                      <a:pt x="13726" y="12883"/>
                    </a:lnTo>
                    <a:lnTo>
                      <a:pt x="13732" y="12904"/>
                    </a:lnTo>
                    <a:lnTo>
                      <a:pt x="13738" y="12925"/>
                    </a:lnTo>
                    <a:lnTo>
                      <a:pt x="13740" y="12935"/>
                    </a:lnTo>
                    <a:lnTo>
                      <a:pt x="13743" y="12945"/>
                    </a:lnTo>
                    <a:lnTo>
                      <a:pt x="13744" y="12957"/>
                    </a:lnTo>
                    <a:lnTo>
                      <a:pt x="13745" y="12969"/>
                    </a:lnTo>
                    <a:lnTo>
                      <a:pt x="13744" y="12989"/>
                    </a:lnTo>
                    <a:lnTo>
                      <a:pt x="13743" y="13007"/>
                    </a:lnTo>
                    <a:lnTo>
                      <a:pt x="13739" y="13024"/>
                    </a:lnTo>
                    <a:lnTo>
                      <a:pt x="13737" y="13042"/>
                    </a:lnTo>
                    <a:lnTo>
                      <a:pt x="13734" y="13058"/>
                    </a:lnTo>
                    <a:lnTo>
                      <a:pt x="13731" y="13077"/>
                    </a:lnTo>
                    <a:lnTo>
                      <a:pt x="13730" y="13095"/>
                    </a:lnTo>
                    <a:lnTo>
                      <a:pt x="13728" y="13111"/>
                    </a:lnTo>
                    <a:lnTo>
                      <a:pt x="13727" y="13113"/>
                    </a:lnTo>
                    <a:lnTo>
                      <a:pt x="13718" y="13111"/>
                    </a:lnTo>
                    <a:lnTo>
                      <a:pt x="13706" y="13108"/>
                    </a:lnTo>
                    <a:lnTo>
                      <a:pt x="13695" y="13103"/>
                    </a:lnTo>
                    <a:lnTo>
                      <a:pt x="13683" y="13097"/>
                    </a:lnTo>
                    <a:lnTo>
                      <a:pt x="13671" y="13091"/>
                    </a:lnTo>
                    <a:lnTo>
                      <a:pt x="13659" y="13085"/>
                    </a:lnTo>
                    <a:lnTo>
                      <a:pt x="13647" y="13080"/>
                    </a:lnTo>
                    <a:lnTo>
                      <a:pt x="13637" y="13077"/>
                    </a:lnTo>
                    <a:lnTo>
                      <a:pt x="13632" y="13063"/>
                    </a:lnTo>
                    <a:lnTo>
                      <a:pt x="13627" y="13050"/>
                    </a:lnTo>
                    <a:lnTo>
                      <a:pt x="13621" y="13037"/>
                    </a:lnTo>
                    <a:lnTo>
                      <a:pt x="13615" y="13025"/>
                    </a:lnTo>
                    <a:lnTo>
                      <a:pt x="13601" y="13000"/>
                    </a:lnTo>
                    <a:lnTo>
                      <a:pt x="13585" y="12977"/>
                    </a:lnTo>
                    <a:lnTo>
                      <a:pt x="13580" y="12971"/>
                    </a:lnTo>
                    <a:lnTo>
                      <a:pt x="13576" y="12966"/>
                    </a:lnTo>
                    <a:lnTo>
                      <a:pt x="13571" y="12962"/>
                    </a:lnTo>
                    <a:lnTo>
                      <a:pt x="13565" y="12959"/>
                    </a:lnTo>
                    <a:lnTo>
                      <a:pt x="13558" y="12956"/>
                    </a:lnTo>
                    <a:lnTo>
                      <a:pt x="13552" y="12955"/>
                    </a:lnTo>
                    <a:lnTo>
                      <a:pt x="13544" y="12955"/>
                    </a:lnTo>
                    <a:lnTo>
                      <a:pt x="13537" y="12955"/>
                    </a:lnTo>
                    <a:lnTo>
                      <a:pt x="13508" y="12957"/>
                    </a:lnTo>
                    <a:lnTo>
                      <a:pt x="13481" y="12961"/>
                    </a:lnTo>
                    <a:lnTo>
                      <a:pt x="13466" y="12963"/>
                    </a:lnTo>
                    <a:lnTo>
                      <a:pt x="13444" y="12966"/>
                    </a:lnTo>
                    <a:lnTo>
                      <a:pt x="13423" y="12967"/>
                    </a:lnTo>
                    <a:lnTo>
                      <a:pt x="13413" y="12967"/>
                    </a:lnTo>
                    <a:lnTo>
                      <a:pt x="13412" y="12967"/>
                    </a:lnTo>
                    <a:lnTo>
                      <a:pt x="13412" y="12959"/>
                    </a:lnTo>
                    <a:lnTo>
                      <a:pt x="13414" y="12950"/>
                    </a:lnTo>
                    <a:lnTo>
                      <a:pt x="13417" y="12943"/>
                    </a:lnTo>
                    <a:lnTo>
                      <a:pt x="13420" y="12936"/>
                    </a:lnTo>
                    <a:lnTo>
                      <a:pt x="13429" y="12921"/>
                    </a:lnTo>
                    <a:lnTo>
                      <a:pt x="13436" y="12906"/>
                    </a:lnTo>
                    <a:lnTo>
                      <a:pt x="13438" y="12884"/>
                    </a:lnTo>
                    <a:lnTo>
                      <a:pt x="13441" y="12859"/>
                    </a:lnTo>
                    <a:lnTo>
                      <a:pt x="13441" y="12847"/>
                    </a:lnTo>
                    <a:lnTo>
                      <a:pt x="13440" y="12836"/>
                    </a:lnTo>
                    <a:lnTo>
                      <a:pt x="13438" y="12830"/>
                    </a:lnTo>
                    <a:lnTo>
                      <a:pt x="13436" y="12825"/>
                    </a:lnTo>
                    <a:lnTo>
                      <a:pt x="13434" y="12820"/>
                    </a:lnTo>
                    <a:lnTo>
                      <a:pt x="13430" y="12815"/>
                    </a:lnTo>
                    <a:lnTo>
                      <a:pt x="13408" y="12793"/>
                    </a:lnTo>
                    <a:lnTo>
                      <a:pt x="13388" y="12766"/>
                    </a:lnTo>
                    <a:lnTo>
                      <a:pt x="13378" y="12753"/>
                    </a:lnTo>
                    <a:lnTo>
                      <a:pt x="13370" y="12740"/>
                    </a:lnTo>
                    <a:lnTo>
                      <a:pt x="13363" y="12725"/>
                    </a:lnTo>
                    <a:lnTo>
                      <a:pt x="13357" y="12711"/>
                    </a:lnTo>
                    <a:lnTo>
                      <a:pt x="13353" y="12701"/>
                    </a:lnTo>
                    <a:lnTo>
                      <a:pt x="13352" y="12693"/>
                    </a:lnTo>
                    <a:lnTo>
                      <a:pt x="13351" y="12684"/>
                    </a:lnTo>
                    <a:lnTo>
                      <a:pt x="13349" y="12675"/>
                    </a:lnTo>
                    <a:lnTo>
                      <a:pt x="13348" y="12658"/>
                    </a:lnTo>
                    <a:lnTo>
                      <a:pt x="13345" y="12640"/>
                    </a:lnTo>
                    <a:lnTo>
                      <a:pt x="13343" y="12630"/>
                    </a:lnTo>
                    <a:lnTo>
                      <a:pt x="13343" y="12622"/>
                    </a:lnTo>
                    <a:lnTo>
                      <a:pt x="13346" y="12617"/>
                    </a:lnTo>
                    <a:lnTo>
                      <a:pt x="13349" y="12612"/>
                    </a:lnTo>
                    <a:lnTo>
                      <a:pt x="13360" y="12604"/>
                    </a:lnTo>
                    <a:lnTo>
                      <a:pt x="13377" y="12595"/>
                    </a:lnTo>
                    <a:lnTo>
                      <a:pt x="13399" y="12587"/>
                    </a:lnTo>
                    <a:lnTo>
                      <a:pt x="13430" y="12578"/>
                    </a:lnTo>
                    <a:lnTo>
                      <a:pt x="13446" y="12572"/>
                    </a:lnTo>
                    <a:lnTo>
                      <a:pt x="13459" y="12566"/>
                    </a:lnTo>
                    <a:lnTo>
                      <a:pt x="13464" y="12563"/>
                    </a:lnTo>
                    <a:lnTo>
                      <a:pt x="13467" y="12558"/>
                    </a:lnTo>
                    <a:lnTo>
                      <a:pt x="13470" y="12553"/>
                    </a:lnTo>
                    <a:lnTo>
                      <a:pt x="13471" y="12548"/>
                    </a:lnTo>
                    <a:lnTo>
                      <a:pt x="13466" y="12547"/>
                    </a:lnTo>
                    <a:lnTo>
                      <a:pt x="13461" y="12546"/>
                    </a:lnTo>
                    <a:lnTo>
                      <a:pt x="13456" y="12546"/>
                    </a:lnTo>
                    <a:lnTo>
                      <a:pt x="13452" y="12546"/>
                    </a:lnTo>
                    <a:lnTo>
                      <a:pt x="13441" y="12548"/>
                    </a:lnTo>
                    <a:lnTo>
                      <a:pt x="13431" y="12551"/>
                    </a:lnTo>
                    <a:lnTo>
                      <a:pt x="13413" y="12548"/>
                    </a:lnTo>
                    <a:lnTo>
                      <a:pt x="13397" y="12545"/>
                    </a:lnTo>
                    <a:lnTo>
                      <a:pt x="13388" y="12546"/>
                    </a:lnTo>
                    <a:lnTo>
                      <a:pt x="13381" y="12548"/>
                    </a:lnTo>
                    <a:lnTo>
                      <a:pt x="13373" y="12553"/>
                    </a:lnTo>
                    <a:lnTo>
                      <a:pt x="13366" y="12558"/>
                    </a:lnTo>
                    <a:lnTo>
                      <a:pt x="13360" y="12563"/>
                    </a:lnTo>
                    <a:lnTo>
                      <a:pt x="13353" y="12568"/>
                    </a:lnTo>
                    <a:lnTo>
                      <a:pt x="13346" y="12571"/>
                    </a:lnTo>
                    <a:lnTo>
                      <a:pt x="13337" y="12572"/>
                    </a:lnTo>
                    <a:lnTo>
                      <a:pt x="13336" y="12571"/>
                    </a:lnTo>
                    <a:lnTo>
                      <a:pt x="13336" y="12553"/>
                    </a:lnTo>
                    <a:lnTo>
                      <a:pt x="13335" y="12537"/>
                    </a:lnTo>
                    <a:lnTo>
                      <a:pt x="13334" y="12529"/>
                    </a:lnTo>
                    <a:lnTo>
                      <a:pt x="13331" y="12522"/>
                    </a:lnTo>
                    <a:lnTo>
                      <a:pt x="13329" y="12513"/>
                    </a:lnTo>
                    <a:lnTo>
                      <a:pt x="13324" y="12506"/>
                    </a:lnTo>
                    <a:lnTo>
                      <a:pt x="13313" y="12489"/>
                    </a:lnTo>
                    <a:lnTo>
                      <a:pt x="13298" y="12469"/>
                    </a:lnTo>
                    <a:lnTo>
                      <a:pt x="13290" y="12458"/>
                    </a:lnTo>
                    <a:lnTo>
                      <a:pt x="13284" y="12448"/>
                    </a:lnTo>
                    <a:lnTo>
                      <a:pt x="13280" y="12440"/>
                    </a:lnTo>
                    <a:lnTo>
                      <a:pt x="13277" y="12432"/>
                    </a:lnTo>
                    <a:lnTo>
                      <a:pt x="13275" y="12432"/>
                    </a:lnTo>
                    <a:lnTo>
                      <a:pt x="13276" y="12441"/>
                    </a:lnTo>
                    <a:lnTo>
                      <a:pt x="13280" y="12451"/>
                    </a:lnTo>
                    <a:lnTo>
                      <a:pt x="13283" y="12460"/>
                    </a:lnTo>
                    <a:lnTo>
                      <a:pt x="13288" y="12470"/>
                    </a:lnTo>
                    <a:lnTo>
                      <a:pt x="13293" y="12480"/>
                    </a:lnTo>
                    <a:lnTo>
                      <a:pt x="13296" y="12488"/>
                    </a:lnTo>
                    <a:lnTo>
                      <a:pt x="13296" y="12493"/>
                    </a:lnTo>
                    <a:lnTo>
                      <a:pt x="13296" y="12496"/>
                    </a:lnTo>
                    <a:lnTo>
                      <a:pt x="13296" y="12501"/>
                    </a:lnTo>
                    <a:lnTo>
                      <a:pt x="13295" y="12505"/>
                    </a:lnTo>
                    <a:lnTo>
                      <a:pt x="13282" y="12522"/>
                    </a:lnTo>
                    <a:lnTo>
                      <a:pt x="13270" y="12539"/>
                    </a:lnTo>
                    <a:lnTo>
                      <a:pt x="13267" y="12542"/>
                    </a:lnTo>
                    <a:lnTo>
                      <a:pt x="13267" y="12546"/>
                    </a:lnTo>
                    <a:lnTo>
                      <a:pt x="13267" y="12549"/>
                    </a:lnTo>
                    <a:lnTo>
                      <a:pt x="13269" y="12554"/>
                    </a:lnTo>
                    <a:lnTo>
                      <a:pt x="13271" y="12558"/>
                    </a:lnTo>
                    <a:lnTo>
                      <a:pt x="13276" y="12561"/>
                    </a:lnTo>
                    <a:lnTo>
                      <a:pt x="13282" y="12565"/>
                    </a:lnTo>
                    <a:lnTo>
                      <a:pt x="13290" y="12569"/>
                    </a:lnTo>
                    <a:lnTo>
                      <a:pt x="13298" y="12572"/>
                    </a:lnTo>
                    <a:lnTo>
                      <a:pt x="13302" y="12577"/>
                    </a:lnTo>
                    <a:lnTo>
                      <a:pt x="13304" y="12582"/>
                    </a:lnTo>
                    <a:lnTo>
                      <a:pt x="13302" y="12587"/>
                    </a:lnTo>
                    <a:lnTo>
                      <a:pt x="13296" y="12598"/>
                    </a:lnTo>
                    <a:lnTo>
                      <a:pt x="13288" y="12610"/>
                    </a:lnTo>
                    <a:lnTo>
                      <a:pt x="13281" y="12625"/>
                    </a:lnTo>
                    <a:lnTo>
                      <a:pt x="13271" y="12647"/>
                    </a:lnTo>
                    <a:lnTo>
                      <a:pt x="13265" y="12658"/>
                    </a:lnTo>
                    <a:lnTo>
                      <a:pt x="13259" y="12666"/>
                    </a:lnTo>
                    <a:lnTo>
                      <a:pt x="13257" y="12669"/>
                    </a:lnTo>
                    <a:lnTo>
                      <a:pt x="13253" y="12671"/>
                    </a:lnTo>
                    <a:lnTo>
                      <a:pt x="13251" y="12673"/>
                    </a:lnTo>
                    <a:lnTo>
                      <a:pt x="13247" y="12673"/>
                    </a:lnTo>
                    <a:lnTo>
                      <a:pt x="13243" y="12673"/>
                    </a:lnTo>
                    <a:lnTo>
                      <a:pt x="13239" y="12671"/>
                    </a:lnTo>
                    <a:lnTo>
                      <a:pt x="13235" y="12669"/>
                    </a:lnTo>
                    <a:lnTo>
                      <a:pt x="13231" y="12666"/>
                    </a:lnTo>
                    <a:lnTo>
                      <a:pt x="13224" y="12658"/>
                    </a:lnTo>
                    <a:lnTo>
                      <a:pt x="13217" y="12648"/>
                    </a:lnTo>
                    <a:lnTo>
                      <a:pt x="13210" y="12639"/>
                    </a:lnTo>
                    <a:lnTo>
                      <a:pt x="13201" y="12630"/>
                    </a:lnTo>
                    <a:lnTo>
                      <a:pt x="13196" y="12626"/>
                    </a:lnTo>
                    <a:lnTo>
                      <a:pt x="13192" y="12624"/>
                    </a:lnTo>
                    <a:lnTo>
                      <a:pt x="13187" y="12623"/>
                    </a:lnTo>
                    <a:lnTo>
                      <a:pt x="13181" y="12622"/>
                    </a:lnTo>
                    <a:lnTo>
                      <a:pt x="13182" y="12631"/>
                    </a:lnTo>
                    <a:lnTo>
                      <a:pt x="13183" y="12640"/>
                    </a:lnTo>
                    <a:lnTo>
                      <a:pt x="13184" y="12648"/>
                    </a:lnTo>
                    <a:lnTo>
                      <a:pt x="13188" y="12658"/>
                    </a:lnTo>
                    <a:lnTo>
                      <a:pt x="13194" y="12675"/>
                    </a:lnTo>
                    <a:lnTo>
                      <a:pt x="13200" y="12691"/>
                    </a:lnTo>
                    <a:lnTo>
                      <a:pt x="13203" y="12700"/>
                    </a:lnTo>
                    <a:lnTo>
                      <a:pt x="13204" y="12708"/>
                    </a:lnTo>
                    <a:lnTo>
                      <a:pt x="13204" y="12717"/>
                    </a:lnTo>
                    <a:lnTo>
                      <a:pt x="13203" y="12726"/>
                    </a:lnTo>
                    <a:lnTo>
                      <a:pt x="13199" y="12744"/>
                    </a:lnTo>
                    <a:lnTo>
                      <a:pt x="13195" y="12761"/>
                    </a:lnTo>
                    <a:lnTo>
                      <a:pt x="13196" y="12766"/>
                    </a:lnTo>
                    <a:lnTo>
                      <a:pt x="13199" y="12770"/>
                    </a:lnTo>
                    <a:lnTo>
                      <a:pt x="13203" y="12774"/>
                    </a:lnTo>
                    <a:lnTo>
                      <a:pt x="13206" y="12777"/>
                    </a:lnTo>
                    <a:lnTo>
                      <a:pt x="13215" y="12782"/>
                    </a:lnTo>
                    <a:lnTo>
                      <a:pt x="13224" y="12785"/>
                    </a:lnTo>
                    <a:lnTo>
                      <a:pt x="13235" y="12788"/>
                    </a:lnTo>
                    <a:lnTo>
                      <a:pt x="13247" y="12788"/>
                    </a:lnTo>
                    <a:lnTo>
                      <a:pt x="13258" y="12789"/>
                    </a:lnTo>
                    <a:lnTo>
                      <a:pt x="13269" y="12789"/>
                    </a:lnTo>
                    <a:lnTo>
                      <a:pt x="13272" y="12789"/>
                    </a:lnTo>
                    <a:lnTo>
                      <a:pt x="13277" y="12791"/>
                    </a:lnTo>
                    <a:lnTo>
                      <a:pt x="13280" y="12796"/>
                    </a:lnTo>
                    <a:lnTo>
                      <a:pt x="13282" y="12801"/>
                    </a:lnTo>
                    <a:lnTo>
                      <a:pt x="13286" y="12814"/>
                    </a:lnTo>
                    <a:lnTo>
                      <a:pt x="13288" y="12830"/>
                    </a:lnTo>
                    <a:lnTo>
                      <a:pt x="13290" y="12848"/>
                    </a:lnTo>
                    <a:lnTo>
                      <a:pt x="13294" y="12865"/>
                    </a:lnTo>
                    <a:lnTo>
                      <a:pt x="13298" y="12872"/>
                    </a:lnTo>
                    <a:lnTo>
                      <a:pt x="13300" y="12879"/>
                    </a:lnTo>
                    <a:lnTo>
                      <a:pt x="13305" y="12886"/>
                    </a:lnTo>
                    <a:lnTo>
                      <a:pt x="13310" y="12891"/>
                    </a:lnTo>
                    <a:lnTo>
                      <a:pt x="13313" y="12897"/>
                    </a:lnTo>
                    <a:lnTo>
                      <a:pt x="13317" y="12907"/>
                    </a:lnTo>
                    <a:lnTo>
                      <a:pt x="13319" y="12919"/>
                    </a:lnTo>
                    <a:lnTo>
                      <a:pt x="13323" y="12932"/>
                    </a:lnTo>
                    <a:lnTo>
                      <a:pt x="13328" y="12957"/>
                    </a:lnTo>
                    <a:lnTo>
                      <a:pt x="13329" y="12968"/>
                    </a:lnTo>
                    <a:lnTo>
                      <a:pt x="13324" y="12973"/>
                    </a:lnTo>
                    <a:lnTo>
                      <a:pt x="13319" y="12977"/>
                    </a:lnTo>
                    <a:lnTo>
                      <a:pt x="13313" y="12980"/>
                    </a:lnTo>
                    <a:lnTo>
                      <a:pt x="13308" y="12984"/>
                    </a:lnTo>
                    <a:lnTo>
                      <a:pt x="13296" y="12987"/>
                    </a:lnTo>
                    <a:lnTo>
                      <a:pt x="13284" y="12992"/>
                    </a:lnTo>
                    <a:lnTo>
                      <a:pt x="13271" y="12996"/>
                    </a:lnTo>
                    <a:lnTo>
                      <a:pt x="13260" y="13001"/>
                    </a:lnTo>
                    <a:lnTo>
                      <a:pt x="13254" y="13004"/>
                    </a:lnTo>
                    <a:lnTo>
                      <a:pt x="13249" y="13008"/>
                    </a:lnTo>
                    <a:lnTo>
                      <a:pt x="13245" y="13012"/>
                    </a:lnTo>
                    <a:lnTo>
                      <a:pt x="13241" y="13016"/>
                    </a:lnTo>
                    <a:lnTo>
                      <a:pt x="13240" y="12998"/>
                    </a:lnTo>
                    <a:lnTo>
                      <a:pt x="13239" y="12975"/>
                    </a:lnTo>
                    <a:lnTo>
                      <a:pt x="13237" y="12965"/>
                    </a:lnTo>
                    <a:lnTo>
                      <a:pt x="13236" y="12956"/>
                    </a:lnTo>
                    <a:lnTo>
                      <a:pt x="13235" y="12950"/>
                    </a:lnTo>
                    <a:lnTo>
                      <a:pt x="13234" y="12949"/>
                    </a:lnTo>
                    <a:lnTo>
                      <a:pt x="13216" y="12953"/>
                    </a:lnTo>
                    <a:lnTo>
                      <a:pt x="13195" y="12954"/>
                    </a:lnTo>
                    <a:lnTo>
                      <a:pt x="13187" y="12955"/>
                    </a:lnTo>
                    <a:lnTo>
                      <a:pt x="13180" y="12955"/>
                    </a:lnTo>
                    <a:lnTo>
                      <a:pt x="13175" y="12956"/>
                    </a:lnTo>
                    <a:lnTo>
                      <a:pt x="13172" y="12959"/>
                    </a:lnTo>
                    <a:lnTo>
                      <a:pt x="13172" y="12973"/>
                    </a:lnTo>
                    <a:lnTo>
                      <a:pt x="13174" y="12989"/>
                    </a:lnTo>
                    <a:lnTo>
                      <a:pt x="13175" y="13004"/>
                    </a:lnTo>
                    <a:lnTo>
                      <a:pt x="13178" y="13019"/>
                    </a:lnTo>
                    <a:lnTo>
                      <a:pt x="13180" y="13024"/>
                    </a:lnTo>
                    <a:lnTo>
                      <a:pt x="13180" y="13027"/>
                    </a:lnTo>
                    <a:lnTo>
                      <a:pt x="13180" y="13031"/>
                    </a:lnTo>
                    <a:lnTo>
                      <a:pt x="13178" y="13033"/>
                    </a:lnTo>
                    <a:lnTo>
                      <a:pt x="13177" y="13034"/>
                    </a:lnTo>
                    <a:lnTo>
                      <a:pt x="13176" y="13034"/>
                    </a:lnTo>
                    <a:lnTo>
                      <a:pt x="13174" y="13034"/>
                    </a:lnTo>
                    <a:lnTo>
                      <a:pt x="13171" y="13034"/>
                    </a:lnTo>
                    <a:lnTo>
                      <a:pt x="13165" y="13032"/>
                    </a:lnTo>
                    <a:lnTo>
                      <a:pt x="13160" y="13027"/>
                    </a:lnTo>
                    <a:lnTo>
                      <a:pt x="13156" y="13022"/>
                    </a:lnTo>
                    <a:lnTo>
                      <a:pt x="13152" y="13015"/>
                    </a:lnTo>
                    <a:lnTo>
                      <a:pt x="13147" y="12992"/>
                    </a:lnTo>
                    <a:lnTo>
                      <a:pt x="13141" y="12971"/>
                    </a:lnTo>
                    <a:lnTo>
                      <a:pt x="13139" y="12967"/>
                    </a:lnTo>
                    <a:lnTo>
                      <a:pt x="13138" y="12965"/>
                    </a:lnTo>
                    <a:lnTo>
                      <a:pt x="13135" y="12963"/>
                    </a:lnTo>
                    <a:lnTo>
                      <a:pt x="13133" y="12965"/>
                    </a:lnTo>
                    <a:lnTo>
                      <a:pt x="13130" y="12967"/>
                    </a:lnTo>
                    <a:lnTo>
                      <a:pt x="13128" y="12972"/>
                    </a:lnTo>
                    <a:lnTo>
                      <a:pt x="13124" y="12979"/>
                    </a:lnTo>
                    <a:lnTo>
                      <a:pt x="13121" y="12989"/>
                    </a:lnTo>
                    <a:lnTo>
                      <a:pt x="13118" y="13001"/>
                    </a:lnTo>
                    <a:lnTo>
                      <a:pt x="13116" y="13015"/>
                    </a:lnTo>
                    <a:lnTo>
                      <a:pt x="13115" y="13031"/>
                    </a:lnTo>
                    <a:lnTo>
                      <a:pt x="13113" y="13046"/>
                    </a:lnTo>
                    <a:lnTo>
                      <a:pt x="13112" y="13061"/>
                    </a:lnTo>
                    <a:lnTo>
                      <a:pt x="13109" y="13073"/>
                    </a:lnTo>
                    <a:lnTo>
                      <a:pt x="13106" y="13078"/>
                    </a:lnTo>
                    <a:lnTo>
                      <a:pt x="13103" y="13083"/>
                    </a:lnTo>
                    <a:lnTo>
                      <a:pt x="13099" y="13086"/>
                    </a:lnTo>
                    <a:lnTo>
                      <a:pt x="13094" y="13089"/>
                    </a:lnTo>
                    <a:lnTo>
                      <a:pt x="13085" y="13091"/>
                    </a:lnTo>
                    <a:lnTo>
                      <a:pt x="13077" y="13092"/>
                    </a:lnTo>
                    <a:lnTo>
                      <a:pt x="13075" y="13091"/>
                    </a:lnTo>
                    <a:lnTo>
                      <a:pt x="13071" y="13090"/>
                    </a:lnTo>
                    <a:lnTo>
                      <a:pt x="13070" y="13089"/>
                    </a:lnTo>
                    <a:lnTo>
                      <a:pt x="13068" y="13086"/>
                    </a:lnTo>
                    <a:lnTo>
                      <a:pt x="13065" y="13081"/>
                    </a:lnTo>
                    <a:lnTo>
                      <a:pt x="13064" y="13074"/>
                    </a:lnTo>
                    <a:lnTo>
                      <a:pt x="13064" y="13067"/>
                    </a:lnTo>
                    <a:lnTo>
                      <a:pt x="13065" y="13058"/>
                    </a:lnTo>
                    <a:lnTo>
                      <a:pt x="13065" y="13054"/>
                    </a:lnTo>
                    <a:lnTo>
                      <a:pt x="13065" y="13050"/>
                    </a:lnTo>
                    <a:lnTo>
                      <a:pt x="13064" y="13045"/>
                    </a:lnTo>
                    <a:lnTo>
                      <a:pt x="13063" y="13042"/>
                    </a:lnTo>
                    <a:lnTo>
                      <a:pt x="13058" y="13033"/>
                    </a:lnTo>
                    <a:lnTo>
                      <a:pt x="13052" y="13024"/>
                    </a:lnTo>
                    <a:lnTo>
                      <a:pt x="13044" y="13015"/>
                    </a:lnTo>
                    <a:lnTo>
                      <a:pt x="13034" y="13007"/>
                    </a:lnTo>
                    <a:lnTo>
                      <a:pt x="13023" y="12998"/>
                    </a:lnTo>
                    <a:lnTo>
                      <a:pt x="13012" y="12990"/>
                    </a:lnTo>
                    <a:lnTo>
                      <a:pt x="13000" y="12983"/>
                    </a:lnTo>
                    <a:lnTo>
                      <a:pt x="12988" y="12975"/>
                    </a:lnTo>
                    <a:lnTo>
                      <a:pt x="12975" y="12969"/>
                    </a:lnTo>
                    <a:lnTo>
                      <a:pt x="12964" y="12963"/>
                    </a:lnTo>
                    <a:lnTo>
                      <a:pt x="12952" y="12959"/>
                    </a:lnTo>
                    <a:lnTo>
                      <a:pt x="12943" y="12956"/>
                    </a:lnTo>
                    <a:lnTo>
                      <a:pt x="12933" y="12954"/>
                    </a:lnTo>
                    <a:lnTo>
                      <a:pt x="12926" y="12953"/>
                    </a:lnTo>
                    <a:lnTo>
                      <a:pt x="12918" y="12953"/>
                    </a:lnTo>
                    <a:lnTo>
                      <a:pt x="12911" y="12951"/>
                    </a:lnTo>
                    <a:lnTo>
                      <a:pt x="12904" y="12949"/>
                    </a:lnTo>
                    <a:lnTo>
                      <a:pt x="12898" y="12947"/>
                    </a:lnTo>
                    <a:lnTo>
                      <a:pt x="12885" y="12941"/>
                    </a:lnTo>
                    <a:lnTo>
                      <a:pt x="12873" y="12932"/>
                    </a:lnTo>
                    <a:lnTo>
                      <a:pt x="12849" y="12913"/>
                    </a:lnTo>
                    <a:lnTo>
                      <a:pt x="12825" y="12894"/>
                    </a:lnTo>
                    <a:lnTo>
                      <a:pt x="12791" y="12870"/>
                    </a:lnTo>
                    <a:lnTo>
                      <a:pt x="12754" y="12843"/>
                    </a:lnTo>
                    <a:lnTo>
                      <a:pt x="12737" y="12827"/>
                    </a:lnTo>
                    <a:lnTo>
                      <a:pt x="12721" y="12813"/>
                    </a:lnTo>
                    <a:lnTo>
                      <a:pt x="12714" y="12805"/>
                    </a:lnTo>
                    <a:lnTo>
                      <a:pt x="12708" y="12796"/>
                    </a:lnTo>
                    <a:lnTo>
                      <a:pt x="12703" y="12788"/>
                    </a:lnTo>
                    <a:lnTo>
                      <a:pt x="12698" y="12779"/>
                    </a:lnTo>
                    <a:lnTo>
                      <a:pt x="12697" y="12776"/>
                    </a:lnTo>
                    <a:lnTo>
                      <a:pt x="12698" y="12773"/>
                    </a:lnTo>
                    <a:lnTo>
                      <a:pt x="12698" y="12770"/>
                    </a:lnTo>
                    <a:lnTo>
                      <a:pt x="12699" y="12767"/>
                    </a:lnTo>
                    <a:lnTo>
                      <a:pt x="12704" y="12760"/>
                    </a:lnTo>
                    <a:lnTo>
                      <a:pt x="12709" y="12755"/>
                    </a:lnTo>
                    <a:lnTo>
                      <a:pt x="12714" y="12749"/>
                    </a:lnTo>
                    <a:lnTo>
                      <a:pt x="12716" y="12746"/>
                    </a:lnTo>
                    <a:lnTo>
                      <a:pt x="12717" y="12746"/>
                    </a:lnTo>
                    <a:lnTo>
                      <a:pt x="12717" y="12744"/>
                    </a:lnTo>
                    <a:lnTo>
                      <a:pt x="12716" y="12744"/>
                    </a:lnTo>
                    <a:lnTo>
                      <a:pt x="12714" y="12744"/>
                    </a:lnTo>
                    <a:lnTo>
                      <a:pt x="12696" y="12752"/>
                    </a:lnTo>
                    <a:lnTo>
                      <a:pt x="12680" y="12755"/>
                    </a:lnTo>
                    <a:lnTo>
                      <a:pt x="12673" y="12755"/>
                    </a:lnTo>
                    <a:lnTo>
                      <a:pt x="12666" y="12753"/>
                    </a:lnTo>
                    <a:lnTo>
                      <a:pt x="12660" y="12748"/>
                    </a:lnTo>
                    <a:lnTo>
                      <a:pt x="12654" y="12742"/>
                    </a:lnTo>
                    <a:lnTo>
                      <a:pt x="12642" y="12724"/>
                    </a:lnTo>
                    <a:lnTo>
                      <a:pt x="12627" y="12708"/>
                    </a:lnTo>
                    <a:lnTo>
                      <a:pt x="12612" y="12693"/>
                    </a:lnTo>
                    <a:lnTo>
                      <a:pt x="12596" y="12678"/>
                    </a:lnTo>
                    <a:lnTo>
                      <a:pt x="12573" y="12637"/>
                    </a:lnTo>
                    <a:lnTo>
                      <a:pt x="12553" y="12594"/>
                    </a:lnTo>
                    <a:lnTo>
                      <a:pt x="12542" y="12574"/>
                    </a:lnTo>
                    <a:lnTo>
                      <a:pt x="12530" y="12554"/>
                    </a:lnTo>
                    <a:lnTo>
                      <a:pt x="12523" y="12546"/>
                    </a:lnTo>
                    <a:lnTo>
                      <a:pt x="12515" y="12537"/>
                    </a:lnTo>
                    <a:lnTo>
                      <a:pt x="12508" y="12530"/>
                    </a:lnTo>
                    <a:lnTo>
                      <a:pt x="12500" y="12523"/>
                    </a:lnTo>
                    <a:lnTo>
                      <a:pt x="12479" y="12506"/>
                    </a:lnTo>
                    <a:lnTo>
                      <a:pt x="12459" y="12487"/>
                    </a:lnTo>
                    <a:lnTo>
                      <a:pt x="12437" y="12466"/>
                    </a:lnTo>
                    <a:lnTo>
                      <a:pt x="12415" y="12445"/>
                    </a:lnTo>
                    <a:lnTo>
                      <a:pt x="12405" y="12435"/>
                    </a:lnTo>
                    <a:lnTo>
                      <a:pt x="12393" y="12425"/>
                    </a:lnTo>
                    <a:lnTo>
                      <a:pt x="12381" y="12417"/>
                    </a:lnTo>
                    <a:lnTo>
                      <a:pt x="12370" y="12410"/>
                    </a:lnTo>
                    <a:lnTo>
                      <a:pt x="12356" y="12403"/>
                    </a:lnTo>
                    <a:lnTo>
                      <a:pt x="12344" y="12398"/>
                    </a:lnTo>
                    <a:lnTo>
                      <a:pt x="12331" y="12394"/>
                    </a:lnTo>
                    <a:lnTo>
                      <a:pt x="12318" y="12392"/>
                    </a:lnTo>
                    <a:lnTo>
                      <a:pt x="12307" y="12389"/>
                    </a:lnTo>
                    <a:lnTo>
                      <a:pt x="12299" y="12387"/>
                    </a:lnTo>
                    <a:lnTo>
                      <a:pt x="12294" y="12385"/>
                    </a:lnTo>
                    <a:lnTo>
                      <a:pt x="12291" y="12381"/>
                    </a:lnTo>
                    <a:lnTo>
                      <a:pt x="12290" y="12377"/>
                    </a:lnTo>
                    <a:lnTo>
                      <a:pt x="12293" y="12374"/>
                    </a:lnTo>
                    <a:lnTo>
                      <a:pt x="12295" y="12370"/>
                    </a:lnTo>
                    <a:lnTo>
                      <a:pt x="12299" y="12365"/>
                    </a:lnTo>
                    <a:lnTo>
                      <a:pt x="12310" y="12356"/>
                    </a:lnTo>
                    <a:lnTo>
                      <a:pt x="12320" y="12345"/>
                    </a:lnTo>
                    <a:lnTo>
                      <a:pt x="12325" y="12339"/>
                    </a:lnTo>
                    <a:lnTo>
                      <a:pt x="12329" y="12333"/>
                    </a:lnTo>
                    <a:lnTo>
                      <a:pt x="12331" y="12327"/>
                    </a:lnTo>
                    <a:lnTo>
                      <a:pt x="12332" y="12321"/>
                    </a:lnTo>
                    <a:lnTo>
                      <a:pt x="12320" y="12322"/>
                    </a:lnTo>
                    <a:lnTo>
                      <a:pt x="12311" y="12323"/>
                    </a:lnTo>
                    <a:lnTo>
                      <a:pt x="12302" y="12324"/>
                    </a:lnTo>
                    <a:lnTo>
                      <a:pt x="12294" y="12327"/>
                    </a:lnTo>
                    <a:lnTo>
                      <a:pt x="12279" y="12330"/>
                    </a:lnTo>
                    <a:lnTo>
                      <a:pt x="12266" y="12334"/>
                    </a:lnTo>
                    <a:lnTo>
                      <a:pt x="12259" y="12335"/>
                    </a:lnTo>
                    <a:lnTo>
                      <a:pt x="12253" y="12335"/>
                    </a:lnTo>
                    <a:lnTo>
                      <a:pt x="12247" y="12335"/>
                    </a:lnTo>
                    <a:lnTo>
                      <a:pt x="12240" y="12334"/>
                    </a:lnTo>
                    <a:lnTo>
                      <a:pt x="12232" y="12332"/>
                    </a:lnTo>
                    <a:lnTo>
                      <a:pt x="12224" y="12327"/>
                    </a:lnTo>
                    <a:lnTo>
                      <a:pt x="12214" y="12322"/>
                    </a:lnTo>
                    <a:lnTo>
                      <a:pt x="12205" y="12315"/>
                    </a:lnTo>
                    <a:lnTo>
                      <a:pt x="12184" y="12302"/>
                    </a:lnTo>
                    <a:lnTo>
                      <a:pt x="12163" y="12290"/>
                    </a:lnTo>
                    <a:lnTo>
                      <a:pt x="12141" y="12277"/>
                    </a:lnTo>
                    <a:lnTo>
                      <a:pt x="12118" y="12267"/>
                    </a:lnTo>
                    <a:lnTo>
                      <a:pt x="12095" y="12256"/>
                    </a:lnTo>
                    <a:lnTo>
                      <a:pt x="12074" y="12244"/>
                    </a:lnTo>
                    <a:lnTo>
                      <a:pt x="12053" y="12231"/>
                    </a:lnTo>
                    <a:lnTo>
                      <a:pt x="12034" y="12216"/>
                    </a:lnTo>
                    <a:lnTo>
                      <a:pt x="12019" y="12203"/>
                    </a:lnTo>
                    <a:lnTo>
                      <a:pt x="12011" y="12193"/>
                    </a:lnTo>
                    <a:lnTo>
                      <a:pt x="12007" y="12188"/>
                    </a:lnTo>
                    <a:lnTo>
                      <a:pt x="12006" y="12185"/>
                    </a:lnTo>
                    <a:lnTo>
                      <a:pt x="12006" y="12181"/>
                    </a:lnTo>
                    <a:lnTo>
                      <a:pt x="12006" y="12178"/>
                    </a:lnTo>
                    <a:lnTo>
                      <a:pt x="12011" y="12170"/>
                    </a:lnTo>
                    <a:lnTo>
                      <a:pt x="12018" y="12163"/>
                    </a:lnTo>
                    <a:lnTo>
                      <a:pt x="12028" y="12155"/>
                    </a:lnTo>
                    <a:lnTo>
                      <a:pt x="12040" y="12145"/>
                    </a:lnTo>
                    <a:lnTo>
                      <a:pt x="12044" y="12141"/>
                    </a:lnTo>
                    <a:lnTo>
                      <a:pt x="12048" y="12137"/>
                    </a:lnTo>
                    <a:lnTo>
                      <a:pt x="12051" y="12134"/>
                    </a:lnTo>
                    <a:lnTo>
                      <a:pt x="12051" y="12132"/>
                    </a:lnTo>
                    <a:lnTo>
                      <a:pt x="12051" y="12131"/>
                    </a:lnTo>
                    <a:lnTo>
                      <a:pt x="12048" y="12131"/>
                    </a:lnTo>
                    <a:lnTo>
                      <a:pt x="12033" y="12135"/>
                    </a:lnTo>
                    <a:lnTo>
                      <a:pt x="12017" y="12141"/>
                    </a:lnTo>
                    <a:lnTo>
                      <a:pt x="12001" y="12149"/>
                    </a:lnTo>
                    <a:lnTo>
                      <a:pt x="11985" y="12154"/>
                    </a:lnTo>
                    <a:lnTo>
                      <a:pt x="11976" y="12156"/>
                    </a:lnTo>
                    <a:lnTo>
                      <a:pt x="11969" y="12157"/>
                    </a:lnTo>
                    <a:lnTo>
                      <a:pt x="11963" y="12157"/>
                    </a:lnTo>
                    <a:lnTo>
                      <a:pt x="11959" y="12157"/>
                    </a:lnTo>
                    <a:lnTo>
                      <a:pt x="11950" y="12150"/>
                    </a:lnTo>
                    <a:lnTo>
                      <a:pt x="11938" y="12138"/>
                    </a:lnTo>
                    <a:lnTo>
                      <a:pt x="11924" y="12128"/>
                    </a:lnTo>
                    <a:lnTo>
                      <a:pt x="11911" y="12119"/>
                    </a:lnTo>
                    <a:lnTo>
                      <a:pt x="11896" y="12110"/>
                    </a:lnTo>
                    <a:lnTo>
                      <a:pt x="11880" y="12103"/>
                    </a:lnTo>
                    <a:lnTo>
                      <a:pt x="11847" y="12089"/>
                    </a:lnTo>
                    <a:lnTo>
                      <a:pt x="11818" y="12074"/>
                    </a:lnTo>
                    <a:lnTo>
                      <a:pt x="11794" y="12063"/>
                    </a:lnTo>
                    <a:lnTo>
                      <a:pt x="11775" y="12052"/>
                    </a:lnTo>
                    <a:lnTo>
                      <a:pt x="11773" y="12050"/>
                    </a:lnTo>
                    <a:lnTo>
                      <a:pt x="11772" y="12048"/>
                    </a:lnTo>
                    <a:lnTo>
                      <a:pt x="11772" y="12045"/>
                    </a:lnTo>
                    <a:lnTo>
                      <a:pt x="11774" y="12043"/>
                    </a:lnTo>
                    <a:lnTo>
                      <a:pt x="11778" y="12040"/>
                    </a:lnTo>
                    <a:lnTo>
                      <a:pt x="11784" y="12038"/>
                    </a:lnTo>
                    <a:lnTo>
                      <a:pt x="11792" y="12036"/>
                    </a:lnTo>
                    <a:lnTo>
                      <a:pt x="11803" y="12033"/>
                    </a:lnTo>
                    <a:lnTo>
                      <a:pt x="11811" y="12031"/>
                    </a:lnTo>
                    <a:lnTo>
                      <a:pt x="11818" y="12027"/>
                    </a:lnTo>
                    <a:lnTo>
                      <a:pt x="11825" y="12024"/>
                    </a:lnTo>
                    <a:lnTo>
                      <a:pt x="11831" y="12020"/>
                    </a:lnTo>
                    <a:lnTo>
                      <a:pt x="11843" y="12010"/>
                    </a:lnTo>
                    <a:lnTo>
                      <a:pt x="11855" y="11999"/>
                    </a:lnTo>
                    <a:lnTo>
                      <a:pt x="11863" y="11992"/>
                    </a:lnTo>
                    <a:lnTo>
                      <a:pt x="11870" y="11983"/>
                    </a:lnTo>
                    <a:lnTo>
                      <a:pt x="11875" y="11974"/>
                    </a:lnTo>
                    <a:lnTo>
                      <a:pt x="11879" y="11965"/>
                    </a:lnTo>
                    <a:lnTo>
                      <a:pt x="11881" y="11956"/>
                    </a:lnTo>
                    <a:lnTo>
                      <a:pt x="11885" y="11948"/>
                    </a:lnTo>
                    <a:lnTo>
                      <a:pt x="11888" y="11941"/>
                    </a:lnTo>
                    <a:lnTo>
                      <a:pt x="11894" y="11934"/>
                    </a:lnTo>
                    <a:lnTo>
                      <a:pt x="11900" y="11932"/>
                    </a:lnTo>
                    <a:lnTo>
                      <a:pt x="11909" y="11928"/>
                    </a:lnTo>
                    <a:lnTo>
                      <a:pt x="11912" y="11926"/>
                    </a:lnTo>
                    <a:lnTo>
                      <a:pt x="11916" y="11924"/>
                    </a:lnTo>
                    <a:lnTo>
                      <a:pt x="11918" y="11921"/>
                    </a:lnTo>
                    <a:lnTo>
                      <a:pt x="11920" y="11918"/>
                    </a:lnTo>
                    <a:lnTo>
                      <a:pt x="11918" y="11914"/>
                    </a:lnTo>
                    <a:lnTo>
                      <a:pt x="11916" y="11908"/>
                    </a:lnTo>
                    <a:lnTo>
                      <a:pt x="11912" y="11902"/>
                    </a:lnTo>
                    <a:lnTo>
                      <a:pt x="11908" y="11896"/>
                    </a:lnTo>
                    <a:lnTo>
                      <a:pt x="11898" y="11883"/>
                    </a:lnTo>
                    <a:lnTo>
                      <a:pt x="11892" y="11873"/>
                    </a:lnTo>
                    <a:lnTo>
                      <a:pt x="11882" y="11854"/>
                    </a:lnTo>
                    <a:lnTo>
                      <a:pt x="11873" y="11835"/>
                    </a:lnTo>
                    <a:lnTo>
                      <a:pt x="11864" y="11814"/>
                    </a:lnTo>
                    <a:lnTo>
                      <a:pt x="11856" y="11794"/>
                    </a:lnTo>
                    <a:lnTo>
                      <a:pt x="11852" y="11783"/>
                    </a:lnTo>
                    <a:lnTo>
                      <a:pt x="11850" y="11774"/>
                    </a:lnTo>
                    <a:lnTo>
                      <a:pt x="11849" y="11768"/>
                    </a:lnTo>
                    <a:lnTo>
                      <a:pt x="11850" y="11764"/>
                    </a:lnTo>
                    <a:lnTo>
                      <a:pt x="11853" y="11759"/>
                    </a:lnTo>
                    <a:lnTo>
                      <a:pt x="11857" y="11754"/>
                    </a:lnTo>
                    <a:lnTo>
                      <a:pt x="11863" y="11749"/>
                    </a:lnTo>
                    <a:lnTo>
                      <a:pt x="11871" y="11742"/>
                    </a:lnTo>
                    <a:lnTo>
                      <a:pt x="11885" y="11730"/>
                    </a:lnTo>
                    <a:lnTo>
                      <a:pt x="11899" y="11713"/>
                    </a:lnTo>
                    <a:lnTo>
                      <a:pt x="11905" y="11705"/>
                    </a:lnTo>
                    <a:lnTo>
                      <a:pt x="11910" y="11695"/>
                    </a:lnTo>
                    <a:lnTo>
                      <a:pt x="11914" y="11687"/>
                    </a:lnTo>
                    <a:lnTo>
                      <a:pt x="11915" y="11679"/>
                    </a:lnTo>
                    <a:lnTo>
                      <a:pt x="11920" y="11682"/>
                    </a:lnTo>
                    <a:lnTo>
                      <a:pt x="11926" y="11685"/>
                    </a:lnTo>
                    <a:lnTo>
                      <a:pt x="11930" y="11690"/>
                    </a:lnTo>
                    <a:lnTo>
                      <a:pt x="11935" y="11696"/>
                    </a:lnTo>
                    <a:lnTo>
                      <a:pt x="11945" y="11711"/>
                    </a:lnTo>
                    <a:lnTo>
                      <a:pt x="11952" y="11726"/>
                    </a:lnTo>
                    <a:lnTo>
                      <a:pt x="11959" y="11743"/>
                    </a:lnTo>
                    <a:lnTo>
                      <a:pt x="11964" y="11760"/>
                    </a:lnTo>
                    <a:lnTo>
                      <a:pt x="11968" y="11776"/>
                    </a:lnTo>
                    <a:lnTo>
                      <a:pt x="11968" y="11788"/>
                    </a:lnTo>
                    <a:lnTo>
                      <a:pt x="11967" y="11808"/>
                    </a:lnTo>
                    <a:lnTo>
                      <a:pt x="11967" y="11829"/>
                    </a:lnTo>
                    <a:lnTo>
                      <a:pt x="11968" y="11848"/>
                    </a:lnTo>
                    <a:lnTo>
                      <a:pt x="11970" y="11867"/>
                    </a:lnTo>
                    <a:lnTo>
                      <a:pt x="11975" y="11904"/>
                    </a:lnTo>
                    <a:lnTo>
                      <a:pt x="11983" y="11944"/>
                    </a:lnTo>
                    <a:lnTo>
                      <a:pt x="11983" y="11951"/>
                    </a:lnTo>
                    <a:lnTo>
                      <a:pt x="11983" y="11957"/>
                    </a:lnTo>
                    <a:lnTo>
                      <a:pt x="11983" y="11963"/>
                    </a:lnTo>
                    <a:lnTo>
                      <a:pt x="11982" y="11969"/>
                    </a:lnTo>
                    <a:lnTo>
                      <a:pt x="11979" y="11979"/>
                    </a:lnTo>
                    <a:lnTo>
                      <a:pt x="11976" y="11987"/>
                    </a:lnTo>
                    <a:lnTo>
                      <a:pt x="11975" y="11991"/>
                    </a:lnTo>
                    <a:lnTo>
                      <a:pt x="11975" y="11993"/>
                    </a:lnTo>
                    <a:lnTo>
                      <a:pt x="11976" y="11996"/>
                    </a:lnTo>
                    <a:lnTo>
                      <a:pt x="11979" y="11998"/>
                    </a:lnTo>
                    <a:lnTo>
                      <a:pt x="11982" y="11999"/>
                    </a:lnTo>
                    <a:lnTo>
                      <a:pt x="11987" y="12001"/>
                    </a:lnTo>
                    <a:lnTo>
                      <a:pt x="11994" y="12002"/>
                    </a:lnTo>
                    <a:lnTo>
                      <a:pt x="12003" y="12002"/>
                    </a:lnTo>
                    <a:lnTo>
                      <a:pt x="12007" y="11990"/>
                    </a:lnTo>
                    <a:lnTo>
                      <a:pt x="12011" y="11973"/>
                    </a:lnTo>
                    <a:lnTo>
                      <a:pt x="12011" y="11963"/>
                    </a:lnTo>
                    <a:lnTo>
                      <a:pt x="12010" y="11955"/>
                    </a:lnTo>
                    <a:lnTo>
                      <a:pt x="12009" y="11945"/>
                    </a:lnTo>
                    <a:lnTo>
                      <a:pt x="12009" y="11934"/>
                    </a:lnTo>
                    <a:lnTo>
                      <a:pt x="12010" y="11913"/>
                    </a:lnTo>
                    <a:lnTo>
                      <a:pt x="12011" y="11889"/>
                    </a:lnTo>
                    <a:lnTo>
                      <a:pt x="12011" y="11878"/>
                    </a:lnTo>
                    <a:lnTo>
                      <a:pt x="12011" y="11866"/>
                    </a:lnTo>
                    <a:lnTo>
                      <a:pt x="12010" y="11855"/>
                    </a:lnTo>
                    <a:lnTo>
                      <a:pt x="12007" y="11845"/>
                    </a:lnTo>
                    <a:lnTo>
                      <a:pt x="12003" y="11833"/>
                    </a:lnTo>
                    <a:lnTo>
                      <a:pt x="11998" y="11825"/>
                    </a:lnTo>
                    <a:lnTo>
                      <a:pt x="11998" y="11821"/>
                    </a:lnTo>
                    <a:lnTo>
                      <a:pt x="12000" y="11818"/>
                    </a:lnTo>
                    <a:lnTo>
                      <a:pt x="12005" y="11814"/>
                    </a:lnTo>
                    <a:lnTo>
                      <a:pt x="12012" y="11812"/>
                    </a:lnTo>
                    <a:lnTo>
                      <a:pt x="12029" y="11806"/>
                    </a:lnTo>
                    <a:lnTo>
                      <a:pt x="12045" y="11797"/>
                    </a:lnTo>
                    <a:lnTo>
                      <a:pt x="12053" y="11792"/>
                    </a:lnTo>
                    <a:lnTo>
                      <a:pt x="12060" y="11790"/>
                    </a:lnTo>
                    <a:lnTo>
                      <a:pt x="12069" y="11788"/>
                    </a:lnTo>
                    <a:lnTo>
                      <a:pt x="12078" y="11788"/>
                    </a:lnTo>
                    <a:lnTo>
                      <a:pt x="12090" y="11789"/>
                    </a:lnTo>
                    <a:lnTo>
                      <a:pt x="12101" y="11792"/>
                    </a:lnTo>
                    <a:lnTo>
                      <a:pt x="12112" y="11797"/>
                    </a:lnTo>
                    <a:lnTo>
                      <a:pt x="12122" y="11802"/>
                    </a:lnTo>
                    <a:lnTo>
                      <a:pt x="12133" y="11808"/>
                    </a:lnTo>
                    <a:lnTo>
                      <a:pt x="12143" y="11812"/>
                    </a:lnTo>
                    <a:lnTo>
                      <a:pt x="12155" y="11815"/>
                    </a:lnTo>
                    <a:lnTo>
                      <a:pt x="12170" y="11817"/>
                    </a:lnTo>
                    <a:lnTo>
                      <a:pt x="12169" y="11814"/>
                    </a:lnTo>
                    <a:lnTo>
                      <a:pt x="12165" y="11811"/>
                    </a:lnTo>
                    <a:lnTo>
                      <a:pt x="12161" y="11808"/>
                    </a:lnTo>
                    <a:lnTo>
                      <a:pt x="12157" y="11805"/>
                    </a:lnTo>
                    <a:lnTo>
                      <a:pt x="12145" y="11799"/>
                    </a:lnTo>
                    <a:lnTo>
                      <a:pt x="12130" y="11792"/>
                    </a:lnTo>
                    <a:lnTo>
                      <a:pt x="12103" y="11782"/>
                    </a:lnTo>
                    <a:lnTo>
                      <a:pt x="12083" y="11774"/>
                    </a:lnTo>
                    <a:lnTo>
                      <a:pt x="12060" y="11770"/>
                    </a:lnTo>
                    <a:lnTo>
                      <a:pt x="12025" y="11762"/>
                    </a:lnTo>
                    <a:lnTo>
                      <a:pt x="12010" y="11759"/>
                    </a:lnTo>
                    <a:lnTo>
                      <a:pt x="11995" y="11754"/>
                    </a:lnTo>
                    <a:lnTo>
                      <a:pt x="11989" y="11752"/>
                    </a:lnTo>
                    <a:lnTo>
                      <a:pt x="11985" y="11749"/>
                    </a:lnTo>
                    <a:lnTo>
                      <a:pt x="11982" y="11746"/>
                    </a:lnTo>
                    <a:lnTo>
                      <a:pt x="11981" y="11743"/>
                    </a:lnTo>
                    <a:lnTo>
                      <a:pt x="11980" y="11736"/>
                    </a:lnTo>
                    <a:lnTo>
                      <a:pt x="11977" y="11729"/>
                    </a:lnTo>
                    <a:lnTo>
                      <a:pt x="11975" y="11720"/>
                    </a:lnTo>
                    <a:lnTo>
                      <a:pt x="11971" y="11713"/>
                    </a:lnTo>
                    <a:lnTo>
                      <a:pt x="11962" y="11699"/>
                    </a:lnTo>
                    <a:lnTo>
                      <a:pt x="11952" y="11685"/>
                    </a:lnTo>
                    <a:lnTo>
                      <a:pt x="11936" y="11667"/>
                    </a:lnTo>
                    <a:lnTo>
                      <a:pt x="11918" y="11647"/>
                    </a:lnTo>
                    <a:lnTo>
                      <a:pt x="11910" y="11638"/>
                    </a:lnTo>
                    <a:lnTo>
                      <a:pt x="11902" y="11632"/>
                    </a:lnTo>
                    <a:lnTo>
                      <a:pt x="11898" y="11631"/>
                    </a:lnTo>
                    <a:lnTo>
                      <a:pt x="11896" y="11631"/>
                    </a:lnTo>
                    <a:lnTo>
                      <a:pt x="11893" y="11632"/>
                    </a:lnTo>
                    <a:lnTo>
                      <a:pt x="11891" y="11635"/>
                    </a:lnTo>
                    <a:lnTo>
                      <a:pt x="11882" y="11650"/>
                    </a:lnTo>
                    <a:lnTo>
                      <a:pt x="11874" y="11664"/>
                    </a:lnTo>
                    <a:lnTo>
                      <a:pt x="11865" y="11677"/>
                    </a:lnTo>
                    <a:lnTo>
                      <a:pt x="11857" y="11689"/>
                    </a:lnTo>
                    <a:lnTo>
                      <a:pt x="11839" y="11713"/>
                    </a:lnTo>
                    <a:lnTo>
                      <a:pt x="11822" y="11738"/>
                    </a:lnTo>
                    <a:lnTo>
                      <a:pt x="11816" y="11754"/>
                    </a:lnTo>
                    <a:lnTo>
                      <a:pt x="11809" y="11772"/>
                    </a:lnTo>
                    <a:lnTo>
                      <a:pt x="11805" y="11782"/>
                    </a:lnTo>
                    <a:lnTo>
                      <a:pt x="11802" y="11790"/>
                    </a:lnTo>
                    <a:lnTo>
                      <a:pt x="11797" y="11796"/>
                    </a:lnTo>
                    <a:lnTo>
                      <a:pt x="11792" y="11801"/>
                    </a:lnTo>
                    <a:lnTo>
                      <a:pt x="11775" y="11812"/>
                    </a:lnTo>
                    <a:lnTo>
                      <a:pt x="11749" y="11825"/>
                    </a:lnTo>
                    <a:lnTo>
                      <a:pt x="11734" y="11830"/>
                    </a:lnTo>
                    <a:lnTo>
                      <a:pt x="11722" y="11833"/>
                    </a:lnTo>
                    <a:lnTo>
                      <a:pt x="11716" y="11833"/>
                    </a:lnTo>
                    <a:lnTo>
                      <a:pt x="11711" y="11832"/>
                    </a:lnTo>
                    <a:lnTo>
                      <a:pt x="11708" y="11831"/>
                    </a:lnTo>
                    <a:lnTo>
                      <a:pt x="11705" y="11827"/>
                    </a:lnTo>
                    <a:lnTo>
                      <a:pt x="11699" y="11820"/>
                    </a:lnTo>
                    <a:lnTo>
                      <a:pt x="11693" y="11814"/>
                    </a:lnTo>
                    <a:lnTo>
                      <a:pt x="11686" y="11811"/>
                    </a:lnTo>
                    <a:lnTo>
                      <a:pt x="11680" y="11808"/>
                    </a:lnTo>
                    <a:lnTo>
                      <a:pt x="11673" y="11808"/>
                    </a:lnTo>
                    <a:lnTo>
                      <a:pt x="11666" y="11808"/>
                    </a:lnTo>
                    <a:lnTo>
                      <a:pt x="11658" y="11811"/>
                    </a:lnTo>
                    <a:lnTo>
                      <a:pt x="11651" y="11813"/>
                    </a:lnTo>
                    <a:lnTo>
                      <a:pt x="11636" y="11820"/>
                    </a:lnTo>
                    <a:lnTo>
                      <a:pt x="11620" y="11827"/>
                    </a:lnTo>
                    <a:lnTo>
                      <a:pt x="11611" y="11831"/>
                    </a:lnTo>
                    <a:lnTo>
                      <a:pt x="11603" y="11833"/>
                    </a:lnTo>
                    <a:lnTo>
                      <a:pt x="11596" y="11835"/>
                    </a:lnTo>
                    <a:lnTo>
                      <a:pt x="11587" y="11836"/>
                    </a:lnTo>
                    <a:lnTo>
                      <a:pt x="11590" y="11839"/>
                    </a:lnTo>
                    <a:lnTo>
                      <a:pt x="11593" y="11843"/>
                    </a:lnTo>
                    <a:lnTo>
                      <a:pt x="11598" y="11847"/>
                    </a:lnTo>
                    <a:lnTo>
                      <a:pt x="11605" y="11849"/>
                    </a:lnTo>
                    <a:lnTo>
                      <a:pt x="11621" y="11853"/>
                    </a:lnTo>
                    <a:lnTo>
                      <a:pt x="11638" y="11854"/>
                    </a:lnTo>
                    <a:lnTo>
                      <a:pt x="11674" y="11855"/>
                    </a:lnTo>
                    <a:lnTo>
                      <a:pt x="11698" y="11854"/>
                    </a:lnTo>
                    <a:lnTo>
                      <a:pt x="11697" y="11859"/>
                    </a:lnTo>
                    <a:lnTo>
                      <a:pt x="11695" y="11863"/>
                    </a:lnTo>
                    <a:lnTo>
                      <a:pt x="11691" y="11867"/>
                    </a:lnTo>
                    <a:lnTo>
                      <a:pt x="11687" y="11871"/>
                    </a:lnTo>
                    <a:lnTo>
                      <a:pt x="11676" y="11878"/>
                    </a:lnTo>
                    <a:lnTo>
                      <a:pt x="11663" y="11884"/>
                    </a:lnTo>
                    <a:lnTo>
                      <a:pt x="11649" y="11889"/>
                    </a:lnTo>
                    <a:lnTo>
                      <a:pt x="11632" y="11894"/>
                    </a:lnTo>
                    <a:lnTo>
                      <a:pt x="11614" y="11898"/>
                    </a:lnTo>
                    <a:lnTo>
                      <a:pt x="11596" y="11901"/>
                    </a:lnTo>
                    <a:lnTo>
                      <a:pt x="11557" y="11906"/>
                    </a:lnTo>
                    <a:lnTo>
                      <a:pt x="11522" y="11908"/>
                    </a:lnTo>
                    <a:lnTo>
                      <a:pt x="11492" y="11909"/>
                    </a:lnTo>
                    <a:lnTo>
                      <a:pt x="11472" y="11908"/>
                    </a:lnTo>
                    <a:lnTo>
                      <a:pt x="11449" y="11904"/>
                    </a:lnTo>
                    <a:lnTo>
                      <a:pt x="11429" y="11900"/>
                    </a:lnTo>
                    <a:lnTo>
                      <a:pt x="11408" y="11894"/>
                    </a:lnTo>
                    <a:lnTo>
                      <a:pt x="11388" y="11888"/>
                    </a:lnTo>
                    <a:lnTo>
                      <a:pt x="11350" y="11873"/>
                    </a:lnTo>
                    <a:lnTo>
                      <a:pt x="11313" y="11856"/>
                    </a:lnTo>
                    <a:lnTo>
                      <a:pt x="11276" y="11838"/>
                    </a:lnTo>
                    <a:lnTo>
                      <a:pt x="11238" y="11820"/>
                    </a:lnTo>
                    <a:lnTo>
                      <a:pt x="11219" y="11812"/>
                    </a:lnTo>
                    <a:lnTo>
                      <a:pt x="11200" y="11805"/>
                    </a:lnTo>
                    <a:lnTo>
                      <a:pt x="11179" y="11797"/>
                    </a:lnTo>
                    <a:lnTo>
                      <a:pt x="11159" y="11791"/>
                    </a:lnTo>
                    <a:lnTo>
                      <a:pt x="11153" y="11783"/>
                    </a:lnTo>
                    <a:lnTo>
                      <a:pt x="11143" y="11776"/>
                    </a:lnTo>
                    <a:lnTo>
                      <a:pt x="11134" y="11771"/>
                    </a:lnTo>
                    <a:lnTo>
                      <a:pt x="11124" y="11766"/>
                    </a:lnTo>
                    <a:lnTo>
                      <a:pt x="11113" y="11762"/>
                    </a:lnTo>
                    <a:lnTo>
                      <a:pt x="11102" y="11758"/>
                    </a:lnTo>
                    <a:lnTo>
                      <a:pt x="11093" y="11754"/>
                    </a:lnTo>
                    <a:lnTo>
                      <a:pt x="11084" y="11748"/>
                    </a:lnTo>
                    <a:lnTo>
                      <a:pt x="11086" y="11746"/>
                    </a:lnTo>
                    <a:lnTo>
                      <a:pt x="11089" y="11742"/>
                    </a:lnTo>
                    <a:lnTo>
                      <a:pt x="11095" y="11738"/>
                    </a:lnTo>
                    <a:lnTo>
                      <a:pt x="11102" y="11735"/>
                    </a:lnTo>
                    <a:lnTo>
                      <a:pt x="11119" y="11726"/>
                    </a:lnTo>
                    <a:lnTo>
                      <a:pt x="11139" y="11715"/>
                    </a:lnTo>
                    <a:lnTo>
                      <a:pt x="11147" y="11711"/>
                    </a:lnTo>
                    <a:lnTo>
                      <a:pt x="11155" y="11706"/>
                    </a:lnTo>
                    <a:lnTo>
                      <a:pt x="11163" y="11700"/>
                    </a:lnTo>
                    <a:lnTo>
                      <a:pt x="11169" y="11694"/>
                    </a:lnTo>
                    <a:lnTo>
                      <a:pt x="11173" y="11689"/>
                    </a:lnTo>
                    <a:lnTo>
                      <a:pt x="11176" y="11683"/>
                    </a:lnTo>
                    <a:lnTo>
                      <a:pt x="11177" y="11679"/>
                    </a:lnTo>
                    <a:lnTo>
                      <a:pt x="11177" y="11677"/>
                    </a:lnTo>
                    <a:lnTo>
                      <a:pt x="11176" y="11673"/>
                    </a:lnTo>
                    <a:lnTo>
                      <a:pt x="11175" y="11671"/>
                    </a:lnTo>
                    <a:lnTo>
                      <a:pt x="11155" y="11640"/>
                    </a:lnTo>
                    <a:lnTo>
                      <a:pt x="11136" y="11601"/>
                    </a:lnTo>
                    <a:lnTo>
                      <a:pt x="11126" y="11581"/>
                    </a:lnTo>
                    <a:lnTo>
                      <a:pt x="11119" y="11561"/>
                    </a:lnTo>
                    <a:lnTo>
                      <a:pt x="11112" y="11543"/>
                    </a:lnTo>
                    <a:lnTo>
                      <a:pt x="11107" y="11528"/>
                    </a:lnTo>
                    <a:lnTo>
                      <a:pt x="11102" y="11529"/>
                    </a:lnTo>
                    <a:lnTo>
                      <a:pt x="11099" y="11531"/>
                    </a:lnTo>
                    <a:lnTo>
                      <a:pt x="11095" y="11536"/>
                    </a:lnTo>
                    <a:lnTo>
                      <a:pt x="11092" y="11541"/>
                    </a:lnTo>
                    <a:lnTo>
                      <a:pt x="11090" y="11548"/>
                    </a:lnTo>
                    <a:lnTo>
                      <a:pt x="11089" y="11555"/>
                    </a:lnTo>
                    <a:lnTo>
                      <a:pt x="11088" y="11564"/>
                    </a:lnTo>
                    <a:lnTo>
                      <a:pt x="11088" y="11572"/>
                    </a:lnTo>
                    <a:lnTo>
                      <a:pt x="11089" y="11582"/>
                    </a:lnTo>
                    <a:lnTo>
                      <a:pt x="11090" y="11590"/>
                    </a:lnTo>
                    <a:lnTo>
                      <a:pt x="11093" y="11598"/>
                    </a:lnTo>
                    <a:lnTo>
                      <a:pt x="11095" y="11606"/>
                    </a:lnTo>
                    <a:lnTo>
                      <a:pt x="11099" y="11612"/>
                    </a:lnTo>
                    <a:lnTo>
                      <a:pt x="11104" y="11618"/>
                    </a:lnTo>
                    <a:lnTo>
                      <a:pt x="11108" y="11622"/>
                    </a:lnTo>
                    <a:lnTo>
                      <a:pt x="11114" y="11624"/>
                    </a:lnTo>
                    <a:lnTo>
                      <a:pt x="11114" y="11625"/>
                    </a:lnTo>
                    <a:lnTo>
                      <a:pt x="11116" y="11626"/>
                    </a:lnTo>
                    <a:lnTo>
                      <a:pt x="11116" y="11632"/>
                    </a:lnTo>
                    <a:lnTo>
                      <a:pt x="11114" y="11638"/>
                    </a:lnTo>
                    <a:lnTo>
                      <a:pt x="11099" y="11653"/>
                    </a:lnTo>
                    <a:lnTo>
                      <a:pt x="11078" y="11670"/>
                    </a:lnTo>
                    <a:lnTo>
                      <a:pt x="11067" y="11675"/>
                    </a:lnTo>
                    <a:lnTo>
                      <a:pt x="11057" y="11679"/>
                    </a:lnTo>
                    <a:lnTo>
                      <a:pt x="11045" y="11683"/>
                    </a:lnTo>
                    <a:lnTo>
                      <a:pt x="11033" y="11687"/>
                    </a:lnTo>
                    <a:lnTo>
                      <a:pt x="11012" y="11693"/>
                    </a:lnTo>
                    <a:lnTo>
                      <a:pt x="10995" y="11695"/>
                    </a:lnTo>
                    <a:lnTo>
                      <a:pt x="10989" y="11696"/>
                    </a:lnTo>
                    <a:lnTo>
                      <a:pt x="10983" y="11696"/>
                    </a:lnTo>
                    <a:lnTo>
                      <a:pt x="10978" y="11695"/>
                    </a:lnTo>
                    <a:lnTo>
                      <a:pt x="10972" y="11694"/>
                    </a:lnTo>
                    <a:lnTo>
                      <a:pt x="10963" y="11690"/>
                    </a:lnTo>
                    <a:lnTo>
                      <a:pt x="10952" y="11683"/>
                    </a:lnTo>
                    <a:lnTo>
                      <a:pt x="10938" y="11673"/>
                    </a:lnTo>
                    <a:lnTo>
                      <a:pt x="10919" y="11661"/>
                    </a:lnTo>
                    <a:lnTo>
                      <a:pt x="10909" y="11654"/>
                    </a:lnTo>
                    <a:lnTo>
                      <a:pt x="10897" y="11648"/>
                    </a:lnTo>
                    <a:lnTo>
                      <a:pt x="10886" y="11642"/>
                    </a:lnTo>
                    <a:lnTo>
                      <a:pt x="10874" y="11637"/>
                    </a:lnTo>
                    <a:lnTo>
                      <a:pt x="10862" y="11634"/>
                    </a:lnTo>
                    <a:lnTo>
                      <a:pt x="10850" y="11630"/>
                    </a:lnTo>
                    <a:lnTo>
                      <a:pt x="10838" y="11628"/>
                    </a:lnTo>
                    <a:lnTo>
                      <a:pt x="10824" y="11625"/>
                    </a:lnTo>
                    <a:lnTo>
                      <a:pt x="10804" y="11622"/>
                    </a:lnTo>
                    <a:lnTo>
                      <a:pt x="10781" y="11617"/>
                    </a:lnTo>
                    <a:lnTo>
                      <a:pt x="10756" y="11611"/>
                    </a:lnTo>
                    <a:lnTo>
                      <a:pt x="10728" y="11605"/>
                    </a:lnTo>
                    <a:lnTo>
                      <a:pt x="10670" y="11590"/>
                    </a:lnTo>
                    <a:lnTo>
                      <a:pt x="10609" y="11578"/>
                    </a:lnTo>
                    <a:lnTo>
                      <a:pt x="10579" y="11573"/>
                    </a:lnTo>
                    <a:lnTo>
                      <a:pt x="10550" y="11571"/>
                    </a:lnTo>
                    <a:lnTo>
                      <a:pt x="10536" y="11570"/>
                    </a:lnTo>
                    <a:lnTo>
                      <a:pt x="10522" y="11570"/>
                    </a:lnTo>
                    <a:lnTo>
                      <a:pt x="10508" y="11571"/>
                    </a:lnTo>
                    <a:lnTo>
                      <a:pt x="10495" y="11572"/>
                    </a:lnTo>
                    <a:lnTo>
                      <a:pt x="10483" y="11573"/>
                    </a:lnTo>
                    <a:lnTo>
                      <a:pt x="10471" y="11577"/>
                    </a:lnTo>
                    <a:lnTo>
                      <a:pt x="10459" y="11581"/>
                    </a:lnTo>
                    <a:lnTo>
                      <a:pt x="10448" y="11584"/>
                    </a:lnTo>
                    <a:lnTo>
                      <a:pt x="10438" y="11589"/>
                    </a:lnTo>
                    <a:lnTo>
                      <a:pt x="10428" y="11596"/>
                    </a:lnTo>
                    <a:lnTo>
                      <a:pt x="10420" y="11604"/>
                    </a:lnTo>
                    <a:lnTo>
                      <a:pt x="10412" y="11612"/>
                    </a:lnTo>
                    <a:lnTo>
                      <a:pt x="10386" y="11612"/>
                    </a:lnTo>
                    <a:lnTo>
                      <a:pt x="10359" y="11613"/>
                    </a:lnTo>
                    <a:lnTo>
                      <a:pt x="10330" y="11616"/>
                    </a:lnTo>
                    <a:lnTo>
                      <a:pt x="10301" y="11619"/>
                    </a:lnTo>
                    <a:lnTo>
                      <a:pt x="10272" y="11623"/>
                    </a:lnTo>
                    <a:lnTo>
                      <a:pt x="10243" y="11628"/>
                    </a:lnTo>
                    <a:lnTo>
                      <a:pt x="10215" y="11632"/>
                    </a:lnTo>
                    <a:lnTo>
                      <a:pt x="10190" y="11638"/>
                    </a:lnTo>
                    <a:lnTo>
                      <a:pt x="10155" y="11649"/>
                    </a:lnTo>
                    <a:lnTo>
                      <a:pt x="10110" y="11665"/>
                    </a:lnTo>
                    <a:lnTo>
                      <a:pt x="10099" y="11667"/>
                    </a:lnTo>
                    <a:lnTo>
                      <a:pt x="10088" y="11669"/>
                    </a:lnTo>
                    <a:lnTo>
                      <a:pt x="10077" y="11670"/>
                    </a:lnTo>
                    <a:lnTo>
                      <a:pt x="10069" y="11669"/>
                    </a:lnTo>
                    <a:lnTo>
                      <a:pt x="10061" y="11666"/>
                    </a:lnTo>
                    <a:lnTo>
                      <a:pt x="10054" y="11663"/>
                    </a:lnTo>
                    <a:lnTo>
                      <a:pt x="10052" y="11660"/>
                    </a:lnTo>
                    <a:lnTo>
                      <a:pt x="10051" y="11657"/>
                    </a:lnTo>
                    <a:lnTo>
                      <a:pt x="10049" y="11653"/>
                    </a:lnTo>
                    <a:lnTo>
                      <a:pt x="10048" y="11648"/>
                    </a:lnTo>
                    <a:lnTo>
                      <a:pt x="10041" y="11642"/>
                    </a:lnTo>
                    <a:lnTo>
                      <a:pt x="10032" y="11636"/>
                    </a:lnTo>
                    <a:lnTo>
                      <a:pt x="10025" y="11629"/>
                    </a:lnTo>
                    <a:lnTo>
                      <a:pt x="10019" y="11620"/>
                    </a:lnTo>
                    <a:lnTo>
                      <a:pt x="10006" y="11604"/>
                    </a:lnTo>
                    <a:lnTo>
                      <a:pt x="9995" y="11586"/>
                    </a:lnTo>
                    <a:lnTo>
                      <a:pt x="9987" y="11566"/>
                    </a:lnTo>
                    <a:lnTo>
                      <a:pt x="9978" y="11546"/>
                    </a:lnTo>
                    <a:lnTo>
                      <a:pt x="9974" y="11527"/>
                    </a:lnTo>
                    <a:lnTo>
                      <a:pt x="9970" y="11507"/>
                    </a:lnTo>
                    <a:lnTo>
                      <a:pt x="9969" y="11507"/>
                    </a:lnTo>
                    <a:lnTo>
                      <a:pt x="9968" y="11505"/>
                    </a:lnTo>
                    <a:lnTo>
                      <a:pt x="9946" y="11507"/>
                    </a:lnTo>
                    <a:lnTo>
                      <a:pt x="9924" y="11511"/>
                    </a:lnTo>
                    <a:lnTo>
                      <a:pt x="9903" y="11515"/>
                    </a:lnTo>
                    <a:lnTo>
                      <a:pt x="9881" y="11518"/>
                    </a:lnTo>
                    <a:lnTo>
                      <a:pt x="9870" y="11518"/>
                    </a:lnTo>
                    <a:lnTo>
                      <a:pt x="9859" y="11517"/>
                    </a:lnTo>
                    <a:lnTo>
                      <a:pt x="9850" y="11515"/>
                    </a:lnTo>
                    <a:lnTo>
                      <a:pt x="9840" y="11512"/>
                    </a:lnTo>
                    <a:lnTo>
                      <a:pt x="9830" y="11510"/>
                    </a:lnTo>
                    <a:lnTo>
                      <a:pt x="9821" y="11507"/>
                    </a:lnTo>
                    <a:lnTo>
                      <a:pt x="9811" y="11505"/>
                    </a:lnTo>
                    <a:lnTo>
                      <a:pt x="9800" y="11505"/>
                    </a:lnTo>
                    <a:lnTo>
                      <a:pt x="9791" y="11506"/>
                    </a:lnTo>
                    <a:lnTo>
                      <a:pt x="9777" y="11507"/>
                    </a:lnTo>
                    <a:lnTo>
                      <a:pt x="9770" y="11506"/>
                    </a:lnTo>
                    <a:lnTo>
                      <a:pt x="9764" y="11506"/>
                    </a:lnTo>
                    <a:lnTo>
                      <a:pt x="9759" y="11505"/>
                    </a:lnTo>
                    <a:lnTo>
                      <a:pt x="9757" y="11502"/>
                    </a:lnTo>
                    <a:lnTo>
                      <a:pt x="9752" y="11486"/>
                    </a:lnTo>
                    <a:lnTo>
                      <a:pt x="9748" y="11469"/>
                    </a:lnTo>
                    <a:lnTo>
                      <a:pt x="9746" y="11462"/>
                    </a:lnTo>
                    <a:lnTo>
                      <a:pt x="9742" y="11453"/>
                    </a:lnTo>
                    <a:lnTo>
                      <a:pt x="9738" y="11446"/>
                    </a:lnTo>
                    <a:lnTo>
                      <a:pt x="9730" y="11439"/>
                    </a:lnTo>
                    <a:lnTo>
                      <a:pt x="9729" y="11435"/>
                    </a:lnTo>
                    <a:lnTo>
                      <a:pt x="9728" y="11433"/>
                    </a:lnTo>
                    <a:lnTo>
                      <a:pt x="9724" y="11429"/>
                    </a:lnTo>
                    <a:lnTo>
                      <a:pt x="9721" y="11427"/>
                    </a:lnTo>
                    <a:lnTo>
                      <a:pt x="9711" y="11419"/>
                    </a:lnTo>
                    <a:lnTo>
                      <a:pt x="9699" y="11412"/>
                    </a:lnTo>
                    <a:lnTo>
                      <a:pt x="9687" y="11406"/>
                    </a:lnTo>
                    <a:lnTo>
                      <a:pt x="9676" y="11401"/>
                    </a:lnTo>
                    <a:lnTo>
                      <a:pt x="9665" y="11399"/>
                    </a:lnTo>
                    <a:lnTo>
                      <a:pt x="9658" y="11398"/>
                    </a:lnTo>
                    <a:lnTo>
                      <a:pt x="9650" y="11400"/>
                    </a:lnTo>
                    <a:lnTo>
                      <a:pt x="9640" y="11400"/>
                    </a:lnTo>
                    <a:lnTo>
                      <a:pt x="9641" y="11395"/>
                    </a:lnTo>
                    <a:lnTo>
                      <a:pt x="9647" y="11386"/>
                    </a:lnTo>
                    <a:lnTo>
                      <a:pt x="9653" y="11377"/>
                    </a:lnTo>
                    <a:lnTo>
                      <a:pt x="9657" y="11371"/>
                    </a:lnTo>
                    <a:lnTo>
                      <a:pt x="9661" y="11366"/>
                    </a:lnTo>
                    <a:lnTo>
                      <a:pt x="9662" y="11363"/>
                    </a:lnTo>
                    <a:lnTo>
                      <a:pt x="9662" y="11358"/>
                    </a:lnTo>
                    <a:lnTo>
                      <a:pt x="9662" y="11356"/>
                    </a:lnTo>
                    <a:lnTo>
                      <a:pt x="9658" y="11348"/>
                    </a:lnTo>
                    <a:lnTo>
                      <a:pt x="9657" y="11341"/>
                    </a:lnTo>
                    <a:lnTo>
                      <a:pt x="9671" y="11322"/>
                    </a:lnTo>
                    <a:lnTo>
                      <a:pt x="9683" y="11305"/>
                    </a:lnTo>
                    <a:lnTo>
                      <a:pt x="9685" y="11297"/>
                    </a:lnTo>
                    <a:lnTo>
                      <a:pt x="9687" y="11291"/>
                    </a:lnTo>
                    <a:lnTo>
                      <a:pt x="9689" y="11287"/>
                    </a:lnTo>
                    <a:lnTo>
                      <a:pt x="9694" y="11285"/>
                    </a:lnTo>
                    <a:lnTo>
                      <a:pt x="9705" y="11281"/>
                    </a:lnTo>
                    <a:lnTo>
                      <a:pt x="9717" y="11276"/>
                    </a:lnTo>
                    <a:lnTo>
                      <a:pt x="9721" y="11273"/>
                    </a:lnTo>
                    <a:lnTo>
                      <a:pt x="9722" y="11270"/>
                    </a:lnTo>
                    <a:lnTo>
                      <a:pt x="9722" y="11268"/>
                    </a:lnTo>
                    <a:lnTo>
                      <a:pt x="9720" y="11265"/>
                    </a:lnTo>
                    <a:lnTo>
                      <a:pt x="9712" y="11259"/>
                    </a:lnTo>
                    <a:lnTo>
                      <a:pt x="9702" y="11256"/>
                    </a:lnTo>
                    <a:lnTo>
                      <a:pt x="9691" y="11251"/>
                    </a:lnTo>
                    <a:lnTo>
                      <a:pt x="9680" y="11247"/>
                    </a:lnTo>
                    <a:lnTo>
                      <a:pt x="9675" y="11245"/>
                    </a:lnTo>
                    <a:lnTo>
                      <a:pt x="9671" y="11243"/>
                    </a:lnTo>
                    <a:lnTo>
                      <a:pt x="9670" y="11241"/>
                    </a:lnTo>
                    <a:lnTo>
                      <a:pt x="9669" y="11239"/>
                    </a:lnTo>
                    <a:lnTo>
                      <a:pt x="9671" y="11229"/>
                    </a:lnTo>
                    <a:lnTo>
                      <a:pt x="9677" y="11218"/>
                    </a:lnTo>
                    <a:lnTo>
                      <a:pt x="9683" y="11206"/>
                    </a:lnTo>
                    <a:lnTo>
                      <a:pt x="9689" y="11198"/>
                    </a:lnTo>
                    <a:lnTo>
                      <a:pt x="9694" y="11192"/>
                    </a:lnTo>
                    <a:lnTo>
                      <a:pt x="9698" y="11185"/>
                    </a:lnTo>
                    <a:lnTo>
                      <a:pt x="9702" y="11178"/>
                    </a:lnTo>
                    <a:lnTo>
                      <a:pt x="9704" y="11170"/>
                    </a:lnTo>
                    <a:lnTo>
                      <a:pt x="9710" y="11155"/>
                    </a:lnTo>
                    <a:lnTo>
                      <a:pt x="9715" y="11139"/>
                    </a:lnTo>
                    <a:lnTo>
                      <a:pt x="9721" y="11125"/>
                    </a:lnTo>
                    <a:lnTo>
                      <a:pt x="9728" y="11111"/>
                    </a:lnTo>
                    <a:lnTo>
                      <a:pt x="9732" y="11105"/>
                    </a:lnTo>
                    <a:lnTo>
                      <a:pt x="9738" y="11101"/>
                    </a:lnTo>
                    <a:lnTo>
                      <a:pt x="9742" y="11096"/>
                    </a:lnTo>
                    <a:lnTo>
                      <a:pt x="9750" y="11092"/>
                    </a:lnTo>
                    <a:lnTo>
                      <a:pt x="9767" y="11086"/>
                    </a:lnTo>
                    <a:lnTo>
                      <a:pt x="9779" y="11079"/>
                    </a:lnTo>
                    <a:lnTo>
                      <a:pt x="9782" y="11074"/>
                    </a:lnTo>
                    <a:lnTo>
                      <a:pt x="9785" y="11068"/>
                    </a:lnTo>
                    <a:lnTo>
                      <a:pt x="9787" y="11060"/>
                    </a:lnTo>
                    <a:lnTo>
                      <a:pt x="9787" y="11048"/>
                    </a:lnTo>
                    <a:lnTo>
                      <a:pt x="9785" y="11052"/>
                    </a:lnTo>
                    <a:lnTo>
                      <a:pt x="9779" y="11056"/>
                    </a:lnTo>
                    <a:lnTo>
                      <a:pt x="9771" y="11060"/>
                    </a:lnTo>
                    <a:lnTo>
                      <a:pt x="9763" y="11063"/>
                    </a:lnTo>
                    <a:lnTo>
                      <a:pt x="9746" y="11068"/>
                    </a:lnTo>
                    <a:lnTo>
                      <a:pt x="9734" y="11073"/>
                    </a:lnTo>
                    <a:lnTo>
                      <a:pt x="9729" y="11075"/>
                    </a:lnTo>
                    <a:lnTo>
                      <a:pt x="9724" y="11079"/>
                    </a:lnTo>
                    <a:lnTo>
                      <a:pt x="9718" y="11085"/>
                    </a:lnTo>
                    <a:lnTo>
                      <a:pt x="9714" y="11091"/>
                    </a:lnTo>
                    <a:lnTo>
                      <a:pt x="9704" y="11103"/>
                    </a:lnTo>
                    <a:lnTo>
                      <a:pt x="9698" y="11114"/>
                    </a:lnTo>
                    <a:lnTo>
                      <a:pt x="9693" y="11125"/>
                    </a:lnTo>
                    <a:lnTo>
                      <a:pt x="9688" y="11137"/>
                    </a:lnTo>
                    <a:lnTo>
                      <a:pt x="9686" y="11149"/>
                    </a:lnTo>
                    <a:lnTo>
                      <a:pt x="9682" y="11162"/>
                    </a:lnTo>
                    <a:lnTo>
                      <a:pt x="9675" y="11170"/>
                    </a:lnTo>
                    <a:lnTo>
                      <a:pt x="9669" y="11179"/>
                    </a:lnTo>
                    <a:lnTo>
                      <a:pt x="9664" y="11188"/>
                    </a:lnTo>
                    <a:lnTo>
                      <a:pt x="9658" y="11198"/>
                    </a:lnTo>
                    <a:lnTo>
                      <a:pt x="9652" y="11206"/>
                    </a:lnTo>
                    <a:lnTo>
                      <a:pt x="9646" y="11215"/>
                    </a:lnTo>
                    <a:lnTo>
                      <a:pt x="9641" y="11218"/>
                    </a:lnTo>
                    <a:lnTo>
                      <a:pt x="9637" y="11222"/>
                    </a:lnTo>
                    <a:lnTo>
                      <a:pt x="9631" y="11226"/>
                    </a:lnTo>
                    <a:lnTo>
                      <a:pt x="9625" y="11228"/>
                    </a:lnTo>
                    <a:lnTo>
                      <a:pt x="9616" y="11234"/>
                    </a:lnTo>
                    <a:lnTo>
                      <a:pt x="9605" y="11243"/>
                    </a:lnTo>
                    <a:lnTo>
                      <a:pt x="9594" y="11253"/>
                    </a:lnTo>
                    <a:lnTo>
                      <a:pt x="9582" y="11267"/>
                    </a:lnTo>
                    <a:lnTo>
                      <a:pt x="9558" y="11293"/>
                    </a:lnTo>
                    <a:lnTo>
                      <a:pt x="9539" y="11312"/>
                    </a:lnTo>
                    <a:lnTo>
                      <a:pt x="9527" y="11323"/>
                    </a:lnTo>
                    <a:lnTo>
                      <a:pt x="9517" y="11338"/>
                    </a:lnTo>
                    <a:lnTo>
                      <a:pt x="9508" y="11351"/>
                    </a:lnTo>
                    <a:lnTo>
                      <a:pt x="9497" y="11364"/>
                    </a:lnTo>
                    <a:lnTo>
                      <a:pt x="9496" y="11365"/>
                    </a:lnTo>
                    <a:lnTo>
                      <a:pt x="9493" y="11364"/>
                    </a:lnTo>
                    <a:lnTo>
                      <a:pt x="9490" y="11364"/>
                    </a:lnTo>
                    <a:lnTo>
                      <a:pt x="9485" y="11362"/>
                    </a:lnTo>
                    <a:lnTo>
                      <a:pt x="9475" y="11357"/>
                    </a:lnTo>
                    <a:lnTo>
                      <a:pt x="9464" y="11350"/>
                    </a:lnTo>
                    <a:lnTo>
                      <a:pt x="9444" y="11336"/>
                    </a:lnTo>
                    <a:lnTo>
                      <a:pt x="9436" y="11329"/>
                    </a:lnTo>
                    <a:lnTo>
                      <a:pt x="9437" y="11324"/>
                    </a:lnTo>
                    <a:lnTo>
                      <a:pt x="9439" y="11321"/>
                    </a:lnTo>
                    <a:lnTo>
                      <a:pt x="9442" y="11317"/>
                    </a:lnTo>
                    <a:lnTo>
                      <a:pt x="9446" y="11315"/>
                    </a:lnTo>
                    <a:lnTo>
                      <a:pt x="9450" y="11312"/>
                    </a:lnTo>
                    <a:lnTo>
                      <a:pt x="9455" y="11310"/>
                    </a:lnTo>
                    <a:lnTo>
                      <a:pt x="9460" y="11309"/>
                    </a:lnTo>
                    <a:lnTo>
                      <a:pt x="9464" y="11309"/>
                    </a:lnTo>
                    <a:lnTo>
                      <a:pt x="9464" y="11306"/>
                    </a:lnTo>
                    <a:lnTo>
                      <a:pt x="9439" y="11299"/>
                    </a:lnTo>
                    <a:lnTo>
                      <a:pt x="9410" y="11291"/>
                    </a:lnTo>
                    <a:lnTo>
                      <a:pt x="9379" y="11280"/>
                    </a:lnTo>
                    <a:lnTo>
                      <a:pt x="9345" y="11271"/>
                    </a:lnTo>
                    <a:lnTo>
                      <a:pt x="9330" y="11268"/>
                    </a:lnTo>
                    <a:lnTo>
                      <a:pt x="9313" y="11264"/>
                    </a:lnTo>
                    <a:lnTo>
                      <a:pt x="9297" y="11263"/>
                    </a:lnTo>
                    <a:lnTo>
                      <a:pt x="9282" y="11262"/>
                    </a:lnTo>
                    <a:lnTo>
                      <a:pt x="9267" y="11262"/>
                    </a:lnTo>
                    <a:lnTo>
                      <a:pt x="9253" y="11264"/>
                    </a:lnTo>
                    <a:lnTo>
                      <a:pt x="9241" y="11268"/>
                    </a:lnTo>
                    <a:lnTo>
                      <a:pt x="9229" y="11273"/>
                    </a:lnTo>
                    <a:lnTo>
                      <a:pt x="9226" y="11271"/>
                    </a:lnTo>
                    <a:lnTo>
                      <a:pt x="9227" y="11264"/>
                    </a:lnTo>
                    <a:lnTo>
                      <a:pt x="9229" y="11258"/>
                    </a:lnTo>
                    <a:lnTo>
                      <a:pt x="9232" y="11252"/>
                    </a:lnTo>
                    <a:lnTo>
                      <a:pt x="9236" y="11247"/>
                    </a:lnTo>
                    <a:lnTo>
                      <a:pt x="9245" y="11240"/>
                    </a:lnTo>
                    <a:lnTo>
                      <a:pt x="9256" y="11233"/>
                    </a:lnTo>
                    <a:lnTo>
                      <a:pt x="9269" y="11228"/>
                    </a:lnTo>
                    <a:lnTo>
                      <a:pt x="9282" y="11222"/>
                    </a:lnTo>
                    <a:lnTo>
                      <a:pt x="9286" y="11218"/>
                    </a:lnTo>
                    <a:lnTo>
                      <a:pt x="9291" y="11215"/>
                    </a:lnTo>
                    <a:lnTo>
                      <a:pt x="9296" y="11211"/>
                    </a:lnTo>
                    <a:lnTo>
                      <a:pt x="9300" y="11208"/>
                    </a:lnTo>
                    <a:lnTo>
                      <a:pt x="9310" y="11187"/>
                    </a:lnTo>
                    <a:lnTo>
                      <a:pt x="9326" y="11157"/>
                    </a:lnTo>
                    <a:lnTo>
                      <a:pt x="9333" y="11141"/>
                    </a:lnTo>
                    <a:lnTo>
                      <a:pt x="9339" y="11127"/>
                    </a:lnTo>
                    <a:lnTo>
                      <a:pt x="9343" y="11115"/>
                    </a:lnTo>
                    <a:lnTo>
                      <a:pt x="9343" y="11108"/>
                    </a:lnTo>
                    <a:lnTo>
                      <a:pt x="9326" y="11111"/>
                    </a:lnTo>
                    <a:lnTo>
                      <a:pt x="9306" y="11117"/>
                    </a:lnTo>
                    <a:lnTo>
                      <a:pt x="9296" y="11120"/>
                    </a:lnTo>
                    <a:lnTo>
                      <a:pt x="9288" y="11121"/>
                    </a:lnTo>
                    <a:lnTo>
                      <a:pt x="9283" y="11120"/>
                    </a:lnTo>
                    <a:lnTo>
                      <a:pt x="9279" y="11119"/>
                    </a:lnTo>
                    <a:lnTo>
                      <a:pt x="9275" y="11117"/>
                    </a:lnTo>
                    <a:lnTo>
                      <a:pt x="9272" y="11115"/>
                    </a:lnTo>
                    <a:lnTo>
                      <a:pt x="9267" y="11110"/>
                    </a:lnTo>
                    <a:lnTo>
                      <a:pt x="9261" y="11109"/>
                    </a:lnTo>
                    <a:lnTo>
                      <a:pt x="9255" y="11109"/>
                    </a:lnTo>
                    <a:lnTo>
                      <a:pt x="9248" y="11109"/>
                    </a:lnTo>
                    <a:lnTo>
                      <a:pt x="9236" y="11111"/>
                    </a:lnTo>
                    <a:lnTo>
                      <a:pt x="9224" y="11114"/>
                    </a:lnTo>
                    <a:lnTo>
                      <a:pt x="9226" y="11098"/>
                    </a:lnTo>
                    <a:lnTo>
                      <a:pt x="9230" y="11081"/>
                    </a:lnTo>
                    <a:lnTo>
                      <a:pt x="9227" y="11082"/>
                    </a:lnTo>
                    <a:lnTo>
                      <a:pt x="9226" y="11081"/>
                    </a:lnTo>
                    <a:lnTo>
                      <a:pt x="9215" y="11082"/>
                    </a:lnTo>
                    <a:lnTo>
                      <a:pt x="9204" y="11086"/>
                    </a:lnTo>
                    <a:lnTo>
                      <a:pt x="9192" y="11091"/>
                    </a:lnTo>
                    <a:lnTo>
                      <a:pt x="9180" y="11097"/>
                    </a:lnTo>
                    <a:lnTo>
                      <a:pt x="9156" y="11108"/>
                    </a:lnTo>
                    <a:lnTo>
                      <a:pt x="9135" y="11117"/>
                    </a:lnTo>
                    <a:lnTo>
                      <a:pt x="9126" y="11120"/>
                    </a:lnTo>
                    <a:lnTo>
                      <a:pt x="9119" y="11120"/>
                    </a:lnTo>
                    <a:lnTo>
                      <a:pt x="9111" y="11119"/>
                    </a:lnTo>
                    <a:lnTo>
                      <a:pt x="9105" y="11116"/>
                    </a:lnTo>
                    <a:lnTo>
                      <a:pt x="9102" y="11115"/>
                    </a:lnTo>
                    <a:lnTo>
                      <a:pt x="9100" y="11113"/>
                    </a:lnTo>
                    <a:lnTo>
                      <a:pt x="9097" y="11110"/>
                    </a:lnTo>
                    <a:lnTo>
                      <a:pt x="9097" y="11108"/>
                    </a:lnTo>
                    <a:lnTo>
                      <a:pt x="9097" y="11105"/>
                    </a:lnTo>
                    <a:lnTo>
                      <a:pt x="9097" y="11103"/>
                    </a:lnTo>
                    <a:lnTo>
                      <a:pt x="9100" y="11099"/>
                    </a:lnTo>
                    <a:lnTo>
                      <a:pt x="9102" y="11097"/>
                    </a:lnTo>
                    <a:lnTo>
                      <a:pt x="9113" y="11088"/>
                    </a:lnTo>
                    <a:lnTo>
                      <a:pt x="9126" y="11081"/>
                    </a:lnTo>
                    <a:lnTo>
                      <a:pt x="9139" y="11075"/>
                    </a:lnTo>
                    <a:lnTo>
                      <a:pt x="9152" y="11068"/>
                    </a:lnTo>
                    <a:lnTo>
                      <a:pt x="9158" y="11063"/>
                    </a:lnTo>
                    <a:lnTo>
                      <a:pt x="9164" y="11058"/>
                    </a:lnTo>
                    <a:lnTo>
                      <a:pt x="9170" y="11052"/>
                    </a:lnTo>
                    <a:lnTo>
                      <a:pt x="9176" y="11045"/>
                    </a:lnTo>
                    <a:lnTo>
                      <a:pt x="9180" y="11037"/>
                    </a:lnTo>
                    <a:lnTo>
                      <a:pt x="9184" y="11030"/>
                    </a:lnTo>
                    <a:lnTo>
                      <a:pt x="9188" y="11022"/>
                    </a:lnTo>
                    <a:lnTo>
                      <a:pt x="9189" y="11015"/>
                    </a:lnTo>
                    <a:lnTo>
                      <a:pt x="9188" y="11014"/>
                    </a:lnTo>
                    <a:lnTo>
                      <a:pt x="9173" y="11015"/>
                    </a:lnTo>
                    <a:lnTo>
                      <a:pt x="9158" y="11019"/>
                    </a:lnTo>
                    <a:lnTo>
                      <a:pt x="9141" y="11025"/>
                    </a:lnTo>
                    <a:lnTo>
                      <a:pt x="9124" y="11031"/>
                    </a:lnTo>
                    <a:lnTo>
                      <a:pt x="9089" y="11044"/>
                    </a:lnTo>
                    <a:lnTo>
                      <a:pt x="9059" y="11055"/>
                    </a:lnTo>
                    <a:lnTo>
                      <a:pt x="9049" y="11057"/>
                    </a:lnTo>
                    <a:lnTo>
                      <a:pt x="9038" y="11062"/>
                    </a:lnTo>
                    <a:lnTo>
                      <a:pt x="9025" y="11067"/>
                    </a:lnTo>
                    <a:lnTo>
                      <a:pt x="9013" y="11073"/>
                    </a:lnTo>
                    <a:lnTo>
                      <a:pt x="9000" y="11078"/>
                    </a:lnTo>
                    <a:lnTo>
                      <a:pt x="8988" y="11081"/>
                    </a:lnTo>
                    <a:lnTo>
                      <a:pt x="8983" y="11082"/>
                    </a:lnTo>
                    <a:lnTo>
                      <a:pt x="8978" y="11084"/>
                    </a:lnTo>
                    <a:lnTo>
                      <a:pt x="8975" y="11082"/>
                    </a:lnTo>
                    <a:lnTo>
                      <a:pt x="8971" y="11081"/>
                    </a:lnTo>
                    <a:lnTo>
                      <a:pt x="8960" y="11075"/>
                    </a:lnTo>
                    <a:lnTo>
                      <a:pt x="8945" y="11064"/>
                    </a:lnTo>
                    <a:lnTo>
                      <a:pt x="8937" y="11060"/>
                    </a:lnTo>
                    <a:lnTo>
                      <a:pt x="8931" y="11054"/>
                    </a:lnTo>
                    <a:lnTo>
                      <a:pt x="8928" y="11049"/>
                    </a:lnTo>
                    <a:lnTo>
                      <a:pt x="8926" y="11045"/>
                    </a:lnTo>
                    <a:lnTo>
                      <a:pt x="8929" y="11042"/>
                    </a:lnTo>
                    <a:lnTo>
                      <a:pt x="8934" y="11039"/>
                    </a:lnTo>
                    <a:lnTo>
                      <a:pt x="8940" y="11037"/>
                    </a:lnTo>
                    <a:lnTo>
                      <a:pt x="8946" y="11036"/>
                    </a:lnTo>
                    <a:lnTo>
                      <a:pt x="8960" y="11034"/>
                    </a:lnTo>
                    <a:lnTo>
                      <a:pt x="8971" y="11033"/>
                    </a:lnTo>
                    <a:lnTo>
                      <a:pt x="8981" y="11031"/>
                    </a:lnTo>
                    <a:lnTo>
                      <a:pt x="8989" y="11028"/>
                    </a:lnTo>
                    <a:lnTo>
                      <a:pt x="8996" y="11025"/>
                    </a:lnTo>
                    <a:lnTo>
                      <a:pt x="9001" y="11021"/>
                    </a:lnTo>
                    <a:lnTo>
                      <a:pt x="9013" y="11013"/>
                    </a:lnTo>
                    <a:lnTo>
                      <a:pt x="9026" y="11003"/>
                    </a:lnTo>
                    <a:lnTo>
                      <a:pt x="9037" y="10998"/>
                    </a:lnTo>
                    <a:lnTo>
                      <a:pt x="9049" y="10996"/>
                    </a:lnTo>
                    <a:lnTo>
                      <a:pt x="9061" y="10992"/>
                    </a:lnTo>
                    <a:lnTo>
                      <a:pt x="9072" y="10990"/>
                    </a:lnTo>
                    <a:lnTo>
                      <a:pt x="9083" y="10986"/>
                    </a:lnTo>
                    <a:lnTo>
                      <a:pt x="9093" y="10981"/>
                    </a:lnTo>
                    <a:lnTo>
                      <a:pt x="9096" y="10978"/>
                    </a:lnTo>
                    <a:lnTo>
                      <a:pt x="9100" y="10973"/>
                    </a:lnTo>
                    <a:lnTo>
                      <a:pt x="9102" y="10968"/>
                    </a:lnTo>
                    <a:lnTo>
                      <a:pt x="9105" y="10963"/>
                    </a:lnTo>
                    <a:lnTo>
                      <a:pt x="9119" y="10949"/>
                    </a:lnTo>
                    <a:lnTo>
                      <a:pt x="9130" y="10939"/>
                    </a:lnTo>
                    <a:lnTo>
                      <a:pt x="9124" y="10930"/>
                    </a:lnTo>
                    <a:lnTo>
                      <a:pt x="9118" y="10921"/>
                    </a:lnTo>
                    <a:lnTo>
                      <a:pt x="9113" y="10916"/>
                    </a:lnTo>
                    <a:lnTo>
                      <a:pt x="9107" y="10913"/>
                    </a:lnTo>
                    <a:lnTo>
                      <a:pt x="9102" y="10913"/>
                    </a:lnTo>
                    <a:lnTo>
                      <a:pt x="9096" y="10913"/>
                    </a:lnTo>
                    <a:lnTo>
                      <a:pt x="9091" y="10915"/>
                    </a:lnTo>
                    <a:lnTo>
                      <a:pt x="9087" y="10919"/>
                    </a:lnTo>
                    <a:lnTo>
                      <a:pt x="9076" y="10930"/>
                    </a:lnTo>
                    <a:lnTo>
                      <a:pt x="9064" y="10942"/>
                    </a:lnTo>
                    <a:lnTo>
                      <a:pt x="9058" y="10948"/>
                    </a:lnTo>
                    <a:lnTo>
                      <a:pt x="9050" y="10954"/>
                    </a:lnTo>
                    <a:lnTo>
                      <a:pt x="9043" y="10959"/>
                    </a:lnTo>
                    <a:lnTo>
                      <a:pt x="9036" y="10963"/>
                    </a:lnTo>
                    <a:lnTo>
                      <a:pt x="9029" y="10966"/>
                    </a:lnTo>
                    <a:lnTo>
                      <a:pt x="9018" y="10969"/>
                    </a:lnTo>
                    <a:lnTo>
                      <a:pt x="9006" y="10973"/>
                    </a:lnTo>
                    <a:lnTo>
                      <a:pt x="8993" y="10977"/>
                    </a:lnTo>
                    <a:lnTo>
                      <a:pt x="8981" y="10977"/>
                    </a:lnTo>
                    <a:lnTo>
                      <a:pt x="8970" y="10975"/>
                    </a:lnTo>
                    <a:lnTo>
                      <a:pt x="8966" y="10974"/>
                    </a:lnTo>
                    <a:lnTo>
                      <a:pt x="8963" y="10972"/>
                    </a:lnTo>
                    <a:lnTo>
                      <a:pt x="8961" y="10968"/>
                    </a:lnTo>
                    <a:lnTo>
                      <a:pt x="8960" y="10963"/>
                    </a:lnTo>
                    <a:lnTo>
                      <a:pt x="8960" y="10948"/>
                    </a:lnTo>
                    <a:lnTo>
                      <a:pt x="8961" y="10937"/>
                    </a:lnTo>
                    <a:lnTo>
                      <a:pt x="8961" y="10932"/>
                    </a:lnTo>
                    <a:lnTo>
                      <a:pt x="8959" y="10928"/>
                    </a:lnTo>
                    <a:lnTo>
                      <a:pt x="8948" y="10927"/>
                    </a:lnTo>
                    <a:lnTo>
                      <a:pt x="8923" y="10922"/>
                    </a:lnTo>
                    <a:lnTo>
                      <a:pt x="8917" y="10921"/>
                    </a:lnTo>
                    <a:lnTo>
                      <a:pt x="8912" y="10919"/>
                    </a:lnTo>
                    <a:lnTo>
                      <a:pt x="8908" y="10918"/>
                    </a:lnTo>
                    <a:lnTo>
                      <a:pt x="8906" y="10915"/>
                    </a:lnTo>
                    <a:lnTo>
                      <a:pt x="8905" y="10910"/>
                    </a:lnTo>
                    <a:lnTo>
                      <a:pt x="8906" y="10906"/>
                    </a:lnTo>
                    <a:lnTo>
                      <a:pt x="8907" y="10900"/>
                    </a:lnTo>
                    <a:lnTo>
                      <a:pt x="8907" y="10894"/>
                    </a:lnTo>
                    <a:lnTo>
                      <a:pt x="8906" y="10890"/>
                    </a:lnTo>
                    <a:lnTo>
                      <a:pt x="8905" y="10885"/>
                    </a:lnTo>
                    <a:lnTo>
                      <a:pt x="8902" y="10880"/>
                    </a:lnTo>
                    <a:lnTo>
                      <a:pt x="8898" y="10875"/>
                    </a:lnTo>
                    <a:lnTo>
                      <a:pt x="8895" y="10874"/>
                    </a:lnTo>
                    <a:lnTo>
                      <a:pt x="8895" y="10872"/>
                    </a:lnTo>
                    <a:lnTo>
                      <a:pt x="8895" y="10871"/>
                    </a:lnTo>
                    <a:lnTo>
                      <a:pt x="8896" y="10869"/>
                    </a:lnTo>
                    <a:lnTo>
                      <a:pt x="8900" y="10868"/>
                    </a:lnTo>
                    <a:lnTo>
                      <a:pt x="8906" y="10867"/>
                    </a:lnTo>
                    <a:lnTo>
                      <a:pt x="8913" y="10868"/>
                    </a:lnTo>
                    <a:lnTo>
                      <a:pt x="8920" y="10869"/>
                    </a:lnTo>
                    <a:lnTo>
                      <a:pt x="8928" y="10871"/>
                    </a:lnTo>
                    <a:lnTo>
                      <a:pt x="8932" y="10874"/>
                    </a:lnTo>
                    <a:lnTo>
                      <a:pt x="8941" y="10879"/>
                    </a:lnTo>
                    <a:lnTo>
                      <a:pt x="8947" y="10881"/>
                    </a:lnTo>
                    <a:lnTo>
                      <a:pt x="8952" y="10883"/>
                    </a:lnTo>
                    <a:lnTo>
                      <a:pt x="8953" y="10881"/>
                    </a:lnTo>
                    <a:lnTo>
                      <a:pt x="8953" y="10879"/>
                    </a:lnTo>
                    <a:lnTo>
                      <a:pt x="8952" y="10874"/>
                    </a:lnTo>
                    <a:lnTo>
                      <a:pt x="8949" y="10869"/>
                    </a:lnTo>
                    <a:lnTo>
                      <a:pt x="8946" y="10865"/>
                    </a:lnTo>
                    <a:lnTo>
                      <a:pt x="8928" y="10838"/>
                    </a:lnTo>
                    <a:lnTo>
                      <a:pt x="8912" y="10820"/>
                    </a:lnTo>
                    <a:lnTo>
                      <a:pt x="8908" y="10817"/>
                    </a:lnTo>
                    <a:lnTo>
                      <a:pt x="8907" y="10813"/>
                    </a:lnTo>
                    <a:lnTo>
                      <a:pt x="8906" y="10809"/>
                    </a:lnTo>
                    <a:lnTo>
                      <a:pt x="8907" y="10808"/>
                    </a:lnTo>
                    <a:lnTo>
                      <a:pt x="8908" y="10806"/>
                    </a:lnTo>
                    <a:lnTo>
                      <a:pt x="8912" y="10804"/>
                    </a:lnTo>
                    <a:lnTo>
                      <a:pt x="8914" y="10804"/>
                    </a:lnTo>
                    <a:lnTo>
                      <a:pt x="8919" y="10804"/>
                    </a:lnTo>
                    <a:lnTo>
                      <a:pt x="8937" y="10807"/>
                    </a:lnTo>
                    <a:lnTo>
                      <a:pt x="8951" y="10810"/>
                    </a:lnTo>
                    <a:lnTo>
                      <a:pt x="8963" y="10814"/>
                    </a:lnTo>
                    <a:lnTo>
                      <a:pt x="8972" y="10818"/>
                    </a:lnTo>
                    <a:lnTo>
                      <a:pt x="8981" y="10819"/>
                    </a:lnTo>
                    <a:lnTo>
                      <a:pt x="8985" y="10819"/>
                    </a:lnTo>
                    <a:lnTo>
                      <a:pt x="8987" y="10818"/>
                    </a:lnTo>
                    <a:lnTo>
                      <a:pt x="8987" y="10817"/>
                    </a:lnTo>
                    <a:lnTo>
                      <a:pt x="8987" y="10814"/>
                    </a:lnTo>
                    <a:lnTo>
                      <a:pt x="8985" y="10810"/>
                    </a:lnTo>
                    <a:lnTo>
                      <a:pt x="8981" y="10802"/>
                    </a:lnTo>
                    <a:lnTo>
                      <a:pt x="8972" y="10791"/>
                    </a:lnTo>
                    <a:lnTo>
                      <a:pt x="8955" y="10777"/>
                    </a:lnTo>
                    <a:lnTo>
                      <a:pt x="8936" y="10764"/>
                    </a:lnTo>
                    <a:lnTo>
                      <a:pt x="8932" y="10760"/>
                    </a:lnTo>
                    <a:lnTo>
                      <a:pt x="8930" y="10758"/>
                    </a:lnTo>
                    <a:lnTo>
                      <a:pt x="8929" y="10755"/>
                    </a:lnTo>
                    <a:lnTo>
                      <a:pt x="8930" y="10754"/>
                    </a:lnTo>
                    <a:lnTo>
                      <a:pt x="8932" y="10752"/>
                    </a:lnTo>
                    <a:lnTo>
                      <a:pt x="8936" y="10750"/>
                    </a:lnTo>
                    <a:lnTo>
                      <a:pt x="8943" y="10750"/>
                    </a:lnTo>
                    <a:lnTo>
                      <a:pt x="8952" y="10749"/>
                    </a:lnTo>
                    <a:lnTo>
                      <a:pt x="8978" y="10749"/>
                    </a:lnTo>
                    <a:lnTo>
                      <a:pt x="9006" y="10747"/>
                    </a:lnTo>
                    <a:lnTo>
                      <a:pt x="9020" y="10746"/>
                    </a:lnTo>
                    <a:lnTo>
                      <a:pt x="9035" y="10743"/>
                    </a:lnTo>
                    <a:lnTo>
                      <a:pt x="9047" y="10739"/>
                    </a:lnTo>
                    <a:lnTo>
                      <a:pt x="9059" y="10736"/>
                    </a:lnTo>
                    <a:lnTo>
                      <a:pt x="9068" y="10731"/>
                    </a:lnTo>
                    <a:lnTo>
                      <a:pt x="9075" y="10725"/>
                    </a:lnTo>
                    <a:lnTo>
                      <a:pt x="9077" y="10723"/>
                    </a:lnTo>
                    <a:lnTo>
                      <a:pt x="9077" y="10720"/>
                    </a:lnTo>
                    <a:lnTo>
                      <a:pt x="9077" y="10718"/>
                    </a:lnTo>
                    <a:lnTo>
                      <a:pt x="9076" y="10717"/>
                    </a:lnTo>
                    <a:lnTo>
                      <a:pt x="9072" y="10713"/>
                    </a:lnTo>
                    <a:lnTo>
                      <a:pt x="9065" y="10711"/>
                    </a:lnTo>
                    <a:lnTo>
                      <a:pt x="9056" y="10711"/>
                    </a:lnTo>
                    <a:lnTo>
                      <a:pt x="9046" y="10712"/>
                    </a:lnTo>
                    <a:lnTo>
                      <a:pt x="9035" y="10713"/>
                    </a:lnTo>
                    <a:lnTo>
                      <a:pt x="9024" y="10713"/>
                    </a:lnTo>
                    <a:lnTo>
                      <a:pt x="9012" y="10713"/>
                    </a:lnTo>
                    <a:lnTo>
                      <a:pt x="9001" y="10712"/>
                    </a:lnTo>
                    <a:lnTo>
                      <a:pt x="8978" y="10711"/>
                    </a:lnTo>
                    <a:lnTo>
                      <a:pt x="8957" y="10711"/>
                    </a:lnTo>
                    <a:lnTo>
                      <a:pt x="8947" y="10713"/>
                    </a:lnTo>
                    <a:lnTo>
                      <a:pt x="8937" y="10717"/>
                    </a:lnTo>
                    <a:lnTo>
                      <a:pt x="8926" y="10724"/>
                    </a:lnTo>
                    <a:lnTo>
                      <a:pt x="8916" y="10732"/>
                    </a:lnTo>
                    <a:lnTo>
                      <a:pt x="8894" y="10753"/>
                    </a:lnTo>
                    <a:lnTo>
                      <a:pt x="8871" y="10777"/>
                    </a:lnTo>
                    <a:lnTo>
                      <a:pt x="8848" y="10802"/>
                    </a:lnTo>
                    <a:lnTo>
                      <a:pt x="8827" y="10826"/>
                    </a:lnTo>
                    <a:lnTo>
                      <a:pt x="8816" y="10837"/>
                    </a:lnTo>
                    <a:lnTo>
                      <a:pt x="8806" y="10847"/>
                    </a:lnTo>
                    <a:lnTo>
                      <a:pt x="8795" y="10855"/>
                    </a:lnTo>
                    <a:lnTo>
                      <a:pt x="8786" y="10861"/>
                    </a:lnTo>
                    <a:lnTo>
                      <a:pt x="8780" y="10863"/>
                    </a:lnTo>
                    <a:lnTo>
                      <a:pt x="8774" y="10865"/>
                    </a:lnTo>
                    <a:lnTo>
                      <a:pt x="8769" y="10863"/>
                    </a:lnTo>
                    <a:lnTo>
                      <a:pt x="8764" y="10861"/>
                    </a:lnTo>
                    <a:lnTo>
                      <a:pt x="8756" y="10854"/>
                    </a:lnTo>
                    <a:lnTo>
                      <a:pt x="8748" y="10845"/>
                    </a:lnTo>
                    <a:lnTo>
                      <a:pt x="8746" y="10842"/>
                    </a:lnTo>
                    <a:lnTo>
                      <a:pt x="8742" y="10838"/>
                    </a:lnTo>
                    <a:lnTo>
                      <a:pt x="8740" y="10836"/>
                    </a:lnTo>
                    <a:lnTo>
                      <a:pt x="8736" y="10835"/>
                    </a:lnTo>
                    <a:lnTo>
                      <a:pt x="8734" y="10835"/>
                    </a:lnTo>
                    <a:lnTo>
                      <a:pt x="8730" y="10837"/>
                    </a:lnTo>
                    <a:lnTo>
                      <a:pt x="8727" y="10842"/>
                    </a:lnTo>
                    <a:lnTo>
                      <a:pt x="8722" y="10848"/>
                    </a:lnTo>
                    <a:lnTo>
                      <a:pt x="8718" y="10857"/>
                    </a:lnTo>
                    <a:lnTo>
                      <a:pt x="8712" y="10865"/>
                    </a:lnTo>
                    <a:lnTo>
                      <a:pt x="8706" y="10872"/>
                    </a:lnTo>
                    <a:lnTo>
                      <a:pt x="8700" y="10879"/>
                    </a:lnTo>
                    <a:lnTo>
                      <a:pt x="8693" y="10885"/>
                    </a:lnTo>
                    <a:lnTo>
                      <a:pt x="8686" y="10890"/>
                    </a:lnTo>
                    <a:lnTo>
                      <a:pt x="8679" y="10895"/>
                    </a:lnTo>
                    <a:lnTo>
                      <a:pt x="8670" y="10898"/>
                    </a:lnTo>
                    <a:lnTo>
                      <a:pt x="8653" y="10906"/>
                    </a:lnTo>
                    <a:lnTo>
                      <a:pt x="8635" y="10909"/>
                    </a:lnTo>
                    <a:lnTo>
                      <a:pt x="8616" y="10913"/>
                    </a:lnTo>
                    <a:lnTo>
                      <a:pt x="8597" y="10913"/>
                    </a:lnTo>
                    <a:lnTo>
                      <a:pt x="8588" y="10913"/>
                    </a:lnTo>
                    <a:lnTo>
                      <a:pt x="8581" y="10909"/>
                    </a:lnTo>
                    <a:lnTo>
                      <a:pt x="8574" y="10906"/>
                    </a:lnTo>
                    <a:lnTo>
                      <a:pt x="8568" y="10901"/>
                    </a:lnTo>
                    <a:lnTo>
                      <a:pt x="8563" y="10895"/>
                    </a:lnTo>
                    <a:lnTo>
                      <a:pt x="8559" y="10886"/>
                    </a:lnTo>
                    <a:lnTo>
                      <a:pt x="8556" y="10879"/>
                    </a:lnTo>
                    <a:lnTo>
                      <a:pt x="8553" y="10869"/>
                    </a:lnTo>
                    <a:lnTo>
                      <a:pt x="8551" y="10851"/>
                    </a:lnTo>
                    <a:lnTo>
                      <a:pt x="8549" y="10832"/>
                    </a:lnTo>
                    <a:lnTo>
                      <a:pt x="8549" y="10813"/>
                    </a:lnTo>
                    <a:lnTo>
                      <a:pt x="8549" y="10796"/>
                    </a:lnTo>
                    <a:lnTo>
                      <a:pt x="8544" y="10804"/>
                    </a:lnTo>
                    <a:lnTo>
                      <a:pt x="8539" y="10815"/>
                    </a:lnTo>
                    <a:lnTo>
                      <a:pt x="8535" y="10830"/>
                    </a:lnTo>
                    <a:lnTo>
                      <a:pt x="8533" y="10844"/>
                    </a:lnTo>
                    <a:lnTo>
                      <a:pt x="8531" y="10859"/>
                    </a:lnTo>
                    <a:lnTo>
                      <a:pt x="8531" y="10873"/>
                    </a:lnTo>
                    <a:lnTo>
                      <a:pt x="8531" y="10885"/>
                    </a:lnTo>
                    <a:lnTo>
                      <a:pt x="8532" y="10895"/>
                    </a:lnTo>
                    <a:lnTo>
                      <a:pt x="8534" y="10909"/>
                    </a:lnTo>
                    <a:lnTo>
                      <a:pt x="8535" y="10919"/>
                    </a:lnTo>
                    <a:lnTo>
                      <a:pt x="8535" y="10922"/>
                    </a:lnTo>
                    <a:lnTo>
                      <a:pt x="8534" y="10925"/>
                    </a:lnTo>
                    <a:lnTo>
                      <a:pt x="8533" y="10927"/>
                    </a:lnTo>
                    <a:lnTo>
                      <a:pt x="8532" y="10930"/>
                    </a:lnTo>
                    <a:lnTo>
                      <a:pt x="8518" y="10934"/>
                    </a:lnTo>
                    <a:lnTo>
                      <a:pt x="8497" y="10939"/>
                    </a:lnTo>
                    <a:lnTo>
                      <a:pt x="8490" y="10938"/>
                    </a:lnTo>
                    <a:lnTo>
                      <a:pt x="8485" y="10934"/>
                    </a:lnTo>
                    <a:lnTo>
                      <a:pt x="8479" y="10930"/>
                    </a:lnTo>
                    <a:lnTo>
                      <a:pt x="8474" y="10925"/>
                    </a:lnTo>
                    <a:lnTo>
                      <a:pt x="8470" y="10919"/>
                    </a:lnTo>
                    <a:lnTo>
                      <a:pt x="8467" y="10913"/>
                    </a:lnTo>
                    <a:lnTo>
                      <a:pt x="8464" y="10907"/>
                    </a:lnTo>
                    <a:lnTo>
                      <a:pt x="8462" y="10901"/>
                    </a:lnTo>
                    <a:lnTo>
                      <a:pt x="8458" y="10901"/>
                    </a:lnTo>
                    <a:lnTo>
                      <a:pt x="8455" y="10910"/>
                    </a:lnTo>
                    <a:lnTo>
                      <a:pt x="8451" y="10920"/>
                    </a:lnTo>
                    <a:lnTo>
                      <a:pt x="8447" y="10930"/>
                    </a:lnTo>
                    <a:lnTo>
                      <a:pt x="8444" y="10942"/>
                    </a:lnTo>
                    <a:lnTo>
                      <a:pt x="8443" y="10953"/>
                    </a:lnTo>
                    <a:lnTo>
                      <a:pt x="8443" y="10962"/>
                    </a:lnTo>
                    <a:lnTo>
                      <a:pt x="8441" y="10972"/>
                    </a:lnTo>
                    <a:lnTo>
                      <a:pt x="8439" y="10983"/>
                    </a:lnTo>
                    <a:lnTo>
                      <a:pt x="8434" y="10981"/>
                    </a:lnTo>
                    <a:lnTo>
                      <a:pt x="8428" y="10979"/>
                    </a:lnTo>
                    <a:lnTo>
                      <a:pt x="8423" y="10975"/>
                    </a:lnTo>
                    <a:lnTo>
                      <a:pt x="8419" y="10971"/>
                    </a:lnTo>
                    <a:lnTo>
                      <a:pt x="8410" y="10959"/>
                    </a:lnTo>
                    <a:lnTo>
                      <a:pt x="8402" y="10944"/>
                    </a:lnTo>
                    <a:lnTo>
                      <a:pt x="8395" y="10928"/>
                    </a:lnTo>
                    <a:lnTo>
                      <a:pt x="8386" y="10914"/>
                    </a:lnTo>
                    <a:lnTo>
                      <a:pt x="8379" y="10901"/>
                    </a:lnTo>
                    <a:lnTo>
                      <a:pt x="8372" y="10892"/>
                    </a:lnTo>
                    <a:lnTo>
                      <a:pt x="8357" y="10879"/>
                    </a:lnTo>
                    <a:lnTo>
                      <a:pt x="8342" y="10868"/>
                    </a:lnTo>
                    <a:lnTo>
                      <a:pt x="8343" y="10859"/>
                    </a:lnTo>
                    <a:lnTo>
                      <a:pt x="8346" y="10849"/>
                    </a:lnTo>
                    <a:lnTo>
                      <a:pt x="8352" y="10838"/>
                    </a:lnTo>
                    <a:lnTo>
                      <a:pt x="8360" y="10827"/>
                    </a:lnTo>
                    <a:lnTo>
                      <a:pt x="8375" y="10807"/>
                    </a:lnTo>
                    <a:lnTo>
                      <a:pt x="8389" y="10789"/>
                    </a:lnTo>
                    <a:lnTo>
                      <a:pt x="8395" y="10778"/>
                    </a:lnTo>
                    <a:lnTo>
                      <a:pt x="8402" y="10766"/>
                    </a:lnTo>
                    <a:lnTo>
                      <a:pt x="8408" y="10754"/>
                    </a:lnTo>
                    <a:lnTo>
                      <a:pt x="8414" y="10742"/>
                    </a:lnTo>
                    <a:lnTo>
                      <a:pt x="8425" y="10717"/>
                    </a:lnTo>
                    <a:lnTo>
                      <a:pt x="8435" y="10693"/>
                    </a:lnTo>
                    <a:lnTo>
                      <a:pt x="8441" y="10679"/>
                    </a:lnTo>
                    <a:lnTo>
                      <a:pt x="8451" y="10664"/>
                    </a:lnTo>
                    <a:lnTo>
                      <a:pt x="8455" y="10655"/>
                    </a:lnTo>
                    <a:lnTo>
                      <a:pt x="8460" y="10647"/>
                    </a:lnTo>
                    <a:lnTo>
                      <a:pt x="8462" y="10641"/>
                    </a:lnTo>
                    <a:lnTo>
                      <a:pt x="8462" y="10635"/>
                    </a:lnTo>
                    <a:lnTo>
                      <a:pt x="8455" y="10638"/>
                    </a:lnTo>
                    <a:lnTo>
                      <a:pt x="8447" y="10642"/>
                    </a:lnTo>
                    <a:lnTo>
                      <a:pt x="8440" y="10648"/>
                    </a:lnTo>
                    <a:lnTo>
                      <a:pt x="8433" y="10654"/>
                    </a:lnTo>
                    <a:lnTo>
                      <a:pt x="8420" y="10670"/>
                    </a:lnTo>
                    <a:lnTo>
                      <a:pt x="8407" y="10687"/>
                    </a:lnTo>
                    <a:lnTo>
                      <a:pt x="8384" y="10724"/>
                    </a:lnTo>
                    <a:lnTo>
                      <a:pt x="8363" y="10755"/>
                    </a:lnTo>
                    <a:lnTo>
                      <a:pt x="8360" y="10759"/>
                    </a:lnTo>
                    <a:lnTo>
                      <a:pt x="8355" y="10765"/>
                    </a:lnTo>
                    <a:lnTo>
                      <a:pt x="8351" y="10771"/>
                    </a:lnTo>
                    <a:lnTo>
                      <a:pt x="8348" y="10778"/>
                    </a:lnTo>
                    <a:lnTo>
                      <a:pt x="8340" y="10792"/>
                    </a:lnTo>
                    <a:lnTo>
                      <a:pt x="8331" y="10804"/>
                    </a:lnTo>
                    <a:lnTo>
                      <a:pt x="8325" y="10809"/>
                    </a:lnTo>
                    <a:lnTo>
                      <a:pt x="8320" y="10812"/>
                    </a:lnTo>
                    <a:lnTo>
                      <a:pt x="8316" y="10812"/>
                    </a:lnTo>
                    <a:lnTo>
                      <a:pt x="8313" y="10810"/>
                    </a:lnTo>
                    <a:lnTo>
                      <a:pt x="8309" y="10808"/>
                    </a:lnTo>
                    <a:lnTo>
                      <a:pt x="8307" y="10807"/>
                    </a:lnTo>
                    <a:lnTo>
                      <a:pt x="8303" y="10807"/>
                    </a:lnTo>
                    <a:lnTo>
                      <a:pt x="8301" y="10808"/>
                    </a:lnTo>
                    <a:lnTo>
                      <a:pt x="8297" y="10812"/>
                    </a:lnTo>
                    <a:lnTo>
                      <a:pt x="8293" y="10817"/>
                    </a:lnTo>
                    <a:lnTo>
                      <a:pt x="8290" y="10823"/>
                    </a:lnTo>
                    <a:lnTo>
                      <a:pt x="8287" y="10829"/>
                    </a:lnTo>
                    <a:lnTo>
                      <a:pt x="8283" y="10842"/>
                    </a:lnTo>
                    <a:lnTo>
                      <a:pt x="8279" y="10854"/>
                    </a:lnTo>
                    <a:lnTo>
                      <a:pt x="8272" y="10869"/>
                    </a:lnTo>
                    <a:lnTo>
                      <a:pt x="8263" y="10885"/>
                    </a:lnTo>
                    <a:lnTo>
                      <a:pt x="8254" y="10902"/>
                    </a:lnTo>
                    <a:lnTo>
                      <a:pt x="8246" y="10918"/>
                    </a:lnTo>
                    <a:lnTo>
                      <a:pt x="8238" y="10936"/>
                    </a:lnTo>
                    <a:lnTo>
                      <a:pt x="8231" y="10954"/>
                    </a:lnTo>
                    <a:lnTo>
                      <a:pt x="8226" y="10962"/>
                    </a:lnTo>
                    <a:lnTo>
                      <a:pt x="8219" y="10969"/>
                    </a:lnTo>
                    <a:lnTo>
                      <a:pt x="8215" y="10973"/>
                    </a:lnTo>
                    <a:lnTo>
                      <a:pt x="8210" y="10975"/>
                    </a:lnTo>
                    <a:lnTo>
                      <a:pt x="8206" y="10978"/>
                    </a:lnTo>
                    <a:lnTo>
                      <a:pt x="8200" y="10980"/>
                    </a:lnTo>
                    <a:lnTo>
                      <a:pt x="8189" y="10980"/>
                    </a:lnTo>
                    <a:lnTo>
                      <a:pt x="8179" y="10978"/>
                    </a:lnTo>
                    <a:lnTo>
                      <a:pt x="8174" y="10977"/>
                    </a:lnTo>
                    <a:lnTo>
                      <a:pt x="8169" y="10978"/>
                    </a:lnTo>
                    <a:lnTo>
                      <a:pt x="8167" y="10980"/>
                    </a:lnTo>
                    <a:lnTo>
                      <a:pt x="8165" y="10985"/>
                    </a:lnTo>
                    <a:lnTo>
                      <a:pt x="8160" y="10996"/>
                    </a:lnTo>
                    <a:lnTo>
                      <a:pt x="8154" y="11008"/>
                    </a:lnTo>
                    <a:lnTo>
                      <a:pt x="8149" y="11020"/>
                    </a:lnTo>
                    <a:lnTo>
                      <a:pt x="8147" y="11030"/>
                    </a:lnTo>
                    <a:lnTo>
                      <a:pt x="8159" y="11027"/>
                    </a:lnTo>
                    <a:lnTo>
                      <a:pt x="8173" y="11022"/>
                    </a:lnTo>
                    <a:lnTo>
                      <a:pt x="8180" y="11020"/>
                    </a:lnTo>
                    <a:lnTo>
                      <a:pt x="8188" y="11019"/>
                    </a:lnTo>
                    <a:lnTo>
                      <a:pt x="8194" y="11019"/>
                    </a:lnTo>
                    <a:lnTo>
                      <a:pt x="8200" y="11021"/>
                    </a:lnTo>
                    <a:lnTo>
                      <a:pt x="8202" y="11024"/>
                    </a:lnTo>
                    <a:lnTo>
                      <a:pt x="8203" y="11026"/>
                    </a:lnTo>
                    <a:lnTo>
                      <a:pt x="8204" y="11030"/>
                    </a:lnTo>
                    <a:lnTo>
                      <a:pt x="8204" y="11034"/>
                    </a:lnTo>
                    <a:lnTo>
                      <a:pt x="8204" y="11044"/>
                    </a:lnTo>
                    <a:lnTo>
                      <a:pt x="8203" y="11055"/>
                    </a:lnTo>
                    <a:lnTo>
                      <a:pt x="8202" y="11066"/>
                    </a:lnTo>
                    <a:lnTo>
                      <a:pt x="8201" y="11075"/>
                    </a:lnTo>
                    <a:lnTo>
                      <a:pt x="8200" y="11085"/>
                    </a:lnTo>
                    <a:lnTo>
                      <a:pt x="8201" y="11092"/>
                    </a:lnTo>
                    <a:lnTo>
                      <a:pt x="8207" y="11091"/>
                    </a:lnTo>
                    <a:lnTo>
                      <a:pt x="8213" y="11087"/>
                    </a:lnTo>
                    <a:lnTo>
                      <a:pt x="8219" y="11082"/>
                    </a:lnTo>
                    <a:lnTo>
                      <a:pt x="8225" y="11076"/>
                    </a:lnTo>
                    <a:lnTo>
                      <a:pt x="8238" y="11061"/>
                    </a:lnTo>
                    <a:lnTo>
                      <a:pt x="8250" y="11045"/>
                    </a:lnTo>
                    <a:lnTo>
                      <a:pt x="8256" y="11038"/>
                    </a:lnTo>
                    <a:lnTo>
                      <a:pt x="8261" y="11033"/>
                    </a:lnTo>
                    <a:lnTo>
                      <a:pt x="8266" y="11028"/>
                    </a:lnTo>
                    <a:lnTo>
                      <a:pt x="8271" y="11026"/>
                    </a:lnTo>
                    <a:lnTo>
                      <a:pt x="8273" y="11026"/>
                    </a:lnTo>
                    <a:lnTo>
                      <a:pt x="8275" y="11026"/>
                    </a:lnTo>
                    <a:lnTo>
                      <a:pt x="8278" y="11027"/>
                    </a:lnTo>
                    <a:lnTo>
                      <a:pt x="8279" y="11030"/>
                    </a:lnTo>
                    <a:lnTo>
                      <a:pt x="8283" y="11036"/>
                    </a:lnTo>
                    <a:lnTo>
                      <a:pt x="8285" y="11045"/>
                    </a:lnTo>
                    <a:lnTo>
                      <a:pt x="8290" y="11067"/>
                    </a:lnTo>
                    <a:lnTo>
                      <a:pt x="8293" y="11085"/>
                    </a:lnTo>
                    <a:lnTo>
                      <a:pt x="8295" y="11101"/>
                    </a:lnTo>
                    <a:lnTo>
                      <a:pt x="8296" y="11114"/>
                    </a:lnTo>
                    <a:lnTo>
                      <a:pt x="8295" y="11120"/>
                    </a:lnTo>
                    <a:lnTo>
                      <a:pt x="8293" y="11126"/>
                    </a:lnTo>
                    <a:lnTo>
                      <a:pt x="8291" y="11133"/>
                    </a:lnTo>
                    <a:lnTo>
                      <a:pt x="8287" y="11139"/>
                    </a:lnTo>
                    <a:lnTo>
                      <a:pt x="8279" y="11153"/>
                    </a:lnTo>
                    <a:lnTo>
                      <a:pt x="8265" y="11169"/>
                    </a:lnTo>
                    <a:lnTo>
                      <a:pt x="8257" y="11178"/>
                    </a:lnTo>
                    <a:lnTo>
                      <a:pt x="8251" y="11187"/>
                    </a:lnTo>
                    <a:lnTo>
                      <a:pt x="8246" y="11196"/>
                    </a:lnTo>
                    <a:lnTo>
                      <a:pt x="8243" y="11205"/>
                    </a:lnTo>
                    <a:lnTo>
                      <a:pt x="8240" y="11215"/>
                    </a:lnTo>
                    <a:lnTo>
                      <a:pt x="8239" y="11224"/>
                    </a:lnTo>
                    <a:lnTo>
                      <a:pt x="8239" y="11235"/>
                    </a:lnTo>
                    <a:lnTo>
                      <a:pt x="8238" y="11247"/>
                    </a:lnTo>
                    <a:lnTo>
                      <a:pt x="8246" y="11246"/>
                    </a:lnTo>
                    <a:lnTo>
                      <a:pt x="8256" y="11241"/>
                    </a:lnTo>
                    <a:lnTo>
                      <a:pt x="8266" y="11235"/>
                    </a:lnTo>
                    <a:lnTo>
                      <a:pt x="8277" y="11228"/>
                    </a:lnTo>
                    <a:lnTo>
                      <a:pt x="8286" y="11220"/>
                    </a:lnTo>
                    <a:lnTo>
                      <a:pt x="8295" y="11211"/>
                    </a:lnTo>
                    <a:lnTo>
                      <a:pt x="8303" y="11204"/>
                    </a:lnTo>
                    <a:lnTo>
                      <a:pt x="8308" y="11198"/>
                    </a:lnTo>
                    <a:lnTo>
                      <a:pt x="8315" y="11186"/>
                    </a:lnTo>
                    <a:lnTo>
                      <a:pt x="8325" y="11170"/>
                    </a:lnTo>
                    <a:lnTo>
                      <a:pt x="8331" y="11164"/>
                    </a:lnTo>
                    <a:lnTo>
                      <a:pt x="8336" y="11161"/>
                    </a:lnTo>
                    <a:lnTo>
                      <a:pt x="8339" y="11161"/>
                    </a:lnTo>
                    <a:lnTo>
                      <a:pt x="8342" y="11162"/>
                    </a:lnTo>
                    <a:lnTo>
                      <a:pt x="8344" y="11164"/>
                    </a:lnTo>
                    <a:lnTo>
                      <a:pt x="8345" y="11168"/>
                    </a:lnTo>
                    <a:lnTo>
                      <a:pt x="8352" y="11181"/>
                    </a:lnTo>
                    <a:lnTo>
                      <a:pt x="8360" y="11193"/>
                    </a:lnTo>
                    <a:lnTo>
                      <a:pt x="8366" y="11205"/>
                    </a:lnTo>
                    <a:lnTo>
                      <a:pt x="8373" y="11217"/>
                    </a:lnTo>
                    <a:lnTo>
                      <a:pt x="8378" y="11255"/>
                    </a:lnTo>
                    <a:lnTo>
                      <a:pt x="8380" y="11289"/>
                    </a:lnTo>
                    <a:lnTo>
                      <a:pt x="8379" y="11298"/>
                    </a:lnTo>
                    <a:lnTo>
                      <a:pt x="8378" y="11306"/>
                    </a:lnTo>
                    <a:lnTo>
                      <a:pt x="8374" y="11314"/>
                    </a:lnTo>
                    <a:lnTo>
                      <a:pt x="8369" y="11321"/>
                    </a:lnTo>
                    <a:lnTo>
                      <a:pt x="8363" y="11327"/>
                    </a:lnTo>
                    <a:lnTo>
                      <a:pt x="8355" y="11332"/>
                    </a:lnTo>
                    <a:lnTo>
                      <a:pt x="8344" y="11336"/>
                    </a:lnTo>
                    <a:lnTo>
                      <a:pt x="8332" y="11341"/>
                    </a:lnTo>
                    <a:lnTo>
                      <a:pt x="8332" y="11347"/>
                    </a:lnTo>
                    <a:lnTo>
                      <a:pt x="8333" y="11353"/>
                    </a:lnTo>
                    <a:lnTo>
                      <a:pt x="8337" y="11359"/>
                    </a:lnTo>
                    <a:lnTo>
                      <a:pt x="8339" y="11365"/>
                    </a:lnTo>
                    <a:lnTo>
                      <a:pt x="8342" y="11372"/>
                    </a:lnTo>
                    <a:lnTo>
                      <a:pt x="8344" y="11379"/>
                    </a:lnTo>
                    <a:lnTo>
                      <a:pt x="8344" y="11382"/>
                    </a:lnTo>
                    <a:lnTo>
                      <a:pt x="8343" y="11385"/>
                    </a:lnTo>
                    <a:lnTo>
                      <a:pt x="8342" y="11388"/>
                    </a:lnTo>
                    <a:lnTo>
                      <a:pt x="8339" y="11391"/>
                    </a:lnTo>
                    <a:lnTo>
                      <a:pt x="8331" y="11394"/>
                    </a:lnTo>
                    <a:lnTo>
                      <a:pt x="8316" y="11398"/>
                    </a:lnTo>
                    <a:lnTo>
                      <a:pt x="8299" y="11400"/>
                    </a:lnTo>
                    <a:lnTo>
                      <a:pt x="8289" y="11404"/>
                    </a:lnTo>
                    <a:lnTo>
                      <a:pt x="8279" y="11407"/>
                    </a:lnTo>
                    <a:lnTo>
                      <a:pt x="8272" y="11412"/>
                    </a:lnTo>
                    <a:lnTo>
                      <a:pt x="8268" y="11417"/>
                    </a:lnTo>
                    <a:lnTo>
                      <a:pt x="8266" y="11422"/>
                    </a:lnTo>
                    <a:lnTo>
                      <a:pt x="8266" y="11427"/>
                    </a:lnTo>
                    <a:lnTo>
                      <a:pt x="8268" y="11431"/>
                    </a:lnTo>
                    <a:lnTo>
                      <a:pt x="8271" y="11437"/>
                    </a:lnTo>
                    <a:lnTo>
                      <a:pt x="8275" y="11442"/>
                    </a:lnTo>
                    <a:lnTo>
                      <a:pt x="8289" y="11451"/>
                    </a:lnTo>
                    <a:lnTo>
                      <a:pt x="8302" y="11458"/>
                    </a:lnTo>
                    <a:lnTo>
                      <a:pt x="8316" y="11464"/>
                    </a:lnTo>
                    <a:lnTo>
                      <a:pt x="8328" y="11468"/>
                    </a:lnTo>
                    <a:lnTo>
                      <a:pt x="8331" y="11478"/>
                    </a:lnTo>
                    <a:lnTo>
                      <a:pt x="8330" y="11490"/>
                    </a:lnTo>
                    <a:lnTo>
                      <a:pt x="8328" y="11502"/>
                    </a:lnTo>
                    <a:lnTo>
                      <a:pt x="8325" y="11515"/>
                    </a:lnTo>
                    <a:lnTo>
                      <a:pt x="8315" y="11540"/>
                    </a:lnTo>
                    <a:lnTo>
                      <a:pt x="8304" y="11564"/>
                    </a:lnTo>
                    <a:lnTo>
                      <a:pt x="8298" y="11582"/>
                    </a:lnTo>
                    <a:lnTo>
                      <a:pt x="8285" y="11614"/>
                    </a:lnTo>
                    <a:lnTo>
                      <a:pt x="8279" y="11629"/>
                    </a:lnTo>
                    <a:lnTo>
                      <a:pt x="8273" y="11637"/>
                    </a:lnTo>
                    <a:lnTo>
                      <a:pt x="8272" y="11637"/>
                    </a:lnTo>
                    <a:lnTo>
                      <a:pt x="8271" y="11638"/>
                    </a:lnTo>
                    <a:lnTo>
                      <a:pt x="8269" y="11637"/>
                    </a:lnTo>
                    <a:lnTo>
                      <a:pt x="8268" y="11636"/>
                    </a:lnTo>
                    <a:lnTo>
                      <a:pt x="8267" y="11631"/>
                    </a:lnTo>
                    <a:lnTo>
                      <a:pt x="8267" y="11623"/>
                    </a:lnTo>
                    <a:lnTo>
                      <a:pt x="8267" y="11606"/>
                    </a:lnTo>
                    <a:lnTo>
                      <a:pt x="8268" y="11588"/>
                    </a:lnTo>
                    <a:lnTo>
                      <a:pt x="8268" y="11571"/>
                    </a:lnTo>
                    <a:lnTo>
                      <a:pt x="8266" y="11554"/>
                    </a:lnTo>
                    <a:lnTo>
                      <a:pt x="8259" y="11554"/>
                    </a:lnTo>
                    <a:lnTo>
                      <a:pt x="8243" y="11557"/>
                    </a:lnTo>
                    <a:lnTo>
                      <a:pt x="8228" y="11558"/>
                    </a:lnTo>
                    <a:lnTo>
                      <a:pt x="8221" y="11559"/>
                    </a:lnTo>
                    <a:lnTo>
                      <a:pt x="8219" y="11559"/>
                    </a:lnTo>
                    <a:lnTo>
                      <a:pt x="8219" y="11561"/>
                    </a:lnTo>
                    <a:lnTo>
                      <a:pt x="8218" y="11564"/>
                    </a:lnTo>
                    <a:lnTo>
                      <a:pt x="8213" y="11566"/>
                    </a:lnTo>
                    <a:lnTo>
                      <a:pt x="8209" y="11570"/>
                    </a:lnTo>
                    <a:lnTo>
                      <a:pt x="8207" y="11575"/>
                    </a:lnTo>
                    <a:lnTo>
                      <a:pt x="8204" y="11581"/>
                    </a:lnTo>
                    <a:lnTo>
                      <a:pt x="8202" y="11596"/>
                    </a:lnTo>
                    <a:lnTo>
                      <a:pt x="8201" y="11614"/>
                    </a:lnTo>
                    <a:lnTo>
                      <a:pt x="8202" y="11649"/>
                    </a:lnTo>
                    <a:lnTo>
                      <a:pt x="8202" y="11673"/>
                    </a:lnTo>
                    <a:lnTo>
                      <a:pt x="8201" y="11679"/>
                    </a:lnTo>
                    <a:lnTo>
                      <a:pt x="8198" y="11684"/>
                    </a:lnTo>
                    <a:lnTo>
                      <a:pt x="8195" y="11687"/>
                    </a:lnTo>
                    <a:lnTo>
                      <a:pt x="8191" y="11688"/>
                    </a:lnTo>
                    <a:lnTo>
                      <a:pt x="8179" y="11688"/>
                    </a:lnTo>
                    <a:lnTo>
                      <a:pt x="8166" y="11687"/>
                    </a:lnTo>
                    <a:lnTo>
                      <a:pt x="8153" y="11684"/>
                    </a:lnTo>
                    <a:lnTo>
                      <a:pt x="8141" y="11685"/>
                    </a:lnTo>
                    <a:lnTo>
                      <a:pt x="8136" y="11687"/>
                    </a:lnTo>
                    <a:lnTo>
                      <a:pt x="8131" y="11690"/>
                    </a:lnTo>
                    <a:lnTo>
                      <a:pt x="8127" y="11695"/>
                    </a:lnTo>
                    <a:lnTo>
                      <a:pt x="8125" y="11701"/>
                    </a:lnTo>
                    <a:lnTo>
                      <a:pt x="8124" y="11707"/>
                    </a:lnTo>
                    <a:lnTo>
                      <a:pt x="8121" y="11712"/>
                    </a:lnTo>
                    <a:lnTo>
                      <a:pt x="8119" y="11717"/>
                    </a:lnTo>
                    <a:lnTo>
                      <a:pt x="8117" y="11719"/>
                    </a:lnTo>
                    <a:lnTo>
                      <a:pt x="8114" y="11721"/>
                    </a:lnTo>
                    <a:lnTo>
                      <a:pt x="8111" y="11723"/>
                    </a:lnTo>
                    <a:lnTo>
                      <a:pt x="8107" y="11724"/>
                    </a:lnTo>
                    <a:lnTo>
                      <a:pt x="8104" y="11724"/>
                    </a:lnTo>
                    <a:lnTo>
                      <a:pt x="8096" y="11721"/>
                    </a:lnTo>
                    <a:lnTo>
                      <a:pt x="8089" y="11718"/>
                    </a:lnTo>
                    <a:lnTo>
                      <a:pt x="8080" y="11713"/>
                    </a:lnTo>
                    <a:lnTo>
                      <a:pt x="8072" y="11707"/>
                    </a:lnTo>
                    <a:lnTo>
                      <a:pt x="8062" y="11700"/>
                    </a:lnTo>
                    <a:lnTo>
                      <a:pt x="8055" y="11695"/>
                    </a:lnTo>
                    <a:lnTo>
                      <a:pt x="8049" y="11691"/>
                    </a:lnTo>
                    <a:lnTo>
                      <a:pt x="8043" y="11689"/>
                    </a:lnTo>
                    <a:lnTo>
                      <a:pt x="8039" y="11689"/>
                    </a:lnTo>
                    <a:lnTo>
                      <a:pt x="8036" y="11689"/>
                    </a:lnTo>
                    <a:lnTo>
                      <a:pt x="8033" y="11690"/>
                    </a:lnTo>
                    <a:lnTo>
                      <a:pt x="8031" y="11693"/>
                    </a:lnTo>
                    <a:lnTo>
                      <a:pt x="8026" y="11697"/>
                    </a:lnTo>
                    <a:lnTo>
                      <a:pt x="8020" y="11702"/>
                    </a:lnTo>
                    <a:lnTo>
                      <a:pt x="8017" y="11705"/>
                    </a:lnTo>
                    <a:lnTo>
                      <a:pt x="8013" y="11707"/>
                    </a:lnTo>
                    <a:lnTo>
                      <a:pt x="8007" y="11708"/>
                    </a:lnTo>
                    <a:lnTo>
                      <a:pt x="8001" y="11709"/>
                    </a:lnTo>
                    <a:lnTo>
                      <a:pt x="7995" y="11708"/>
                    </a:lnTo>
                    <a:lnTo>
                      <a:pt x="7990" y="11706"/>
                    </a:lnTo>
                    <a:lnTo>
                      <a:pt x="7987" y="11702"/>
                    </a:lnTo>
                    <a:lnTo>
                      <a:pt x="7983" y="11699"/>
                    </a:lnTo>
                    <a:lnTo>
                      <a:pt x="7981" y="11694"/>
                    </a:lnTo>
                    <a:lnTo>
                      <a:pt x="7977" y="11689"/>
                    </a:lnTo>
                    <a:lnTo>
                      <a:pt x="7972" y="11685"/>
                    </a:lnTo>
                    <a:lnTo>
                      <a:pt x="7967" y="11683"/>
                    </a:lnTo>
                    <a:lnTo>
                      <a:pt x="7956" y="11681"/>
                    </a:lnTo>
                    <a:lnTo>
                      <a:pt x="7941" y="11679"/>
                    </a:lnTo>
                    <a:lnTo>
                      <a:pt x="7934" y="11678"/>
                    </a:lnTo>
                    <a:lnTo>
                      <a:pt x="7926" y="11677"/>
                    </a:lnTo>
                    <a:lnTo>
                      <a:pt x="7922" y="11675"/>
                    </a:lnTo>
                    <a:lnTo>
                      <a:pt x="7919" y="11671"/>
                    </a:lnTo>
                    <a:lnTo>
                      <a:pt x="7917" y="11663"/>
                    </a:lnTo>
                    <a:lnTo>
                      <a:pt x="7917" y="11653"/>
                    </a:lnTo>
                    <a:lnTo>
                      <a:pt x="7918" y="11644"/>
                    </a:lnTo>
                    <a:lnTo>
                      <a:pt x="7919" y="11635"/>
                    </a:lnTo>
                    <a:lnTo>
                      <a:pt x="7923" y="11618"/>
                    </a:lnTo>
                    <a:lnTo>
                      <a:pt x="7924" y="11600"/>
                    </a:lnTo>
                    <a:lnTo>
                      <a:pt x="7922" y="11600"/>
                    </a:lnTo>
                    <a:lnTo>
                      <a:pt x="7916" y="11608"/>
                    </a:lnTo>
                    <a:lnTo>
                      <a:pt x="7907" y="11618"/>
                    </a:lnTo>
                    <a:lnTo>
                      <a:pt x="7897" y="11626"/>
                    </a:lnTo>
                    <a:lnTo>
                      <a:pt x="7887" y="11635"/>
                    </a:lnTo>
                    <a:lnTo>
                      <a:pt x="7876" y="11643"/>
                    </a:lnTo>
                    <a:lnTo>
                      <a:pt x="7866" y="11653"/>
                    </a:lnTo>
                    <a:lnTo>
                      <a:pt x="7858" y="11663"/>
                    </a:lnTo>
                    <a:lnTo>
                      <a:pt x="7851" y="11673"/>
                    </a:lnTo>
                    <a:lnTo>
                      <a:pt x="7842" y="11687"/>
                    </a:lnTo>
                    <a:lnTo>
                      <a:pt x="7836" y="11697"/>
                    </a:lnTo>
                    <a:lnTo>
                      <a:pt x="7831" y="11705"/>
                    </a:lnTo>
                    <a:lnTo>
                      <a:pt x="7826" y="11708"/>
                    </a:lnTo>
                    <a:lnTo>
                      <a:pt x="7825" y="11708"/>
                    </a:lnTo>
                    <a:lnTo>
                      <a:pt x="7823" y="11708"/>
                    </a:lnTo>
                    <a:lnTo>
                      <a:pt x="7822" y="11706"/>
                    </a:lnTo>
                    <a:lnTo>
                      <a:pt x="7819" y="11702"/>
                    </a:lnTo>
                    <a:lnTo>
                      <a:pt x="7817" y="11691"/>
                    </a:lnTo>
                    <a:lnTo>
                      <a:pt x="7813" y="11676"/>
                    </a:lnTo>
                    <a:lnTo>
                      <a:pt x="7810" y="11660"/>
                    </a:lnTo>
                    <a:lnTo>
                      <a:pt x="7802" y="11637"/>
                    </a:lnTo>
                    <a:lnTo>
                      <a:pt x="7795" y="11612"/>
                    </a:lnTo>
                    <a:lnTo>
                      <a:pt x="7787" y="11589"/>
                    </a:lnTo>
                    <a:lnTo>
                      <a:pt x="7783" y="11581"/>
                    </a:lnTo>
                    <a:lnTo>
                      <a:pt x="7778" y="11575"/>
                    </a:lnTo>
                    <a:lnTo>
                      <a:pt x="7777" y="11572"/>
                    </a:lnTo>
                    <a:lnTo>
                      <a:pt x="7775" y="11571"/>
                    </a:lnTo>
                    <a:lnTo>
                      <a:pt x="7774" y="11571"/>
                    </a:lnTo>
                    <a:lnTo>
                      <a:pt x="7772" y="11571"/>
                    </a:lnTo>
                    <a:lnTo>
                      <a:pt x="7769" y="11576"/>
                    </a:lnTo>
                    <a:lnTo>
                      <a:pt x="7768" y="11584"/>
                    </a:lnTo>
                    <a:lnTo>
                      <a:pt x="7765" y="11599"/>
                    </a:lnTo>
                    <a:lnTo>
                      <a:pt x="7765" y="11619"/>
                    </a:lnTo>
                    <a:lnTo>
                      <a:pt x="7766" y="11643"/>
                    </a:lnTo>
                    <a:lnTo>
                      <a:pt x="7768" y="11669"/>
                    </a:lnTo>
                    <a:lnTo>
                      <a:pt x="7766" y="11681"/>
                    </a:lnTo>
                    <a:lnTo>
                      <a:pt x="7765" y="11693"/>
                    </a:lnTo>
                    <a:lnTo>
                      <a:pt x="7761" y="11703"/>
                    </a:lnTo>
                    <a:lnTo>
                      <a:pt x="7755" y="11714"/>
                    </a:lnTo>
                    <a:lnTo>
                      <a:pt x="7754" y="11715"/>
                    </a:lnTo>
                    <a:lnTo>
                      <a:pt x="7748" y="11717"/>
                    </a:lnTo>
                    <a:lnTo>
                      <a:pt x="7742" y="11719"/>
                    </a:lnTo>
                    <a:lnTo>
                      <a:pt x="7737" y="11724"/>
                    </a:lnTo>
                    <a:lnTo>
                      <a:pt x="7733" y="11730"/>
                    </a:lnTo>
                    <a:lnTo>
                      <a:pt x="7724" y="11744"/>
                    </a:lnTo>
                    <a:lnTo>
                      <a:pt x="7717" y="11762"/>
                    </a:lnTo>
                    <a:lnTo>
                      <a:pt x="7711" y="11780"/>
                    </a:lnTo>
                    <a:lnTo>
                      <a:pt x="7705" y="11799"/>
                    </a:lnTo>
                    <a:lnTo>
                      <a:pt x="7699" y="11813"/>
                    </a:lnTo>
                    <a:lnTo>
                      <a:pt x="7693" y="11824"/>
                    </a:lnTo>
                    <a:lnTo>
                      <a:pt x="7688" y="11829"/>
                    </a:lnTo>
                    <a:lnTo>
                      <a:pt x="7681" y="11833"/>
                    </a:lnTo>
                    <a:lnTo>
                      <a:pt x="7677" y="11835"/>
                    </a:lnTo>
                    <a:lnTo>
                      <a:pt x="7674" y="11836"/>
                    </a:lnTo>
                    <a:lnTo>
                      <a:pt x="7670" y="11835"/>
                    </a:lnTo>
                    <a:lnTo>
                      <a:pt x="7669" y="11832"/>
                    </a:lnTo>
                    <a:lnTo>
                      <a:pt x="7663" y="11829"/>
                    </a:lnTo>
                    <a:lnTo>
                      <a:pt x="7659" y="11824"/>
                    </a:lnTo>
                    <a:lnTo>
                      <a:pt x="7653" y="11823"/>
                    </a:lnTo>
                    <a:lnTo>
                      <a:pt x="7648" y="11824"/>
                    </a:lnTo>
                    <a:lnTo>
                      <a:pt x="7646" y="11825"/>
                    </a:lnTo>
                    <a:lnTo>
                      <a:pt x="7645" y="11827"/>
                    </a:lnTo>
                    <a:lnTo>
                      <a:pt x="7642" y="11831"/>
                    </a:lnTo>
                    <a:lnTo>
                      <a:pt x="7641" y="11836"/>
                    </a:lnTo>
                    <a:lnTo>
                      <a:pt x="7638" y="11848"/>
                    </a:lnTo>
                    <a:lnTo>
                      <a:pt x="7634" y="11862"/>
                    </a:lnTo>
                    <a:lnTo>
                      <a:pt x="7629" y="11892"/>
                    </a:lnTo>
                    <a:lnTo>
                      <a:pt x="7624" y="11910"/>
                    </a:lnTo>
                    <a:lnTo>
                      <a:pt x="7619" y="11928"/>
                    </a:lnTo>
                    <a:lnTo>
                      <a:pt x="7615" y="11955"/>
                    </a:lnTo>
                    <a:lnTo>
                      <a:pt x="7612" y="11961"/>
                    </a:lnTo>
                    <a:lnTo>
                      <a:pt x="7611" y="11966"/>
                    </a:lnTo>
                    <a:lnTo>
                      <a:pt x="7609" y="11969"/>
                    </a:lnTo>
                    <a:lnTo>
                      <a:pt x="7607" y="11971"/>
                    </a:lnTo>
                    <a:lnTo>
                      <a:pt x="7605" y="11969"/>
                    </a:lnTo>
                    <a:lnTo>
                      <a:pt x="7603" y="11967"/>
                    </a:lnTo>
                    <a:lnTo>
                      <a:pt x="7600" y="11961"/>
                    </a:lnTo>
                    <a:lnTo>
                      <a:pt x="7598" y="11953"/>
                    </a:lnTo>
                    <a:lnTo>
                      <a:pt x="7595" y="11939"/>
                    </a:lnTo>
                    <a:lnTo>
                      <a:pt x="7594" y="11922"/>
                    </a:lnTo>
                    <a:lnTo>
                      <a:pt x="7594" y="11915"/>
                    </a:lnTo>
                    <a:lnTo>
                      <a:pt x="7593" y="11908"/>
                    </a:lnTo>
                    <a:lnTo>
                      <a:pt x="7591" y="11901"/>
                    </a:lnTo>
                    <a:lnTo>
                      <a:pt x="7588" y="11896"/>
                    </a:lnTo>
                    <a:lnTo>
                      <a:pt x="7585" y="11892"/>
                    </a:lnTo>
                    <a:lnTo>
                      <a:pt x="7581" y="11891"/>
                    </a:lnTo>
                    <a:lnTo>
                      <a:pt x="7579" y="11890"/>
                    </a:lnTo>
                    <a:lnTo>
                      <a:pt x="7576" y="11891"/>
                    </a:lnTo>
                    <a:lnTo>
                      <a:pt x="7571" y="11896"/>
                    </a:lnTo>
                    <a:lnTo>
                      <a:pt x="7567" y="11903"/>
                    </a:lnTo>
                    <a:lnTo>
                      <a:pt x="7561" y="11921"/>
                    </a:lnTo>
                    <a:lnTo>
                      <a:pt x="7558" y="11934"/>
                    </a:lnTo>
                    <a:lnTo>
                      <a:pt x="7556" y="11943"/>
                    </a:lnTo>
                    <a:lnTo>
                      <a:pt x="7552" y="11949"/>
                    </a:lnTo>
                    <a:lnTo>
                      <a:pt x="7547" y="11954"/>
                    </a:lnTo>
                    <a:lnTo>
                      <a:pt x="7544" y="11957"/>
                    </a:lnTo>
                    <a:lnTo>
                      <a:pt x="7538" y="11959"/>
                    </a:lnTo>
                    <a:lnTo>
                      <a:pt x="7533" y="11959"/>
                    </a:lnTo>
                    <a:lnTo>
                      <a:pt x="7527" y="11959"/>
                    </a:lnTo>
                    <a:lnTo>
                      <a:pt x="7522" y="11957"/>
                    </a:lnTo>
                    <a:lnTo>
                      <a:pt x="7511" y="11955"/>
                    </a:lnTo>
                    <a:lnTo>
                      <a:pt x="7502" y="11953"/>
                    </a:lnTo>
                    <a:lnTo>
                      <a:pt x="7498" y="11953"/>
                    </a:lnTo>
                    <a:lnTo>
                      <a:pt x="7494" y="11953"/>
                    </a:lnTo>
                    <a:lnTo>
                      <a:pt x="7491" y="11955"/>
                    </a:lnTo>
                    <a:lnTo>
                      <a:pt x="7489" y="11959"/>
                    </a:lnTo>
                    <a:lnTo>
                      <a:pt x="7486" y="11975"/>
                    </a:lnTo>
                    <a:lnTo>
                      <a:pt x="7485" y="11991"/>
                    </a:lnTo>
                    <a:lnTo>
                      <a:pt x="7482" y="11999"/>
                    </a:lnTo>
                    <a:lnTo>
                      <a:pt x="7480" y="12007"/>
                    </a:lnTo>
                    <a:lnTo>
                      <a:pt x="7477" y="12009"/>
                    </a:lnTo>
                    <a:lnTo>
                      <a:pt x="7474" y="12013"/>
                    </a:lnTo>
                    <a:lnTo>
                      <a:pt x="7471" y="12015"/>
                    </a:lnTo>
                    <a:lnTo>
                      <a:pt x="7467" y="12016"/>
                    </a:lnTo>
                    <a:lnTo>
                      <a:pt x="7467" y="12019"/>
                    </a:lnTo>
                    <a:lnTo>
                      <a:pt x="7465" y="12020"/>
                    </a:lnTo>
                    <a:lnTo>
                      <a:pt x="7464" y="12020"/>
                    </a:lnTo>
                    <a:lnTo>
                      <a:pt x="7464" y="12024"/>
                    </a:lnTo>
                    <a:lnTo>
                      <a:pt x="7462" y="12028"/>
                    </a:lnTo>
                    <a:lnTo>
                      <a:pt x="7459" y="12032"/>
                    </a:lnTo>
                    <a:lnTo>
                      <a:pt x="7456" y="12036"/>
                    </a:lnTo>
                    <a:lnTo>
                      <a:pt x="7449" y="12042"/>
                    </a:lnTo>
                    <a:lnTo>
                      <a:pt x="7441" y="12046"/>
                    </a:lnTo>
                    <a:lnTo>
                      <a:pt x="7433" y="12052"/>
                    </a:lnTo>
                    <a:lnTo>
                      <a:pt x="7427" y="12060"/>
                    </a:lnTo>
                    <a:lnTo>
                      <a:pt x="7421" y="12068"/>
                    </a:lnTo>
                    <a:lnTo>
                      <a:pt x="7415" y="12075"/>
                    </a:lnTo>
                    <a:lnTo>
                      <a:pt x="7406" y="12091"/>
                    </a:lnTo>
                    <a:lnTo>
                      <a:pt x="7398" y="12111"/>
                    </a:lnTo>
                    <a:lnTo>
                      <a:pt x="7393" y="12121"/>
                    </a:lnTo>
                    <a:lnTo>
                      <a:pt x="7388" y="12129"/>
                    </a:lnTo>
                    <a:lnTo>
                      <a:pt x="7385" y="12132"/>
                    </a:lnTo>
                    <a:lnTo>
                      <a:pt x="7381" y="12134"/>
                    </a:lnTo>
                    <a:lnTo>
                      <a:pt x="7378" y="12137"/>
                    </a:lnTo>
                    <a:lnTo>
                      <a:pt x="7374" y="12137"/>
                    </a:lnTo>
                    <a:lnTo>
                      <a:pt x="7369" y="12132"/>
                    </a:lnTo>
                    <a:lnTo>
                      <a:pt x="7364" y="12125"/>
                    </a:lnTo>
                    <a:lnTo>
                      <a:pt x="7360" y="12111"/>
                    </a:lnTo>
                    <a:lnTo>
                      <a:pt x="7357" y="12097"/>
                    </a:lnTo>
                    <a:lnTo>
                      <a:pt x="7357" y="12089"/>
                    </a:lnTo>
                    <a:lnTo>
                      <a:pt x="7356" y="12084"/>
                    </a:lnTo>
                    <a:lnTo>
                      <a:pt x="7353" y="12079"/>
                    </a:lnTo>
                    <a:lnTo>
                      <a:pt x="7347" y="12072"/>
                    </a:lnTo>
                    <a:lnTo>
                      <a:pt x="7347" y="12070"/>
                    </a:lnTo>
                    <a:lnTo>
                      <a:pt x="7344" y="12080"/>
                    </a:lnTo>
                    <a:lnTo>
                      <a:pt x="7339" y="12089"/>
                    </a:lnTo>
                    <a:lnTo>
                      <a:pt x="7332" y="12097"/>
                    </a:lnTo>
                    <a:lnTo>
                      <a:pt x="7323" y="12105"/>
                    </a:lnTo>
                    <a:lnTo>
                      <a:pt x="7315" y="12113"/>
                    </a:lnTo>
                    <a:lnTo>
                      <a:pt x="7307" y="12119"/>
                    </a:lnTo>
                    <a:lnTo>
                      <a:pt x="7297" y="12123"/>
                    </a:lnTo>
                    <a:lnTo>
                      <a:pt x="7289" y="12126"/>
                    </a:lnTo>
                    <a:lnTo>
                      <a:pt x="7287" y="12140"/>
                    </a:lnTo>
                    <a:lnTo>
                      <a:pt x="7287" y="12155"/>
                    </a:lnTo>
                    <a:lnTo>
                      <a:pt x="7286" y="12162"/>
                    </a:lnTo>
                    <a:lnTo>
                      <a:pt x="7286" y="12169"/>
                    </a:lnTo>
                    <a:lnTo>
                      <a:pt x="7285" y="12176"/>
                    </a:lnTo>
                    <a:lnTo>
                      <a:pt x="7282" y="12182"/>
                    </a:lnTo>
                    <a:lnTo>
                      <a:pt x="7278" y="12190"/>
                    </a:lnTo>
                    <a:lnTo>
                      <a:pt x="7272" y="12196"/>
                    </a:lnTo>
                    <a:lnTo>
                      <a:pt x="7264" y="12203"/>
                    </a:lnTo>
                    <a:lnTo>
                      <a:pt x="7257" y="12210"/>
                    </a:lnTo>
                    <a:lnTo>
                      <a:pt x="7251" y="12217"/>
                    </a:lnTo>
                    <a:lnTo>
                      <a:pt x="7244" y="12225"/>
                    </a:lnTo>
                    <a:lnTo>
                      <a:pt x="7239" y="12232"/>
                    </a:lnTo>
                    <a:lnTo>
                      <a:pt x="7237" y="12240"/>
                    </a:lnTo>
                    <a:lnTo>
                      <a:pt x="7231" y="12240"/>
                    </a:lnTo>
                    <a:lnTo>
                      <a:pt x="7226" y="12239"/>
                    </a:lnTo>
                    <a:lnTo>
                      <a:pt x="7222" y="12237"/>
                    </a:lnTo>
                    <a:lnTo>
                      <a:pt x="7220" y="12233"/>
                    </a:lnTo>
                    <a:lnTo>
                      <a:pt x="7216" y="12223"/>
                    </a:lnTo>
                    <a:lnTo>
                      <a:pt x="7214" y="12212"/>
                    </a:lnTo>
                    <a:lnTo>
                      <a:pt x="7211" y="12200"/>
                    </a:lnTo>
                    <a:lnTo>
                      <a:pt x="7208" y="12191"/>
                    </a:lnTo>
                    <a:lnTo>
                      <a:pt x="7207" y="12187"/>
                    </a:lnTo>
                    <a:lnTo>
                      <a:pt x="7203" y="12185"/>
                    </a:lnTo>
                    <a:lnTo>
                      <a:pt x="7199" y="12184"/>
                    </a:lnTo>
                    <a:lnTo>
                      <a:pt x="7195" y="12185"/>
                    </a:lnTo>
                    <a:lnTo>
                      <a:pt x="7192" y="12193"/>
                    </a:lnTo>
                    <a:lnTo>
                      <a:pt x="7186" y="12203"/>
                    </a:lnTo>
                    <a:lnTo>
                      <a:pt x="7179" y="12211"/>
                    </a:lnTo>
                    <a:lnTo>
                      <a:pt x="7172" y="12220"/>
                    </a:lnTo>
                    <a:lnTo>
                      <a:pt x="7165" y="12228"/>
                    </a:lnTo>
                    <a:lnTo>
                      <a:pt x="7156" y="12238"/>
                    </a:lnTo>
                    <a:lnTo>
                      <a:pt x="7150" y="12246"/>
                    </a:lnTo>
                    <a:lnTo>
                      <a:pt x="7145" y="12257"/>
                    </a:lnTo>
                    <a:lnTo>
                      <a:pt x="7142" y="12267"/>
                    </a:lnTo>
                    <a:lnTo>
                      <a:pt x="7137" y="12274"/>
                    </a:lnTo>
                    <a:lnTo>
                      <a:pt x="7133" y="12279"/>
                    </a:lnTo>
                    <a:lnTo>
                      <a:pt x="7131" y="12282"/>
                    </a:lnTo>
                    <a:lnTo>
                      <a:pt x="7127" y="12283"/>
                    </a:lnTo>
                    <a:lnTo>
                      <a:pt x="7124" y="12283"/>
                    </a:lnTo>
                    <a:lnTo>
                      <a:pt x="7121" y="12282"/>
                    </a:lnTo>
                    <a:lnTo>
                      <a:pt x="7119" y="12280"/>
                    </a:lnTo>
                    <a:lnTo>
                      <a:pt x="7114" y="12271"/>
                    </a:lnTo>
                    <a:lnTo>
                      <a:pt x="7109" y="12262"/>
                    </a:lnTo>
                    <a:lnTo>
                      <a:pt x="7106" y="12251"/>
                    </a:lnTo>
                    <a:lnTo>
                      <a:pt x="7102" y="12240"/>
                    </a:lnTo>
                    <a:lnTo>
                      <a:pt x="7101" y="12238"/>
                    </a:lnTo>
                    <a:lnTo>
                      <a:pt x="7098" y="12235"/>
                    </a:lnTo>
                    <a:lnTo>
                      <a:pt x="7096" y="12235"/>
                    </a:lnTo>
                    <a:lnTo>
                      <a:pt x="7094" y="12234"/>
                    </a:lnTo>
                    <a:lnTo>
                      <a:pt x="7088" y="12235"/>
                    </a:lnTo>
                    <a:lnTo>
                      <a:pt x="7080" y="12238"/>
                    </a:lnTo>
                    <a:lnTo>
                      <a:pt x="7066" y="12246"/>
                    </a:lnTo>
                    <a:lnTo>
                      <a:pt x="7055" y="12252"/>
                    </a:lnTo>
                    <a:lnTo>
                      <a:pt x="7044" y="12257"/>
                    </a:lnTo>
                    <a:lnTo>
                      <a:pt x="7038" y="12263"/>
                    </a:lnTo>
                    <a:lnTo>
                      <a:pt x="7037" y="12265"/>
                    </a:lnTo>
                    <a:lnTo>
                      <a:pt x="7037" y="12268"/>
                    </a:lnTo>
                    <a:lnTo>
                      <a:pt x="7036" y="12270"/>
                    </a:lnTo>
                    <a:lnTo>
                      <a:pt x="7037" y="12273"/>
                    </a:lnTo>
                    <a:lnTo>
                      <a:pt x="7038" y="12279"/>
                    </a:lnTo>
                    <a:lnTo>
                      <a:pt x="7042" y="12286"/>
                    </a:lnTo>
                    <a:lnTo>
                      <a:pt x="7043" y="12294"/>
                    </a:lnTo>
                    <a:lnTo>
                      <a:pt x="7044" y="12304"/>
                    </a:lnTo>
                    <a:lnTo>
                      <a:pt x="7035" y="12306"/>
                    </a:lnTo>
                    <a:lnTo>
                      <a:pt x="7026" y="12308"/>
                    </a:lnTo>
                    <a:lnTo>
                      <a:pt x="7018" y="12306"/>
                    </a:lnTo>
                    <a:lnTo>
                      <a:pt x="7009" y="12303"/>
                    </a:lnTo>
                    <a:lnTo>
                      <a:pt x="6995" y="12296"/>
                    </a:lnTo>
                    <a:lnTo>
                      <a:pt x="6980" y="12286"/>
                    </a:lnTo>
                    <a:lnTo>
                      <a:pt x="6973" y="12282"/>
                    </a:lnTo>
                    <a:lnTo>
                      <a:pt x="6965" y="12277"/>
                    </a:lnTo>
                    <a:lnTo>
                      <a:pt x="6958" y="12275"/>
                    </a:lnTo>
                    <a:lnTo>
                      <a:pt x="6949" y="12273"/>
                    </a:lnTo>
                    <a:lnTo>
                      <a:pt x="6941" y="12271"/>
                    </a:lnTo>
                    <a:lnTo>
                      <a:pt x="6931" y="12273"/>
                    </a:lnTo>
                    <a:lnTo>
                      <a:pt x="6921" y="12276"/>
                    </a:lnTo>
                    <a:lnTo>
                      <a:pt x="6911" y="12281"/>
                    </a:lnTo>
                    <a:lnTo>
                      <a:pt x="6883" y="12300"/>
                    </a:lnTo>
                    <a:lnTo>
                      <a:pt x="6853" y="12318"/>
                    </a:lnTo>
                    <a:lnTo>
                      <a:pt x="6846" y="12322"/>
                    </a:lnTo>
                    <a:lnTo>
                      <a:pt x="6838" y="12323"/>
                    </a:lnTo>
                    <a:lnTo>
                      <a:pt x="6831" y="12324"/>
                    </a:lnTo>
                    <a:lnTo>
                      <a:pt x="6824" y="12323"/>
                    </a:lnTo>
                    <a:lnTo>
                      <a:pt x="6817" y="12321"/>
                    </a:lnTo>
                    <a:lnTo>
                      <a:pt x="6811" y="12317"/>
                    </a:lnTo>
                    <a:lnTo>
                      <a:pt x="6803" y="12310"/>
                    </a:lnTo>
                    <a:lnTo>
                      <a:pt x="6799" y="12302"/>
                    </a:lnTo>
                    <a:lnTo>
                      <a:pt x="6795" y="12296"/>
                    </a:lnTo>
                    <a:lnTo>
                      <a:pt x="6791" y="12291"/>
                    </a:lnTo>
                    <a:lnTo>
                      <a:pt x="6787" y="12287"/>
                    </a:lnTo>
                    <a:lnTo>
                      <a:pt x="6783" y="12283"/>
                    </a:lnTo>
                    <a:lnTo>
                      <a:pt x="6775" y="12279"/>
                    </a:lnTo>
                    <a:lnTo>
                      <a:pt x="6765" y="12275"/>
                    </a:lnTo>
                    <a:lnTo>
                      <a:pt x="6757" y="12271"/>
                    </a:lnTo>
                    <a:lnTo>
                      <a:pt x="6747" y="12268"/>
                    </a:lnTo>
                    <a:lnTo>
                      <a:pt x="6742" y="12265"/>
                    </a:lnTo>
                    <a:lnTo>
                      <a:pt x="6737" y="12262"/>
                    </a:lnTo>
                    <a:lnTo>
                      <a:pt x="6734" y="12258"/>
                    </a:lnTo>
                    <a:lnTo>
                      <a:pt x="6729" y="12253"/>
                    </a:lnTo>
                    <a:lnTo>
                      <a:pt x="6723" y="12245"/>
                    </a:lnTo>
                    <a:lnTo>
                      <a:pt x="6719" y="12237"/>
                    </a:lnTo>
                    <a:lnTo>
                      <a:pt x="6718" y="12228"/>
                    </a:lnTo>
                    <a:lnTo>
                      <a:pt x="6719" y="12221"/>
                    </a:lnTo>
                    <a:lnTo>
                      <a:pt x="6720" y="12215"/>
                    </a:lnTo>
                    <a:lnTo>
                      <a:pt x="6724" y="12209"/>
                    </a:lnTo>
                    <a:lnTo>
                      <a:pt x="6729" y="12203"/>
                    </a:lnTo>
                    <a:lnTo>
                      <a:pt x="6732" y="12198"/>
                    </a:lnTo>
                    <a:lnTo>
                      <a:pt x="6742" y="12187"/>
                    </a:lnTo>
                    <a:lnTo>
                      <a:pt x="6749" y="12178"/>
                    </a:lnTo>
                    <a:lnTo>
                      <a:pt x="6752" y="12174"/>
                    </a:lnTo>
                    <a:lnTo>
                      <a:pt x="6752" y="12169"/>
                    </a:lnTo>
                    <a:lnTo>
                      <a:pt x="6751" y="12164"/>
                    </a:lnTo>
                    <a:lnTo>
                      <a:pt x="6746" y="12160"/>
                    </a:lnTo>
                    <a:lnTo>
                      <a:pt x="6743" y="12156"/>
                    </a:lnTo>
                    <a:lnTo>
                      <a:pt x="6743" y="12152"/>
                    </a:lnTo>
                    <a:lnTo>
                      <a:pt x="6743" y="12149"/>
                    </a:lnTo>
                    <a:lnTo>
                      <a:pt x="6745" y="12145"/>
                    </a:lnTo>
                    <a:lnTo>
                      <a:pt x="6752" y="12139"/>
                    </a:lnTo>
                    <a:lnTo>
                      <a:pt x="6760" y="12133"/>
                    </a:lnTo>
                    <a:lnTo>
                      <a:pt x="6771" y="12127"/>
                    </a:lnTo>
                    <a:lnTo>
                      <a:pt x="6782" y="12123"/>
                    </a:lnTo>
                    <a:lnTo>
                      <a:pt x="6790" y="12121"/>
                    </a:lnTo>
                    <a:lnTo>
                      <a:pt x="6797" y="12120"/>
                    </a:lnTo>
                    <a:lnTo>
                      <a:pt x="6805" y="12120"/>
                    </a:lnTo>
                    <a:lnTo>
                      <a:pt x="6816" y="12121"/>
                    </a:lnTo>
                    <a:lnTo>
                      <a:pt x="6820" y="12121"/>
                    </a:lnTo>
                    <a:lnTo>
                      <a:pt x="6825" y="12121"/>
                    </a:lnTo>
                    <a:lnTo>
                      <a:pt x="6829" y="12120"/>
                    </a:lnTo>
                    <a:lnTo>
                      <a:pt x="6830" y="12119"/>
                    </a:lnTo>
                    <a:lnTo>
                      <a:pt x="6829" y="12116"/>
                    </a:lnTo>
                    <a:lnTo>
                      <a:pt x="6829" y="12113"/>
                    </a:lnTo>
                    <a:lnTo>
                      <a:pt x="6829" y="12109"/>
                    </a:lnTo>
                    <a:lnTo>
                      <a:pt x="6830" y="12107"/>
                    </a:lnTo>
                    <a:lnTo>
                      <a:pt x="6831" y="12104"/>
                    </a:lnTo>
                    <a:lnTo>
                      <a:pt x="6832" y="12101"/>
                    </a:lnTo>
                    <a:lnTo>
                      <a:pt x="6855" y="12096"/>
                    </a:lnTo>
                    <a:lnTo>
                      <a:pt x="6878" y="12092"/>
                    </a:lnTo>
                    <a:lnTo>
                      <a:pt x="6902" y="12090"/>
                    </a:lnTo>
                    <a:lnTo>
                      <a:pt x="6925" y="12085"/>
                    </a:lnTo>
                    <a:lnTo>
                      <a:pt x="6927" y="12075"/>
                    </a:lnTo>
                    <a:lnTo>
                      <a:pt x="6930" y="12068"/>
                    </a:lnTo>
                    <a:lnTo>
                      <a:pt x="6933" y="12063"/>
                    </a:lnTo>
                    <a:lnTo>
                      <a:pt x="6937" y="12058"/>
                    </a:lnTo>
                    <a:lnTo>
                      <a:pt x="6942" y="12056"/>
                    </a:lnTo>
                    <a:lnTo>
                      <a:pt x="6946" y="12054"/>
                    </a:lnTo>
                    <a:lnTo>
                      <a:pt x="6950" y="12052"/>
                    </a:lnTo>
                    <a:lnTo>
                      <a:pt x="6955" y="12051"/>
                    </a:lnTo>
                    <a:lnTo>
                      <a:pt x="6965" y="12050"/>
                    </a:lnTo>
                    <a:lnTo>
                      <a:pt x="6974" y="12049"/>
                    </a:lnTo>
                    <a:lnTo>
                      <a:pt x="6980" y="12046"/>
                    </a:lnTo>
                    <a:lnTo>
                      <a:pt x="6985" y="12045"/>
                    </a:lnTo>
                    <a:lnTo>
                      <a:pt x="6990" y="12042"/>
                    </a:lnTo>
                    <a:lnTo>
                      <a:pt x="6996" y="12037"/>
                    </a:lnTo>
                    <a:lnTo>
                      <a:pt x="7011" y="12021"/>
                    </a:lnTo>
                    <a:lnTo>
                      <a:pt x="7024" y="12005"/>
                    </a:lnTo>
                    <a:lnTo>
                      <a:pt x="7030" y="11997"/>
                    </a:lnTo>
                    <a:lnTo>
                      <a:pt x="7035" y="11989"/>
                    </a:lnTo>
                    <a:lnTo>
                      <a:pt x="7039" y="11979"/>
                    </a:lnTo>
                    <a:lnTo>
                      <a:pt x="7042" y="11971"/>
                    </a:lnTo>
                    <a:lnTo>
                      <a:pt x="7045" y="11962"/>
                    </a:lnTo>
                    <a:lnTo>
                      <a:pt x="7048" y="11954"/>
                    </a:lnTo>
                    <a:lnTo>
                      <a:pt x="7053" y="11945"/>
                    </a:lnTo>
                    <a:lnTo>
                      <a:pt x="7056" y="11938"/>
                    </a:lnTo>
                    <a:lnTo>
                      <a:pt x="7067" y="11924"/>
                    </a:lnTo>
                    <a:lnTo>
                      <a:pt x="7079" y="11910"/>
                    </a:lnTo>
                    <a:lnTo>
                      <a:pt x="7095" y="11895"/>
                    </a:lnTo>
                    <a:lnTo>
                      <a:pt x="7116" y="11872"/>
                    </a:lnTo>
                    <a:lnTo>
                      <a:pt x="7127" y="11860"/>
                    </a:lnTo>
                    <a:lnTo>
                      <a:pt x="7137" y="11848"/>
                    </a:lnTo>
                    <a:lnTo>
                      <a:pt x="7143" y="11839"/>
                    </a:lnTo>
                    <a:lnTo>
                      <a:pt x="7145" y="11835"/>
                    </a:lnTo>
                    <a:lnTo>
                      <a:pt x="7144" y="11833"/>
                    </a:lnTo>
                    <a:lnTo>
                      <a:pt x="7126" y="11833"/>
                    </a:lnTo>
                    <a:lnTo>
                      <a:pt x="7109" y="11833"/>
                    </a:lnTo>
                    <a:lnTo>
                      <a:pt x="7095" y="11835"/>
                    </a:lnTo>
                    <a:lnTo>
                      <a:pt x="7082" y="11837"/>
                    </a:lnTo>
                    <a:lnTo>
                      <a:pt x="7068" y="11842"/>
                    </a:lnTo>
                    <a:lnTo>
                      <a:pt x="7054" y="11848"/>
                    </a:lnTo>
                    <a:lnTo>
                      <a:pt x="7039" y="11856"/>
                    </a:lnTo>
                    <a:lnTo>
                      <a:pt x="7024" y="11868"/>
                    </a:lnTo>
                    <a:lnTo>
                      <a:pt x="7006" y="11884"/>
                    </a:lnTo>
                    <a:lnTo>
                      <a:pt x="6986" y="11901"/>
                    </a:lnTo>
                    <a:lnTo>
                      <a:pt x="6964" y="11918"/>
                    </a:lnTo>
                    <a:lnTo>
                      <a:pt x="6941" y="11933"/>
                    </a:lnTo>
                    <a:lnTo>
                      <a:pt x="6929" y="11941"/>
                    </a:lnTo>
                    <a:lnTo>
                      <a:pt x="6918" y="11947"/>
                    </a:lnTo>
                    <a:lnTo>
                      <a:pt x="6906" y="11950"/>
                    </a:lnTo>
                    <a:lnTo>
                      <a:pt x="6893" y="11954"/>
                    </a:lnTo>
                    <a:lnTo>
                      <a:pt x="6881" y="11955"/>
                    </a:lnTo>
                    <a:lnTo>
                      <a:pt x="6868" y="11955"/>
                    </a:lnTo>
                    <a:lnTo>
                      <a:pt x="6856" y="11951"/>
                    </a:lnTo>
                    <a:lnTo>
                      <a:pt x="6844" y="11947"/>
                    </a:lnTo>
                    <a:lnTo>
                      <a:pt x="6823" y="11933"/>
                    </a:lnTo>
                    <a:lnTo>
                      <a:pt x="6791" y="11910"/>
                    </a:lnTo>
                    <a:lnTo>
                      <a:pt x="6777" y="11898"/>
                    </a:lnTo>
                    <a:lnTo>
                      <a:pt x="6765" y="11886"/>
                    </a:lnTo>
                    <a:lnTo>
                      <a:pt x="6759" y="11880"/>
                    </a:lnTo>
                    <a:lnTo>
                      <a:pt x="6755" y="11876"/>
                    </a:lnTo>
                    <a:lnTo>
                      <a:pt x="6753" y="11871"/>
                    </a:lnTo>
                    <a:lnTo>
                      <a:pt x="6753" y="11866"/>
                    </a:lnTo>
                    <a:lnTo>
                      <a:pt x="6754" y="11854"/>
                    </a:lnTo>
                    <a:lnTo>
                      <a:pt x="6758" y="11837"/>
                    </a:lnTo>
                    <a:lnTo>
                      <a:pt x="6764" y="11818"/>
                    </a:lnTo>
                    <a:lnTo>
                      <a:pt x="6771" y="11796"/>
                    </a:lnTo>
                    <a:lnTo>
                      <a:pt x="6787" y="11756"/>
                    </a:lnTo>
                    <a:lnTo>
                      <a:pt x="6799" y="11726"/>
                    </a:lnTo>
                    <a:lnTo>
                      <a:pt x="6810" y="11702"/>
                    </a:lnTo>
                    <a:lnTo>
                      <a:pt x="6819" y="11678"/>
                    </a:lnTo>
                    <a:lnTo>
                      <a:pt x="6828" y="11655"/>
                    </a:lnTo>
                    <a:lnTo>
                      <a:pt x="6837" y="11632"/>
                    </a:lnTo>
                    <a:lnTo>
                      <a:pt x="6852" y="11608"/>
                    </a:lnTo>
                    <a:lnTo>
                      <a:pt x="6867" y="11587"/>
                    </a:lnTo>
                    <a:lnTo>
                      <a:pt x="6883" y="11566"/>
                    </a:lnTo>
                    <a:lnTo>
                      <a:pt x="6899" y="11545"/>
                    </a:lnTo>
                    <a:lnTo>
                      <a:pt x="6915" y="11521"/>
                    </a:lnTo>
                    <a:lnTo>
                      <a:pt x="6929" y="11498"/>
                    </a:lnTo>
                    <a:lnTo>
                      <a:pt x="6941" y="11475"/>
                    </a:lnTo>
                    <a:lnTo>
                      <a:pt x="6952" y="11452"/>
                    </a:lnTo>
                    <a:lnTo>
                      <a:pt x="6955" y="11440"/>
                    </a:lnTo>
                    <a:lnTo>
                      <a:pt x="6959" y="11428"/>
                    </a:lnTo>
                    <a:lnTo>
                      <a:pt x="6962" y="11416"/>
                    </a:lnTo>
                    <a:lnTo>
                      <a:pt x="6965" y="11403"/>
                    </a:lnTo>
                    <a:lnTo>
                      <a:pt x="6966" y="11389"/>
                    </a:lnTo>
                    <a:lnTo>
                      <a:pt x="6968" y="11375"/>
                    </a:lnTo>
                    <a:lnTo>
                      <a:pt x="6968" y="11360"/>
                    </a:lnTo>
                    <a:lnTo>
                      <a:pt x="6970" y="11345"/>
                    </a:lnTo>
                    <a:lnTo>
                      <a:pt x="6970" y="11344"/>
                    </a:lnTo>
                    <a:lnTo>
                      <a:pt x="6978" y="11344"/>
                    </a:lnTo>
                    <a:lnTo>
                      <a:pt x="6984" y="11342"/>
                    </a:lnTo>
                    <a:lnTo>
                      <a:pt x="6989" y="11341"/>
                    </a:lnTo>
                    <a:lnTo>
                      <a:pt x="6992" y="11339"/>
                    </a:lnTo>
                    <a:lnTo>
                      <a:pt x="6996" y="11335"/>
                    </a:lnTo>
                    <a:lnTo>
                      <a:pt x="6998" y="11333"/>
                    </a:lnTo>
                    <a:lnTo>
                      <a:pt x="7001" y="11328"/>
                    </a:lnTo>
                    <a:lnTo>
                      <a:pt x="7001" y="11323"/>
                    </a:lnTo>
                    <a:lnTo>
                      <a:pt x="7002" y="11314"/>
                    </a:lnTo>
                    <a:lnTo>
                      <a:pt x="7002" y="11300"/>
                    </a:lnTo>
                    <a:lnTo>
                      <a:pt x="7000" y="11287"/>
                    </a:lnTo>
                    <a:lnTo>
                      <a:pt x="6998" y="11271"/>
                    </a:lnTo>
                    <a:lnTo>
                      <a:pt x="7000" y="11253"/>
                    </a:lnTo>
                    <a:lnTo>
                      <a:pt x="7003" y="11226"/>
                    </a:lnTo>
                    <a:lnTo>
                      <a:pt x="7004" y="11212"/>
                    </a:lnTo>
                    <a:lnTo>
                      <a:pt x="7006" y="11202"/>
                    </a:lnTo>
                    <a:lnTo>
                      <a:pt x="7006" y="11197"/>
                    </a:lnTo>
                    <a:lnTo>
                      <a:pt x="7004" y="11193"/>
                    </a:lnTo>
                    <a:lnTo>
                      <a:pt x="7003" y="11191"/>
                    </a:lnTo>
                    <a:lnTo>
                      <a:pt x="7002" y="11190"/>
                    </a:lnTo>
                    <a:lnTo>
                      <a:pt x="6991" y="11184"/>
                    </a:lnTo>
                    <a:lnTo>
                      <a:pt x="6979" y="11178"/>
                    </a:lnTo>
                    <a:lnTo>
                      <a:pt x="6973" y="11156"/>
                    </a:lnTo>
                    <a:lnTo>
                      <a:pt x="6967" y="11132"/>
                    </a:lnTo>
                    <a:lnTo>
                      <a:pt x="6961" y="11109"/>
                    </a:lnTo>
                    <a:lnTo>
                      <a:pt x="6954" y="11087"/>
                    </a:lnTo>
                    <a:lnTo>
                      <a:pt x="6952" y="11078"/>
                    </a:lnTo>
                    <a:lnTo>
                      <a:pt x="6949" y="11070"/>
                    </a:lnTo>
                    <a:lnTo>
                      <a:pt x="6948" y="11064"/>
                    </a:lnTo>
                    <a:lnTo>
                      <a:pt x="6949" y="11060"/>
                    </a:lnTo>
                    <a:lnTo>
                      <a:pt x="6950" y="11056"/>
                    </a:lnTo>
                    <a:lnTo>
                      <a:pt x="6952" y="11052"/>
                    </a:lnTo>
                    <a:lnTo>
                      <a:pt x="6955" y="11050"/>
                    </a:lnTo>
                    <a:lnTo>
                      <a:pt x="6959" y="11049"/>
                    </a:lnTo>
                    <a:lnTo>
                      <a:pt x="6967" y="11046"/>
                    </a:lnTo>
                    <a:lnTo>
                      <a:pt x="6979" y="11045"/>
                    </a:lnTo>
                    <a:lnTo>
                      <a:pt x="6991" y="11043"/>
                    </a:lnTo>
                    <a:lnTo>
                      <a:pt x="7004" y="11037"/>
                    </a:lnTo>
                    <a:lnTo>
                      <a:pt x="7069" y="11004"/>
                    </a:lnTo>
                    <a:lnTo>
                      <a:pt x="7080" y="10995"/>
                    </a:lnTo>
                    <a:lnTo>
                      <a:pt x="7096" y="10981"/>
                    </a:lnTo>
                    <a:lnTo>
                      <a:pt x="7115" y="10967"/>
                    </a:lnTo>
                    <a:lnTo>
                      <a:pt x="7138" y="10953"/>
                    </a:lnTo>
                    <a:lnTo>
                      <a:pt x="7181" y="10925"/>
                    </a:lnTo>
                    <a:lnTo>
                      <a:pt x="7214" y="10906"/>
                    </a:lnTo>
                    <a:lnTo>
                      <a:pt x="7249" y="10885"/>
                    </a:lnTo>
                    <a:lnTo>
                      <a:pt x="7298" y="10851"/>
                    </a:lnTo>
                    <a:lnTo>
                      <a:pt x="7322" y="10835"/>
                    </a:lnTo>
                    <a:lnTo>
                      <a:pt x="7344" y="10818"/>
                    </a:lnTo>
                    <a:lnTo>
                      <a:pt x="7352" y="10809"/>
                    </a:lnTo>
                    <a:lnTo>
                      <a:pt x="7360" y="10802"/>
                    </a:lnTo>
                    <a:lnTo>
                      <a:pt x="7364" y="10796"/>
                    </a:lnTo>
                    <a:lnTo>
                      <a:pt x="7367" y="10791"/>
                    </a:lnTo>
                    <a:lnTo>
                      <a:pt x="7372" y="10792"/>
                    </a:lnTo>
                    <a:lnTo>
                      <a:pt x="7378" y="10795"/>
                    </a:lnTo>
                    <a:lnTo>
                      <a:pt x="7382" y="10798"/>
                    </a:lnTo>
                    <a:lnTo>
                      <a:pt x="7388" y="10804"/>
                    </a:lnTo>
                    <a:lnTo>
                      <a:pt x="7400" y="10818"/>
                    </a:lnTo>
                    <a:lnTo>
                      <a:pt x="7414" y="10833"/>
                    </a:lnTo>
                    <a:lnTo>
                      <a:pt x="7426" y="10850"/>
                    </a:lnTo>
                    <a:lnTo>
                      <a:pt x="7439" y="10866"/>
                    </a:lnTo>
                    <a:lnTo>
                      <a:pt x="7445" y="10872"/>
                    </a:lnTo>
                    <a:lnTo>
                      <a:pt x="7451" y="10878"/>
                    </a:lnTo>
                    <a:lnTo>
                      <a:pt x="7457" y="10883"/>
                    </a:lnTo>
                    <a:lnTo>
                      <a:pt x="7463" y="10886"/>
                    </a:lnTo>
                    <a:lnTo>
                      <a:pt x="7473" y="10891"/>
                    </a:lnTo>
                    <a:lnTo>
                      <a:pt x="7483" y="10894"/>
                    </a:lnTo>
                    <a:lnTo>
                      <a:pt x="7492" y="10895"/>
                    </a:lnTo>
                    <a:lnTo>
                      <a:pt x="7502" y="10895"/>
                    </a:lnTo>
                    <a:lnTo>
                      <a:pt x="7510" y="10892"/>
                    </a:lnTo>
                    <a:lnTo>
                      <a:pt x="7518" y="10890"/>
                    </a:lnTo>
                    <a:lnTo>
                      <a:pt x="7526" y="10886"/>
                    </a:lnTo>
                    <a:lnTo>
                      <a:pt x="7534" y="10881"/>
                    </a:lnTo>
                    <a:lnTo>
                      <a:pt x="7563" y="10860"/>
                    </a:lnTo>
                    <a:lnTo>
                      <a:pt x="7594" y="10839"/>
                    </a:lnTo>
                    <a:lnTo>
                      <a:pt x="7599" y="10838"/>
                    </a:lnTo>
                    <a:lnTo>
                      <a:pt x="7605" y="10837"/>
                    </a:lnTo>
                    <a:lnTo>
                      <a:pt x="7610" y="10837"/>
                    </a:lnTo>
                    <a:lnTo>
                      <a:pt x="7615" y="10837"/>
                    </a:lnTo>
                    <a:lnTo>
                      <a:pt x="7625" y="10841"/>
                    </a:lnTo>
                    <a:lnTo>
                      <a:pt x="7638" y="10847"/>
                    </a:lnTo>
                    <a:lnTo>
                      <a:pt x="7658" y="10859"/>
                    </a:lnTo>
                    <a:lnTo>
                      <a:pt x="7677" y="10871"/>
                    </a:lnTo>
                    <a:lnTo>
                      <a:pt x="7699" y="10879"/>
                    </a:lnTo>
                    <a:lnTo>
                      <a:pt x="7730" y="10888"/>
                    </a:lnTo>
                    <a:lnTo>
                      <a:pt x="7747" y="10892"/>
                    </a:lnTo>
                    <a:lnTo>
                      <a:pt x="7763" y="10895"/>
                    </a:lnTo>
                    <a:lnTo>
                      <a:pt x="7776" y="10897"/>
                    </a:lnTo>
                    <a:lnTo>
                      <a:pt x="7786" y="10898"/>
                    </a:lnTo>
                    <a:lnTo>
                      <a:pt x="7788" y="10901"/>
                    </a:lnTo>
                    <a:lnTo>
                      <a:pt x="7792" y="10903"/>
                    </a:lnTo>
                    <a:lnTo>
                      <a:pt x="7799" y="10906"/>
                    </a:lnTo>
                    <a:lnTo>
                      <a:pt x="7807" y="10908"/>
                    </a:lnTo>
                    <a:lnTo>
                      <a:pt x="7828" y="10913"/>
                    </a:lnTo>
                    <a:lnTo>
                      <a:pt x="7852" y="10916"/>
                    </a:lnTo>
                    <a:lnTo>
                      <a:pt x="7900" y="10924"/>
                    </a:lnTo>
                    <a:lnTo>
                      <a:pt x="7931" y="10927"/>
                    </a:lnTo>
                    <a:lnTo>
                      <a:pt x="7934" y="10927"/>
                    </a:lnTo>
                    <a:lnTo>
                      <a:pt x="7934" y="10924"/>
                    </a:lnTo>
                    <a:lnTo>
                      <a:pt x="7932" y="10921"/>
                    </a:lnTo>
                    <a:lnTo>
                      <a:pt x="7932" y="10919"/>
                    </a:lnTo>
                    <a:lnTo>
                      <a:pt x="7931" y="10915"/>
                    </a:lnTo>
                    <a:lnTo>
                      <a:pt x="7931" y="10912"/>
                    </a:lnTo>
                    <a:lnTo>
                      <a:pt x="7930" y="10909"/>
                    </a:lnTo>
                    <a:lnTo>
                      <a:pt x="7929" y="10906"/>
                    </a:lnTo>
                    <a:lnTo>
                      <a:pt x="7928" y="10902"/>
                    </a:lnTo>
                    <a:lnTo>
                      <a:pt x="7924" y="10900"/>
                    </a:lnTo>
                    <a:lnTo>
                      <a:pt x="7922" y="10897"/>
                    </a:lnTo>
                    <a:lnTo>
                      <a:pt x="7917" y="10894"/>
                    </a:lnTo>
                    <a:lnTo>
                      <a:pt x="7912" y="10891"/>
                    </a:lnTo>
                    <a:lnTo>
                      <a:pt x="7910" y="10889"/>
                    </a:lnTo>
                    <a:lnTo>
                      <a:pt x="7908" y="10888"/>
                    </a:lnTo>
                    <a:lnTo>
                      <a:pt x="7903" y="10883"/>
                    </a:lnTo>
                    <a:lnTo>
                      <a:pt x="7896" y="10878"/>
                    </a:lnTo>
                    <a:lnTo>
                      <a:pt x="7883" y="10878"/>
                    </a:lnTo>
                    <a:lnTo>
                      <a:pt x="7870" y="10877"/>
                    </a:lnTo>
                    <a:lnTo>
                      <a:pt x="7858" y="10874"/>
                    </a:lnTo>
                    <a:lnTo>
                      <a:pt x="7845" y="10873"/>
                    </a:lnTo>
                    <a:lnTo>
                      <a:pt x="7820" y="10867"/>
                    </a:lnTo>
                    <a:lnTo>
                      <a:pt x="7796" y="10859"/>
                    </a:lnTo>
                    <a:lnTo>
                      <a:pt x="7772" y="10851"/>
                    </a:lnTo>
                    <a:lnTo>
                      <a:pt x="7748" y="10843"/>
                    </a:lnTo>
                    <a:lnTo>
                      <a:pt x="7724" y="10835"/>
                    </a:lnTo>
                    <a:lnTo>
                      <a:pt x="7699" y="10827"/>
                    </a:lnTo>
                    <a:lnTo>
                      <a:pt x="7690" y="10824"/>
                    </a:lnTo>
                    <a:lnTo>
                      <a:pt x="7680" y="10819"/>
                    </a:lnTo>
                    <a:lnTo>
                      <a:pt x="7669" y="10813"/>
                    </a:lnTo>
                    <a:lnTo>
                      <a:pt x="7657" y="10806"/>
                    </a:lnTo>
                    <a:lnTo>
                      <a:pt x="7632" y="10788"/>
                    </a:lnTo>
                    <a:lnTo>
                      <a:pt x="7605" y="10767"/>
                    </a:lnTo>
                    <a:lnTo>
                      <a:pt x="7580" y="10746"/>
                    </a:lnTo>
                    <a:lnTo>
                      <a:pt x="7557" y="10724"/>
                    </a:lnTo>
                    <a:lnTo>
                      <a:pt x="7538" y="10705"/>
                    </a:lnTo>
                    <a:lnTo>
                      <a:pt x="7523" y="10689"/>
                    </a:lnTo>
                    <a:lnTo>
                      <a:pt x="7521" y="10687"/>
                    </a:lnTo>
                    <a:lnTo>
                      <a:pt x="7520" y="10683"/>
                    </a:lnTo>
                    <a:lnTo>
                      <a:pt x="7518" y="10678"/>
                    </a:lnTo>
                    <a:lnTo>
                      <a:pt x="7518" y="10677"/>
                    </a:lnTo>
                    <a:lnTo>
                      <a:pt x="7521" y="10666"/>
                    </a:lnTo>
                    <a:lnTo>
                      <a:pt x="7523" y="10656"/>
                    </a:lnTo>
                    <a:lnTo>
                      <a:pt x="7534" y="10655"/>
                    </a:lnTo>
                    <a:lnTo>
                      <a:pt x="7545" y="10653"/>
                    </a:lnTo>
                    <a:lnTo>
                      <a:pt x="7556" y="10649"/>
                    </a:lnTo>
                    <a:lnTo>
                      <a:pt x="7565" y="10643"/>
                    </a:lnTo>
                    <a:lnTo>
                      <a:pt x="7574" y="10637"/>
                    </a:lnTo>
                    <a:lnTo>
                      <a:pt x="7582" y="10630"/>
                    </a:lnTo>
                    <a:lnTo>
                      <a:pt x="7589" y="10622"/>
                    </a:lnTo>
                    <a:lnTo>
                      <a:pt x="7598" y="10613"/>
                    </a:lnTo>
                    <a:lnTo>
                      <a:pt x="7623" y="10573"/>
                    </a:lnTo>
                    <a:lnTo>
                      <a:pt x="7645" y="10536"/>
                    </a:lnTo>
                    <a:lnTo>
                      <a:pt x="7651" y="10529"/>
                    </a:lnTo>
                    <a:lnTo>
                      <a:pt x="7658" y="10522"/>
                    </a:lnTo>
                    <a:lnTo>
                      <a:pt x="7668" y="10514"/>
                    </a:lnTo>
                    <a:lnTo>
                      <a:pt x="7678" y="10506"/>
                    </a:lnTo>
                    <a:lnTo>
                      <a:pt x="7705" y="10488"/>
                    </a:lnTo>
                    <a:lnTo>
                      <a:pt x="7731" y="10470"/>
                    </a:lnTo>
                    <a:lnTo>
                      <a:pt x="7758" y="10451"/>
                    </a:lnTo>
                    <a:lnTo>
                      <a:pt x="7780" y="10433"/>
                    </a:lnTo>
                    <a:lnTo>
                      <a:pt x="7789" y="10424"/>
                    </a:lnTo>
                    <a:lnTo>
                      <a:pt x="7795" y="10416"/>
                    </a:lnTo>
                    <a:lnTo>
                      <a:pt x="7798" y="10412"/>
                    </a:lnTo>
                    <a:lnTo>
                      <a:pt x="7800" y="10407"/>
                    </a:lnTo>
                    <a:lnTo>
                      <a:pt x="7801" y="10404"/>
                    </a:lnTo>
                    <a:lnTo>
                      <a:pt x="7801" y="10400"/>
                    </a:lnTo>
                    <a:lnTo>
                      <a:pt x="7789" y="10397"/>
                    </a:lnTo>
                    <a:lnTo>
                      <a:pt x="7777" y="10394"/>
                    </a:lnTo>
                    <a:lnTo>
                      <a:pt x="7765" y="10392"/>
                    </a:lnTo>
                    <a:lnTo>
                      <a:pt x="7754" y="10392"/>
                    </a:lnTo>
                    <a:lnTo>
                      <a:pt x="7743" y="10392"/>
                    </a:lnTo>
                    <a:lnTo>
                      <a:pt x="7733" y="10392"/>
                    </a:lnTo>
                    <a:lnTo>
                      <a:pt x="7722" y="10394"/>
                    </a:lnTo>
                    <a:lnTo>
                      <a:pt x="7712" y="10395"/>
                    </a:lnTo>
                    <a:lnTo>
                      <a:pt x="7703" y="10399"/>
                    </a:lnTo>
                    <a:lnTo>
                      <a:pt x="7693" y="10403"/>
                    </a:lnTo>
                    <a:lnTo>
                      <a:pt x="7683" y="10407"/>
                    </a:lnTo>
                    <a:lnTo>
                      <a:pt x="7675" y="10412"/>
                    </a:lnTo>
                    <a:lnTo>
                      <a:pt x="7666" y="10417"/>
                    </a:lnTo>
                    <a:lnTo>
                      <a:pt x="7658" y="10424"/>
                    </a:lnTo>
                    <a:lnTo>
                      <a:pt x="7651" y="10430"/>
                    </a:lnTo>
                    <a:lnTo>
                      <a:pt x="7644" y="10437"/>
                    </a:lnTo>
                    <a:lnTo>
                      <a:pt x="7629" y="10453"/>
                    </a:lnTo>
                    <a:lnTo>
                      <a:pt x="7616" y="10471"/>
                    </a:lnTo>
                    <a:lnTo>
                      <a:pt x="7605" y="10489"/>
                    </a:lnTo>
                    <a:lnTo>
                      <a:pt x="7594" y="10510"/>
                    </a:lnTo>
                    <a:lnTo>
                      <a:pt x="7585" y="10530"/>
                    </a:lnTo>
                    <a:lnTo>
                      <a:pt x="7576" y="10552"/>
                    </a:lnTo>
                    <a:lnTo>
                      <a:pt x="7569" y="10573"/>
                    </a:lnTo>
                    <a:lnTo>
                      <a:pt x="7563" y="10596"/>
                    </a:lnTo>
                    <a:lnTo>
                      <a:pt x="7372" y="10594"/>
                    </a:lnTo>
                    <a:lnTo>
                      <a:pt x="7358" y="10593"/>
                    </a:lnTo>
                    <a:lnTo>
                      <a:pt x="7346" y="10591"/>
                    </a:lnTo>
                    <a:lnTo>
                      <a:pt x="7338" y="10589"/>
                    </a:lnTo>
                    <a:lnTo>
                      <a:pt x="7331" y="10587"/>
                    </a:lnTo>
                    <a:lnTo>
                      <a:pt x="7325" y="10583"/>
                    </a:lnTo>
                    <a:lnTo>
                      <a:pt x="7320" y="10579"/>
                    </a:lnTo>
                    <a:lnTo>
                      <a:pt x="7317" y="10573"/>
                    </a:lnTo>
                    <a:lnTo>
                      <a:pt x="7315" y="10569"/>
                    </a:lnTo>
                    <a:lnTo>
                      <a:pt x="7310" y="10540"/>
                    </a:lnTo>
                    <a:lnTo>
                      <a:pt x="7303" y="10504"/>
                    </a:lnTo>
                    <a:lnTo>
                      <a:pt x="7299" y="10504"/>
                    </a:lnTo>
                    <a:lnTo>
                      <a:pt x="7296" y="10506"/>
                    </a:lnTo>
                    <a:lnTo>
                      <a:pt x="7293" y="10508"/>
                    </a:lnTo>
                    <a:lnTo>
                      <a:pt x="7291" y="10512"/>
                    </a:lnTo>
                    <a:lnTo>
                      <a:pt x="7287" y="10520"/>
                    </a:lnTo>
                    <a:lnTo>
                      <a:pt x="7284" y="10531"/>
                    </a:lnTo>
                    <a:lnTo>
                      <a:pt x="7280" y="10541"/>
                    </a:lnTo>
                    <a:lnTo>
                      <a:pt x="7276" y="10549"/>
                    </a:lnTo>
                    <a:lnTo>
                      <a:pt x="7274" y="10552"/>
                    </a:lnTo>
                    <a:lnTo>
                      <a:pt x="7272" y="10554"/>
                    </a:lnTo>
                    <a:lnTo>
                      <a:pt x="7268" y="10555"/>
                    </a:lnTo>
                    <a:lnTo>
                      <a:pt x="7266" y="10555"/>
                    </a:lnTo>
                    <a:lnTo>
                      <a:pt x="7264" y="10554"/>
                    </a:lnTo>
                    <a:lnTo>
                      <a:pt x="7264" y="10552"/>
                    </a:lnTo>
                    <a:lnTo>
                      <a:pt x="7262" y="10552"/>
                    </a:lnTo>
                    <a:lnTo>
                      <a:pt x="7261" y="10551"/>
                    </a:lnTo>
                    <a:lnTo>
                      <a:pt x="7258" y="10558"/>
                    </a:lnTo>
                    <a:lnTo>
                      <a:pt x="7254" y="10564"/>
                    </a:lnTo>
                    <a:lnTo>
                      <a:pt x="7249" y="10571"/>
                    </a:lnTo>
                    <a:lnTo>
                      <a:pt x="7243" y="10578"/>
                    </a:lnTo>
                    <a:lnTo>
                      <a:pt x="7228" y="10591"/>
                    </a:lnTo>
                    <a:lnTo>
                      <a:pt x="7211" y="10605"/>
                    </a:lnTo>
                    <a:lnTo>
                      <a:pt x="7177" y="10630"/>
                    </a:lnTo>
                    <a:lnTo>
                      <a:pt x="7146" y="10648"/>
                    </a:lnTo>
                    <a:lnTo>
                      <a:pt x="7134" y="10656"/>
                    </a:lnTo>
                    <a:lnTo>
                      <a:pt x="7121" y="10666"/>
                    </a:lnTo>
                    <a:lnTo>
                      <a:pt x="7109" y="10678"/>
                    </a:lnTo>
                    <a:lnTo>
                      <a:pt x="7097" y="10693"/>
                    </a:lnTo>
                    <a:lnTo>
                      <a:pt x="7086" y="10706"/>
                    </a:lnTo>
                    <a:lnTo>
                      <a:pt x="7077" y="10720"/>
                    </a:lnTo>
                    <a:lnTo>
                      <a:pt x="7068" y="10735"/>
                    </a:lnTo>
                    <a:lnTo>
                      <a:pt x="7061" y="10748"/>
                    </a:lnTo>
                    <a:lnTo>
                      <a:pt x="7059" y="10753"/>
                    </a:lnTo>
                    <a:lnTo>
                      <a:pt x="7055" y="10758"/>
                    </a:lnTo>
                    <a:lnTo>
                      <a:pt x="7050" y="10762"/>
                    </a:lnTo>
                    <a:lnTo>
                      <a:pt x="7045" y="10767"/>
                    </a:lnTo>
                    <a:lnTo>
                      <a:pt x="7032" y="10776"/>
                    </a:lnTo>
                    <a:lnTo>
                      <a:pt x="7019" y="10784"/>
                    </a:lnTo>
                    <a:lnTo>
                      <a:pt x="7004" y="10791"/>
                    </a:lnTo>
                    <a:lnTo>
                      <a:pt x="6990" y="10796"/>
                    </a:lnTo>
                    <a:lnTo>
                      <a:pt x="6976" y="10801"/>
                    </a:lnTo>
                    <a:lnTo>
                      <a:pt x="6964" y="10804"/>
                    </a:lnTo>
                    <a:lnTo>
                      <a:pt x="6941" y="10808"/>
                    </a:lnTo>
                    <a:lnTo>
                      <a:pt x="6921" y="10808"/>
                    </a:lnTo>
                    <a:lnTo>
                      <a:pt x="6912" y="10809"/>
                    </a:lnTo>
                    <a:lnTo>
                      <a:pt x="6903" y="10812"/>
                    </a:lnTo>
                    <a:lnTo>
                      <a:pt x="6894" y="10817"/>
                    </a:lnTo>
                    <a:lnTo>
                      <a:pt x="6883" y="10825"/>
                    </a:lnTo>
                    <a:lnTo>
                      <a:pt x="6862" y="10847"/>
                    </a:lnTo>
                    <a:lnTo>
                      <a:pt x="6842" y="10869"/>
                    </a:lnTo>
                    <a:lnTo>
                      <a:pt x="6823" y="10892"/>
                    </a:lnTo>
                    <a:lnTo>
                      <a:pt x="6802" y="10914"/>
                    </a:lnTo>
                    <a:lnTo>
                      <a:pt x="6800" y="10919"/>
                    </a:lnTo>
                    <a:lnTo>
                      <a:pt x="6797" y="10925"/>
                    </a:lnTo>
                    <a:lnTo>
                      <a:pt x="6796" y="10932"/>
                    </a:lnTo>
                    <a:lnTo>
                      <a:pt x="6795" y="10942"/>
                    </a:lnTo>
                    <a:lnTo>
                      <a:pt x="6795" y="10962"/>
                    </a:lnTo>
                    <a:lnTo>
                      <a:pt x="6797" y="10984"/>
                    </a:lnTo>
                    <a:lnTo>
                      <a:pt x="6802" y="11005"/>
                    </a:lnTo>
                    <a:lnTo>
                      <a:pt x="6806" y="11025"/>
                    </a:lnTo>
                    <a:lnTo>
                      <a:pt x="6810" y="11032"/>
                    </a:lnTo>
                    <a:lnTo>
                      <a:pt x="6812" y="11038"/>
                    </a:lnTo>
                    <a:lnTo>
                      <a:pt x="6814" y="11042"/>
                    </a:lnTo>
                    <a:lnTo>
                      <a:pt x="6817" y="11044"/>
                    </a:lnTo>
                    <a:lnTo>
                      <a:pt x="6817" y="11048"/>
                    </a:lnTo>
                    <a:lnTo>
                      <a:pt x="6808" y="11048"/>
                    </a:lnTo>
                    <a:lnTo>
                      <a:pt x="6801" y="11045"/>
                    </a:lnTo>
                    <a:lnTo>
                      <a:pt x="6793" y="11043"/>
                    </a:lnTo>
                    <a:lnTo>
                      <a:pt x="6785" y="11040"/>
                    </a:lnTo>
                    <a:lnTo>
                      <a:pt x="6779" y="11037"/>
                    </a:lnTo>
                    <a:lnTo>
                      <a:pt x="6772" y="11034"/>
                    </a:lnTo>
                    <a:lnTo>
                      <a:pt x="6765" y="11033"/>
                    </a:lnTo>
                    <a:lnTo>
                      <a:pt x="6758" y="11032"/>
                    </a:lnTo>
                    <a:lnTo>
                      <a:pt x="6755" y="11032"/>
                    </a:lnTo>
                    <a:lnTo>
                      <a:pt x="6752" y="11034"/>
                    </a:lnTo>
                    <a:lnTo>
                      <a:pt x="6749" y="11036"/>
                    </a:lnTo>
                    <a:lnTo>
                      <a:pt x="6746" y="11039"/>
                    </a:lnTo>
                    <a:lnTo>
                      <a:pt x="6740" y="11046"/>
                    </a:lnTo>
                    <a:lnTo>
                      <a:pt x="6732" y="11055"/>
                    </a:lnTo>
                    <a:lnTo>
                      <a:pt x="6720" y="11073"/>
                    </a:lnTo>
                    <a:lnTo>
                      <a:pt x="6710" y="11086"/>
                    </a:lnTo>
                    <a:lnTo>
                      <a:pt x="6694" y="11102"/>
                    </a:lnTo>
                    <a:lnTo>
                      <a:pt x="6678" y="11120"/>
                    </a:lnTo>
                    <a:lnTo>
                      <a:pt x="6663" y="11139"/>
                    </a:lnTo>
                    <a:lnTo>
                      <a:pt x="6647" y="11159"/>
                    </a:lnTo>
                    <a:lnTo>
                      <a:pt x="6630" y="11180"/>
                    </a:lnTo>
                    <a:lnTo>
                      <a:pt x="6615" y="11198"/>
                    </a:lnTo>
                    <a:lnTo>
                      <a:pt x="6605" y="11206"/>
                    </a:lnTo>
                    <a:lnTo>
                      <a:pt x="6596" y="11214"/>
                    </a:lnTo>
                    <a:lnTo>
                      <a:pt x="6588" y="11220"/>
                    </a:lnTo>
                    <a:lnTo>
                      <a:pt x="6578" y="11224"/>
                    </a:lnTo>
                    <a:lnTo>
                      <a:pt x="6571" y="11229"/>
                    </a:lnTo>
                    <a:lnTo>
                      <a:pt x="6566" y="11233"/>
                    </a:lnTo>
                    <a:lnTo>
                      <a:pt x="6563" y="11238"/>
                    </a:lnTo>
                    <a:lnTo>
                      <a:pt x="6560" y="11244"/>
                    </a:lnTo>
                    <a:lnTo>
                      <a:pt x="6559" y="11249"/>
                    </a:lnTo>
                    <a:lnTo>
                      <a:pt x="6558" y="11255"/>
                    </a:lnTo>
                    <a:lnTo>
                      <a:pt x="6559" y="11261"/>
                    </a:lnTo>
                    <a:lnTo>
                      <a:pt x="6560" y="11267"/>
                    </a:lnTo>
                    <a:lnTo>
                      <a:pt x="6571" y="11292"/>
                    </a:lnTo>
                    <a:lnTo>
                      <a:pt x="6584" y="11316"/>
                    </a:lnTo>
                    <a:lnTo>
                      <a:pt x="6584" y="11328"/>
                    </a:lnTo>
                    <a:lnTo>
                      <a:pt x="6583" y="11340"/>
                    </a:lnTo>
                    <a:lnTo>
                      <a:pt x="6581" y="11350"/>
                    </a:lnTo>
                    <a:lnTo>
                      <a:pt x="6577" y="11358"/>
                    </a:lnTo>
                    <a:lnTo>
                      <a:pt x="6575" y="11363"/>
                    </a:lnTo>
                    <a:lnTo>
                      <a:pt x="6572" y="11366"/>
                    </a:lnTo>
                    <a:lnTo>
                      <a:pt x="6569" y="11369"/>
                    </a:lnTo>
                    <a:lnTo>
                      <a:pt x="6565" y="11372"/>
                    </a:lnTo>
                    <a:lnTo>
                      <a:pt x="6554" y="11377"/>
                    </a:lnTo>
                    <a:lnTo>
                      <a:pt x="6541" y="11380"/>
                    </a:lnTo>
                    <a:lnTo>
                      <a:pt x="6540" y="11397"/>
                    </a:lnTo>
                    <a:lnTo>
                      <a:pt x="6540" y="11410"/>
                    </a:lnTo>
                    <a:lnTo>
                      <a:pt x="6541" y="11423"/>
                    </a:lnTo>
                    <a:lnTo>
                      <a:pt x="6542" y="11439"/>
                    </a:lnTo>
                    <a:lnTo>
                      <a:pt x="6532" y="11441"/>
                    </a:lnTo>
                    <a:lnTo>
                      <a:pt x="6521" y="11441"/>
                    </a:lnTo>
                    <a:lnTo>
                      <a:pt x="6510" y="11441"/>
                    </a:lnTo>
                    <a:lnTo>
                      <a:pt x="6499" y="11442"/>
                    </a:lnTo>
                    <a:lnTo>
                      <a:pt x="6488" y="11447"/>
                    </a:lnTo>
                    <a:lnTo>
                      <a:pt x="6477" y="11453"/>
                    </a:lnTo>
                    <a:lnTo>
                      <a:pt x="6467" y="11459"/>
                    </a:lnTo>
                    <a:lnTo>
                      <a:pt x="6458" y="11463"/>
                    </a:lnTo>
                    <a:lnTo>
                      <a:pt x="6452" y="11472"/>
                    </a:lnTo>
                    <a:lnTo>
                      <a:pt x="6446" y="11481"/>
                    </a:lnTo>
                    <a:lnTo>
                      <a:pt x="6428" y="11477"/>
                    </a:lnTo>
                    <a:lnTo>
                      <a:pt x="6408" y="11474"/>
                    </a:lnTo>
                    <a:lnTo>
                      <a:pt x="6403" y="11474"/>
                    </a:lnTo>
                    <a:lnTo>
                      <a:pt x="6399" y="11475"/>
                    </a:lnTo>
                    <a:lnTo>
                      <a:pt x="6397" y="11476"/>
                    </a:lnTo>
                    <a:lnTo>
                      <a:pt x="6394" y="11480"/>
                    </a:lnTo>
                    <a:lnTo>
                      <a:pt x="6393" y="11483"/>
                    </a:lnTo>
                    <a:lnTo>
                      <a:pt x="6394" y="11489"/>
                    </a:lnTo>
                    <a:lnTo>
                      <a:pt x="6396" y="11495"/>
                    </a:lnTo>
                    <a:lnTo>
                      <a:pt x="6399" y="11504"/>
                    </a:lnTo>
                    <a:lnTo>
                      <a:pt x="6402" y="11510"/>
                    </a:lnTo>
                    <a:lnTo>
                      <a:pt x="6405" y="11515"/>
                    </a:lnTo>
                    <a:lnTo>
                      <a:pt x="6410" y="11519"/>
                    </a:lnTo>
                    <a:lnTo>
                      <a:pt x="6414" y="11523"/>
                    </a:lnTo>
                    <a:lnTo>
                      <a:pt x="6423" y="11530"/>
                    </a:lnTo>
                    <a:lnTo>
                      <a:pt x="6434" y="11537"/>
                    </a:lnTo>
                    <a:lnTo>
                      <a:pt x="6445" y="11545"/>
                    </a:lnTo>
                    <a:lnTo>
                      <a:pt x="6453" y="11552"/>
                    </a:lnTo>
                    <a:lnTo>
                      <a:pt x="6458" y="11557"/>
                    </a:lnTo>
                    <a:lnTo>
                      <a:pt x="6461" y="11563"/>
                    </a:lnTo>
                    <a:lnTo>
                      <a:pt x="6464" y="11567"/>
                    </a:lnTo>
                    <a:lnTo>
                      <a:pt x="6467" y="11575"/>
                    </a:lnTo>
                    <a:lnTo>
                      <a:pt x="6467" y="11582"/>
                    </a:lnTo>
                    <a:lnTo>
                      <a:pt x="6465" y="11593"/>
                    </a:lnTo>
                    <a:lnTo>
                      <a:pt x="6462" y="11605"/>
                    </a:lnTo>
                    <a:lnTo>
                      <a:pt x="6457" y="11618"/>
                    </a:lnTo>
                    <a:lnTo>
                      <a:pt x="6451" y="11632"/>
                    </a:lnTo>
                    <a:lnTo>
                      <a:pt x="6442" y="11648"/>
                    </a:lnTo>
                    <a:lnTo>
                      <a:pt x="6434" y="11665"/>
                    </a:lnTo>
                    <a:lnTo>
                      <a:pt x="6424" y="11681"/>
                    </a:lnTo>
                    <a:lnTo>
                      <a:pt x="6415" y="11696"/>
                    </a:lnTo>
                    <a:lnTo>
                      <a:pt x="6404" y="11711"/>
                    </a:lnTo>
                    <a:lnTo>
                      <a:pt x="6394" y="11725"/>
                    </a:lnTo>
                    <a:lnTo>
                      <a:pt x="6383" y="11737"/>
                    </a:lnTo>
                    <a:lnTo>
                      <a:pt x="6373" y="11747"/>
                    </a:lnTo>
                    <a:lnTo>
                      <a:pt x="6363" y="11754"/>
                    </a:lnTo>
                    <a:lnTo>
                      <a:pt x="6358" y="11758"/>
                    </a:lnTo>
                    <a:lnTo>
                      <a:pt x="6355" y="11759"/>
                    </a:lnTo>
                    <a:lnTo>
                      <a:pt x="6350" y="11760"/>
                    </a:lnTo>
                    <a:lnTo>
                      <a:pt x="6346" y="11761"/>
                    </a:lnTo>
                    <a:lnTo>
                      <a:pt x="6325" y="11761"/>
                    </a:lnTo>
                    <a:lnTo>
                      <a:pt x="6304" y="11764"/>
                    </a:lnTo>
                    <a:lnTo>
                      <a:pt x="6284" y="11766"/>
                    </a:lnTo>
                    <a:lnTo>
                      <a:pt x="6264" y="11768"/>
                    </a:lnTo>
                    <a:lnTo>
                      <a:pt x="6244" y="11772"/>
                    </a:lnTo>
                    <a:lnTo>
                      <a:pt x="6225" y="11774"/>
                    </a:lnTo>
                    <a:lnTo>
                      <a:pt x="6204" y="11777"/>
                    </a:lnTo>
                    <a:lnTo>
                      <a:pt x="6184" y="11777"/>
                    </a:lnTo>
                    <a:lnTo>
                      <a:pt x="6178" y="11777"/>
                    </a:lnTo>
                    <a:lnTo>
                      <a:pt x="6173" y="11778"/>
                    </a:lnTo>
                    <a:lnTo>
                      <a:pt x="6169" y="11780"/>
                    </a:lnTo>
                    <a:lnTo>
                      <a:pt x="6166" y="11783"/>
                    </a:lnTo>
                    <a:lnTo>
                      <a:pt x="6164" y="11786"/>
                    </a:lnTo>
                    <a:lnTo>
                      <a:pt x="6163" y="11790"/>
                    </a:lnTo>
                    <a:lnTo>
                      <a:pt x="6163" y="11794"/>
                    </a:lnTo>
                    <a:lnTo>
                      <a:pt x="6164" y="11797"/>
                    </a:lnTo>
                    <a:lnTo>
                      <a:pt x="6167" y="11801"/>
                    </a:lnTo>
                    <a:lnTo>
                      <a:pt x="6169" y="11805"/>
                    </a:lnTo>
                    <a:lnTo>
                      <a:pt x="6172" y="11808"/>
                    </a:lnTo>
                    <a:lnTo>
                      <a:pt x="6175" y="11811"/>
                    </a:lnTo>
                    <a:lnTo>
                      <a:pt x="6180" y="11814"/>
                    </a:lnTo>
                    <a:lnTo>
                      <a:pt x="6185" y="11817"/>
                    </a:lnTo>
                    <a:lnTo>
                      <a:pt x="6191" y="11818"/>
                    </a:lnTo>
                    <a:lnTo>
                      <a:pt x="6197" y="11818"/>
                    </a:lnTo>
                    <a:lnTo>
                      <a:pt x="6207" y="11819"/>
                    </a:lnTo>
                    <a:lnTo>
                      <a:pt x="6219" y="11818"/>
                    </a:lnTo>
                    <a:lnTo>
                      <a:pt x="6232" y="11815"/>
                    </a:lnTo>
                    <a:lnTo>
                      <a:pt x="6245" y="11813"/>
                    </a:lnTo>
                    <a:lnTo>
                      <a:pt x="6257" y="11809"/>
                    </a:lnTo>
                    <a:lnTo>
                      <a:pt x="6268" y="11803"/>
                    </a:lnTo>
                    <a:lnTo>
                      <a:pt x="6273" y="11801"/>
                    </a:lnTo>
                    <a:lnTo>
                      <a:pt x="6276" y="11797"/>
                    </a:lnTo>
                    <a:lnTo>
                      <a:pt x="6279" y="11792"/>
                    </a:lnTo>
                    <a:lnTo>
                      <a:pt x="6281" y="11789"/>
                    </a:lnTo>
                    <a:lnTo>
                      <a:pt x="6284" y="11789"/>
                    </a:lnTo>
                    <a:lnTo>
                      <a:pt x="6284" y="11799"/>
                    </a:lnTo>
                    <a:lnTo>
                      <a:pt x="6281" y="11811"/>
                    </a:lnTo>
                    <a:lnTo>
                      <a:pt x="6279" y="11824"/>
                    </a:lnTo>
                    <a:lnTo>
                      <a:pt x="6276" y="11838"/>
                    </a:lnTo>
                    <a:lnTo>
                      <a:pt x="6272" y="11854"/>
                    </a:lnTo>
                    <a:lnTo>
                      <a:pt x="6267" y="11870"/>
                    </a:lnTo>
                    <a:lnTo>
                      <a:pt x="6261" y="11885"/>
                    </a:lnTo>
                    <a:lnTo>
                      <a:pt x="6253" y="11901"/>
                    </a:lnTo>
                    <a:lnTo>
                      <a:pt x="6246" y="11914"/>
                    </a:lnTo>
                    <a:lnTo>
                      <a:pt x="6238" y="11927"/>
                    </a:lnTo>
                    <a:lnTo>
                      <a:pt x="6233" y="11932"/>
                    </a:lnTo>
                    <a:lnTo>
                      <a:pt x="6228" y="11937"/>
                    </a:lnTo>
                    <a:lnTo>
                      <a:pt x="6223" y="11942"/>
                    </a:lnTo>
                    <a:lnTo>
                      <a:pt x="6219" y="11945"/>
                    </a:lnTo>
                    <a:lnTo>
                      <a:pt x="6213" y="11948"/>
                    </a:lnTo>
                    <a:lnTo>
                      <a:pt x="6207" y="11950"/>
                    </a:lnTo>
                    <a:lnTo>
                      <a:pt x="6201" y="11950"/>
                    </a:lnTo>
                    <a:lnTo>
                      <a:pt x="6195" y="11951"/>
                    </a:lnTo>
                    <a:lnTo>
                      <a:pt x="6189" y="11950"/>
                    </a:lnTo>
                    <a:lnTo>
                      <a:pt x="6182" y="11949"/>
                    </a:lnTo>
                    <a:lnTo>
                      <a:pt x="6175" y="11945"/>
                    </a:lnTo>
                    <a:lnTo>
                      <a:pt x="6169" y="11942"/>
                    </a:lnTo>
                    <a:lnTo>
                      <a:pt x="6163" y="11938"/>
                    </a:lnTo>
                    <a:lnTo>
                      <a:pt x="6157" y="11938"/>
                    </a:lnTo>
                    <a:lnTo>
                      <a:pt x="6152" y="11938"/>
                    </a:lnTo>
                    <a:lnTo>
                      <a:pt x="6148" y="11941"/>
                    </a:lnTo>
                    <a:lnTo>
                      <a:pt x="6143" y="11943"/>
                    </a:lnTo>
                    <a:lnTo>
                      <a:pt x="6138" y="11944"/>
                    </a:lnTo>
                    <a:lnTo>
                      <a:pt x="6132" y="11945"/>
                    </a:lnTo>
                    <a:lnTo>
                      <a:pt x="6126" y="11944"/>
                    </a:lnTo>
                    <a:lnTo>
                      <a:pt x="6127" y="11931"/>
                    </a:lnTo>
                    <a:lnTo>
                      <a:pt x="6130" y="11918"/>
                    </a:lnTo>
                    <a:lnTo>
                      <a:pt x="6132" y="11906"/>
                    </a:lnTo>
                    <a:lnTo>
                      <a:pt x="6132" y="11892"/>
                    </a:lnTo>
                    <a:lnTo>
                      <a:pt x="6130" y="11886"/>
                    </a:lnTo>
                    <a:lnTo>
                      <a:pt x="6127" y="11879"/>
                    </a:lnTo>
                    <a:lnTo>
                      <a:pt x="6122" y="11873"/>
                    </a:lnTo>
                    <a:lnTo>
                      <a:pt x="6118" y="11866"/>
                    </a:lnTo>
                    <a:lnTo>
                      <a:pt x="6113" y="11860"/>
                    </a:lnTo>
                    <a:lnTo>
                      <a:pt x="6109" y="11853"/>
                    </a:lnTo>
                    <a:lnTo>
                      <a:pt x="6105" y="11847"/>
                    </a:lnTo>
                    <a:lnTo>
                      <a:pt x="6103" y="11839"/>
                    </a:lnTo>
                    <a:lnTo>
                      <a:pt x="6098" y="11839"/>
                    </a:lnTo>
                    <a:lnTo>
                      <a:pt x="6097" y="11850"/>
                    </a:lnTo>
                    <a:lnTo>
                      <a:pt x="6096" y="11861"/>
                    </a:lnTo>
                    <a:lnTo>
                      <a:pt x="6096" y="11873"/>
                    </a:lnTo>
                    <a:lnTo>
                      <a:pt x="6097" y="11885"/>
                    </a:lnTo>
                    <a:lnTo>
                      <a:pt x="6097" y="11897"/>
                    </a:lnTo>
                    <a:lnTo>
                      <a:pt x="6097" y="11908"/>
                    </a:lnTo>
                    <a:lnTo>
                      <a:pt x="6096" y="11918"/>
                    </a:lnTo>
                    <a:lnTo>
                      <a:pt x="6093" y="11926"/>
                    </a:lnTo>
                    <a:lnTo>
                      <a:pt x="6091" y="11931"/>
                    </a:lnTo>
                    <a:lnTo>
                      <a:pt x="6089" y="11934"/>
                    </a:lnTo>
                    <a:lnTo>
                      <a:pt x="6085" y="11938"/>
                    </a:lnTo>
                    <a:lnTo>
                      <a:pt x="6081" y="11942"/>
                    </a:lnTo>
                    <a:lnTo>
                      <a:pt x="6073" y="11947"/>
                    </a:lnTo>
                    <a:lnTo>
                      <a:pt x="6063" y="11950"/>
                    </a:lnTo>
                    <a:lnTo>
                      <a:pt x="6060" y="11950"/>
                    </a:lnTo>
                    <a:lnTo>
                      <a:pt x="6055" y="11950"/>
                    </a:lnTo>
                    <a:lnTo>
                      <a:pt x="6051" y="11949"/>
                    </a:lnTo>
                    <a:lnTo>
                      <a:pt x="6046" y="11948"/>
                    </a:lnTo>
                    <a:lnTo>
                      <a:pt x="6043" y="11945"/>
                    </a:lnTo>
                    <a:lnTo>
                      <a:pt x="6040" y="11942"/>
                    </a:lnTo>
                    <a:lnTo>
                      <a:pt x="6038" y="11937"/>
                    </a:lnTo>
                    <a:lnTo>
                      <a:pt x="6036" y="11932"/>
                    </a:lnTo>
                    <a:lnTo>
                      <a:pt x="6032" y="11932"/>
                    </a:lnTo>
                    <a:lnTo>
                      <a:pt x="6027" y="11942"/>
                    </a:lnTo>
                    <a:lnTo>
                      <a:pt x="6021" y="11951"/>
                    </a:lnTo>
                    <a:lnTo>
                      <a:pt x="6013" y="11960"/>
                    </a:lnTo>
                    <a:lnTo>
                      <a:pt x="6006" y="11968"/>
                    </a:lnTo>
                    <a:lnTo>
                      <a:pt x="6019" y="11978"/>
                    </a:lnTo>
                    <a:lnTo>
                      <a:pt x="6032" y="11985"/>
                    </a:lnTo>
                    <a:lnTo>
                      <a:pt x="6045" y="11991"/>
                    </a:lnTo>
                    <a:lnTo>
                      <a:pt x="6060" y="11997"/>
                    </a:lnTo>
                    <a:lnTo>
                      <a:pt x="6060" y="11999"/>
                    </a:lnTo>
                    <a:lnTo>
                      <a:pt x="6059" y="12003"/>
                    </a:lnTo>
                    <a:lnTo>
                      <a:pt x="6056" y="12005"/>
                    </a:lnTo>
                    <a:lnTo>
                      <a:pt x="6055" y="12009"/>
                    </a:lnTo>
                    <a:lnTo>
                      <a:pt x="6049" y="12013"/>
                    </a:lnTo>
                    <a:lnTo>
                      <a:pt x="6042" y="12018"/>
                    </a:lnTo>
                    <a:lnTo>
                      <a:pt x="6032" y="12020"/>
                    </a:lnTo>
                    <a:lnTo>
                      <a:pt x="6022" y="12022"/>
                    </a:lnTo>
                    <a:lnTo>
                      <a:pt x="6013" y="12025"/>
                    </a:lnTo>
                    <a:lnTo>
                      <a:pt x="6002" y="12026"/>
                    </a:lnTo>
                    <a:lnTo>
                      <a:pt x="5961" y="12028"/>
                    </a:lnTo>
                    <a:lnTo>
                      <a:pt x="5943" y="12030"/>
                    </a:lnTo>
                    <a:lnTo>
                      <a:pt x="5941" y="12030"/>
                    </a:lnTo>
                    <a:lnTo>
                      <a:pt x="5943" y="12036"/>
                    </a:lnTo>
                    <a:lnTo>
                      <a:pt x="5948" y="12042"/>
                    </a:lnTo>
                    <a:lnTo>
                      <a:pt x="5955" y="12050"/>
                    </a:lnTo>
                    <a:lnTo>
                      <a:pt x="5963" y="12060"/>
                    </a:lnTo>
                    <a:lnTo>
                      <a:pt x="5973" y="12068"/>
                    </a:lnTo>
                    <a:lnTo>
                      <a:pt x="5980" y="12078"/>
                    </a:lnTo>
                    <a:lnTo>
                      <a:pt x="5988" y="12086"/>
                    </a:lnTo>
                    <a:lnTo>
                      <a:pt x="5991" y="12093"/>
                    </a:lnTo>
                    <a:lnTo>
                      <a:pt x="5992" y="12099"/>
                    </a:lnTo>
                    <a:lnTo>
                      <a:pt x="5991" y="12104"/>
                    </a:lnTo>
                    <a:lnTo>
                      <a:pt x="5989" y="12108"/>
                    </a:lnTo>
                    <a:lnTo>
                      <a:pt x="5984" y="12113"/>
                    </a:lnTo>
                    <a:lnTo>
                      <a:pt x="5978" y="12116"/>
                    </a:lnTo>
                    <a:lnTo>
                      <a:pt x="5971" y="12119"/>
                    </a:lnTo>
                    <a:lnTo>
                      <a:pt x="5963" y="12122"/>
                    </a:lnTo>
                    <a:lnTo>
                      <a:pt x="5955" y="12125"/>
                    </a:lnTo>
                    <a:lnTo>
                      <a:pt x="5924" y="12131"/>
                    </a:lnTo>
                    <a:lnTo>
                      <a:pt x="5909" y="12133"/>
                    </a:lnTo>
                    <a:lnTo>
                      <a:pt x="5906" y="12140"/>
                    </a:lnTo>
                    <a:lnTo>
                      <a:pt x="5898" y="12157"/>
                    </a:lnTo>
                    <a:lnTo>
                      <a:pt x="5895" y="12167"/>
                    </a:lnTo>
                    <a:lnTo>
                      <a:pt x="5891" y="12176"/>
                    </a:lnTo>
                    <a:lnTo>
                      <a:pt x="5888" y="12184"/>
                    </a:lnTo>
                    <a:lnTo>
                      <a:pt x="5883" y="12188"/>
                    </a:lnTo>
                    <a:lnTo>
                      <a:pt x="5871" y="12200"/>
                    </a:lnTo>
                    <a:lnTo>
                      <a:pt x="5858" y="12211"/>
                    </a:lnTo>
                    <a:lnTo>
                      <a:pt x="5844" y="12223"/>
                    </a:lnTo>
                    <a:lnTo>
                      <a:pt x="5832" y="12234"/>
                    </a:lnTo>
                    <a:lnTo>
                      <a:pt x="5829" y="12239"/>
                    </a:lnTo>
                    <a:lnTo>
                      <a:pt x="5826" y="12245"/>
                    </a:lnTo>
                    <a:lnTo>
                      <a:pt x="5824" y="12252"/>
                    </a:lnTo>
                    <a:lnTo>
                      <a:pt x="5821" y="12261"/>
                    </a:lnTo>
                    <a:lnTo>
                      <a:pt x="5817" y="12279"/>
                    </a:lnTo>
                    <a:lnTo>
                      <a:pt x="5812" y="12297"/>
                    </a:lnTo>
                    <a:lnTo>
                      <a:pt x="5809" y="12305"/>
                    </a:lnTo>
                    <a:lnTo>
                      <a:pt x="5807" y="12314"/>
                    </a:lnTo>
                    <a:lnTo>
                      <a:pt x="5803" y="12321"/>
                    </a:lnTo>
                    <a:lnTo>
                      <a:pt x="5800" y="12328"/>
                    </a:lnTo>
                    <a:lnTo>
                      <a:pt x="5795" y="12334"/>
                    </a:lnTo>
                    <a:lnTo>
                      <a:pt x="5790" y="12338"/>
                    </a:lnTo>
                    <a:lnTo>
                      <a:pt x="5783" y="12340"/>
                    </a:lnTo>
                    <a:lnTo>
                      <a:pt x="5776" y="12341"/>
                    </a:lnTo>
                    <a:lnTo>
                      <a:pt x="5771" y="12342"/>
                    </a:lnTo>
                    <a:lnTo>
                      <a:pt x="5767" y="12344"/>
                    </a:lnTo>
                    <a:lnTo>
                      <a:pt x="5765" y="12345"/>
                    </a:lnTo>
                    <a:lnTo>
                      <a:pt x="5762" y="12348"/>
                    </a:lnTo>
                    <a:lnTo>
                      <a:pt x="5761" y="12351"/>
                    </a:lnTo>
                    <a:lnTo>
                      <a:pt x="5760" y="12354"/>
                    </a:lnTo>
                    <a:lnTo>
                      <a:pt x="5760" y="12358"/>
                    </a:lnTo>
                    <a:lnTo>
                      <a:pt x="5760" y="12363"/>
                    </a:lnTo>
                    <a:lnTo>
                      <a:pt x="5762" y="12371"/>
                    </a:lnTo>
                    <a:lnTo>
                      <a:pt x="5767" y="12379"/>
                    </a:lnTo>
                    <a:lnTo>
                      <a:pt x="5771" y="12382"/>
                    </a:lnTo>
                    <a:lnTo>
                      <a:pt x="5773" y="12385"/>
                    </a:lnTo>
                    <a:lnTo>
                      <a:pt x="5777" y="12387"/>
                    </a:lnTo>
                    <a:lnTo>
                      <a:pt x="5782" y="12388"/>
                    </a:lnTo>
                    <a:lnTo>
                      <a:pt x="5785" y="12389"/>
                    </a:lnTo>
                    <a:lnTo>
                      <a:pt x="5788" y="12393"/>
                    </a:lnTo>
                    <a:lnTo>
                      <a:pt x="5790" y="12397"/>
                    </a:lnTo>
                    <a:lnTo>
                      <a:pt x="5793" y="12403"/>
                    </a:lnTo>
                    <a:lnTo>
                      <a:pt x="5797" y="12413"/>
                    </a:lnTo>
                    <a:lnTo>
                      <a:pt x="5800" y="12427"/>
                    </a:lnTo>
                    <a:lnTo>
                      <a:pt x="5803" y="12451"/>
                    </a:lnTo>
                    <a:lnTo>
                      <a:pt x="5805" y="12460"/>
                    </a:lnTo>
                    <a:lnTo>
                      <a:pt x="5809" y="12460"/>
                    </a:lnTo>
                    <a:lnTo>
                      <a:pt x="5814" y="12458"/>
                    </a:lnTo>
                    <a:lnTo>
                      <a:pt x="5819" y="12457"/>
                    </a:lnTo>
                    <a:lnTo>
                      <a:pt x="5824" y="12453"/>
                    </a:lnTo>
                    <a:lnTo>
                      <a:pt x="5831" y="12447"/>
                    </a:lnTo>
                    <a:lnTo>
                      <a:pt x="5839" y="12439"/>
                    </a:lnTo>
                    <a:lnTo>
                      <a:pt x="5848" y="12432"/>
                    </a:lnTo>
                    <a:lnTo>
                      <a:pt x="5859" y="12425"/>
                    </a:lnTo>
                    <a:lnTo>
                      <a:pt x="5865" y="12423"/>
                    </a:lnTo>
                    <a:lnTo>
                      <a:pt x="5872" y="12422"/>
                    </a:lnTo>
                    <a:lnTo>
                      <a:pt x="5879" y="12421"/>
                    </a:lnTo>
                    <a:lnTo>
                      <a:pt x="5888" y="12421"/>
                    </a:lnTo>
                    <a:lnTo>
                      <a:pt x="5915" y="12422"/>
                    </a:lnTo>
                    <a:lnTo>
                      <a:pt x="5949" y="12423"/>
                    </a:lnTo>
                    <a:lnTo>
                      <a:pt x="5966" y="12424"/>
                    </a:lnTo>
                    <a:lnTo>
                      <a:pt x="5980" y="12425"/>
                    </a:lnTo>
                    <a:lnTo>
                      <a:pt x="5995" y="12428"/>
                    </a:lnTo>
                    <a:lnTo>
                      <a:pt x="6006" y="12433"/>
                    </a:lnTo>
                    <a:lnTo>
                      <a:pt x="6013" y="12438"/>
                    </a:lnTo>
                    <a:lnTo>
                      <a:pt x="6018" y="12444"/>
                    </a:lnTo>
                    <a:lnTo>
                      <a:pt x="6021" y="12451"/>
                    </a:lnTo>
                    <a:lnTo>
                      <a:pt x="6024" y="12458"/>
                    </a:lnTo>
                    <a:lnTo>
                      <a:pt x="6027" y="12465"/>
                    </a:lnTo>
                    <a:lnTo>
                      <a:pt x="6033" y="12472"/>
                    </a:lnTo>
                    <a:lnTo>
                      <a:pt x="6037" y="12475"/>
                    </a:lnTo>
                    <a:lnTo>
                      <a:pt x="6040" y="12478"/>
                    </a:lnTo>
                    <a:lnTo>
                      <a:pt x="6045" y="12481"/>
                    </a:lnTo>
                    <a:lnTo>
                      <a:pt x="6051" y="12483"/>
                    </a:lnTo>
                    <a:lnTo>
                      <a:pt x="6074" y="12492"/>
                    </a:lnTo>
                    <a:lnTo>
                      <a:pt x="6097" y="12501"/>
                    </a:lnTo>
                    <a:lnTo>
                      <a:pt x="6108" y="12507"/>
                    </a:lnTo>
                    <a:lnTo>
                      <a:pt x="6118" y="12515"/>
                    </a:lnTo>
                    <a:lnTo>
                      <a:pt x="6122" y="12518"/>
                    </a:lnTo>
                    <a:lnTo>
                      <a:pt x="6126" y="12523"/>
                    </a:lnTo>
                    <a:lnTo>
                      <a:pt x="6130" y="12528"/>
                    </a:lnTo>
                    <a:lnTo>
                      <a:pt x="6133" y="12534"/>
                    </a:lnTo>
                    <a:lnTo>
                      <a:pt x="6143" y="12555"/>
                    </a:lnTo>
                    <a:lnTo>
                      <a:pt x="6149" y="12572"/>
                    </a:lnTo>
                    <a:lnTo>
                      <a:pt x="6150" y="12580"/>
                    </a:lnTo>
                    <a:lnTo>
                      <a:pt x="6150" y="12586"/>
                    </a:lnTo>
                    <a:lnTo>
                      <a:pt x="6150" y="12592"/>
                    </a:lnTo>
                    <a:lnTo>
                      <a:pt x="6149" y="12598"/>
                    </a:lnTo>
                    <a:lnTo>
                      <a:pt x="6142" y="12620"/>
                    </a:lnTo>
                    <a:lnTo>
                      <a:pt x="6131" y="12655"/>
                    </a:lnTo>
                    <a:lnTo>
                      <a:pt x="6127" y="12676"/>
                    </a:lnTo>
                    <a:lnTo>
                      <a:pt x="6126" y="12689"/>
                    </a:lnTo>
                    <a:lnTo>
                      <a:pt x="6124" y="12695"/>
                    </a:lnTo>
                    <a:lnTo>
                      <a:pt x="6119" y="12702"/>
                    </a:lnTo>
                    <a:lnTo>
                      <a:pt x="6111" y="12711"/>
                    </a:lnTo>
                    <a:lnTo>
                      <a:pt x="6099" y="12722"/>
                    </a:lnTo>
                    <a:lnTo>
                      <a:pt x="6091" y="12728"/>
                    </a:lnTo>
                    <a:lnTo>
                      <a:pt x="6081" y="12734"/>
                    </a:lnTo>
                    <a:lnTo>
                      <a:pt x="6073" y="12742"/>
                    </a:lnTo>
                    <a:lnTo>
                      <a:pt x="6065" y="12749"/>
                    </a:lnTo>
                    <a:lnTo>
                      <a:pt x="6049" y="12767"/>
                    </a:lnTo>
                    <a:lnTo>
                      <a:pt x="6032" y="12784"/>
                    </a:lnTo>
                    <a:lnTo>
                      <a:pt x="6024" y="12791"/>
                    </a:lnTo>
                    <a:lnTo>
                      <a:pt x="6015" y="12796"/>
                    </a:lnTo>
                    <a:lnTo>
                      <a:pt x="6006" y="12801"/>
                    </a:lnTo>
                    <a:lnTo>
                      <a:pt x="5996" y="12805"/>
                    </a:lnTo>
                    <a:lnTo>
                      <a:pt x="5986" y="12805"/>
                    </a:lnTo>
                    <a:lnTo>
                      <a:pt x="5974" y="12803"/>
                    </a:lnTo>
                    <a:lnTo>
                      <a:pt x="5962" y="12800"/>
                    </a:lnTo>
                    <a:lnTo>
                      <a:pt x="5949" y="12793"/>
                    </a:lnTo>
                    <a:lnTo>
                      <a:pt x="5942" y="12789"/>
                    </a:lnTo>
                    <a:lnTo>
                      <a:pt x="5936" y="12789"/>
                    </a:lnTo>
                    <a:lnTo>
                      <a:pt x="5930" y="12790"/>
                    </a:lnTo>
                    <a:lnTo>
                      <a:pt x="5924" y="12793"/>
                    </a:lnTo>
                    <a:lnTo>
                      <a:pt x="5919" y="12797"/>
                    </a:lnTo>
                    <a:lnTo>
                      <a:pt x="5914" y="12805"/>
                    </a:lnTo>
                    <a:lnTo>
                      <a:pt x="5911" y="12812"/>
                    </a:lnTo>
                    <a:lnTo>
                      <a:pt x="5907" y="12819"/>
                    </a:lnTo>
                    <a:lnTo>
                      <a:pt x="5901" y="12838"/>
                    </a:lnTo>
                    <a:lnTo>
                      <a:pt x="5896" y="12856"/>
                    </a:lnTo>
                    <a:lnTo>
                      <a:pt x="5894" y="12874"/>
                    </a:lnTo>
                    <a:lnTo>
                      <a:pt x="5892" y="12889"/>
                    </a:lnTo>
                    <a:lnTo>
                      <a:pt x="5866" y="12895"/>
                    </a:lnTo>
                    <a:lnTo>
                      <a:pt x="5849" y="12898"/>
                    </a:lnTo>
                    <a:lnTo>
                      <a:pt x="5847" y="12900"/>
                    </a:lnTo>
                    <a:lnTo>
                      <a:pt x="5844" y="12903"/>
                    </a:lnTo>
                    <a:lnTo>
                      <a:pt x="5844" y="12907"/>
                    </a:lnTo>
                    <a:lnTo>
                      <a:pt x="5844" y="12913"/>
                    </a:lnTo>
                    <a:lnTo>
                      <a:pt x="5848" y="12927"/>
                    </a:lnTo>
                    <a:lnTo>
                      <a:pt x="5855" y="12950"/>
                    </a:lnTo>
                    <a:lnTo>
                      <a:pt x="5856" y="12957"/>
                    </a:lnTo>
                    <a:lnTo>
                      <a:pt x="5858" y="12963"/>
                    </a:lnTo>
                    <a:lnTo>
                      <a:pt x="5856" y="12969"/>
                    </a:lnTo>
                    <a:lnTo>
                      <a:pt x="5855" y="12974"/>
                    </a:lnTo>
                    <a:lnTo>
                      <a:pt x="5853" y="12979"/>
                    </a:lnTo>
                    <a:lnTo>
                      <a:pt x="5850" y="12984"/>
                    </a:lnTo>
                    <a:lnTo>
                      <a:pt x="5847" y="12987"/>
                    </a:lnTo>
                    <a:lnTo>
                      <a:pt x="5842" y="12991"/>
                    </a:lnTo>
                    <a:lnTo>
                      <a:pt x="5832" y="12997"/>
                    </a:lnTo>
                    <a:lnTo>
                      <a:pt x="5821" y="13002"/>
                    </a:lnTo>
                    <a:lnTo>
                      <a:pt x="5809" y="13004"/>
                    </a:lnTo>
                    <a:lnTo>
                      <a:pt x="5797" y="13004"/>
                    </a:lnTo>
                    <a:lnTo>
                      <a:pt x="5797" y="13010"/>
                    </a:lnTo>
                    <a:lnTo>
                      <a:pt x="5800" y="13016"/>
                    </a:lnTo>
                    <a:lnTo>
                      <a:pt x="5801" y="13020"/>
                    </a:lnTo>
                    <a:lnTo>
                      <a:pt x="5803" y="13024"/>
                    </a:lnTo>
                    <a:lnTo>
                      <a:pt x="5809" y="13028"/>
                    </a:lnTo>
                    <a:lnTo>
                      <a:pt x="5815" y="13033"/>
                    </a:lnTo>
                    <a:lnTo>
                      <a:pt x="5818" y="13036"/>
                    </a:lnTo>
                    <a:lnTo>
                      <a:pt x="5820" y="13039"/>
                    </a:lnTo>
                    <a:lnTo>
                      <a:pt x="5821" y="13042"/>
                    </a:lnTo>
                    <a:lnTo>
                      <a:pt x="5823" y="13045"/>
                    </a:lnTo>
                    <a:lnTo>
                      <a:pt x="5821" y="13050"/>
                    </a:lnTo>
                    <a:lnTo>
                      <a:pt x="5819" y="13055"/>
                    </a:lnTo>
                    <a:lnTo>
                      <a:pt x="5817" y="13061"/>
                    </a:lnTo>
                    <a:lnTo>
                      <a:pt x="5811" y="13068"/>
                    </a:lnTo>
                    <a:lnTo>
                      <a:pt x="5807" y="13077"/>
                    </a:lnTo>
                    <a:lnTo>
                      <a:pt x="5803" y="13087"/>
                    </a:lnTo>
                    <a:lnTo>
                      <a:pt x="5801" y="13098"/>
                    </a:lnTo>
                    <a:lnTo>
                      <a:pt x="5799" y="13109"/>
                    </a:lnTo>
                    <a:lnTo>
                      <a:pt x="5795" y="13120"/>
                    </a:lnTo>
                    <a:lnTo>
                      <a:pt x="5789" y="13128"/>
                    </a:lnTo>
                    <a:lnTo>
                      <a:pt x="5785" y="13131"/>
                    </a:lnTo>
                    <a:lnTo>
                      <a:pt x="5782" y="13133"/>
                    </a:lnTo>
                    <a:lnTo>
                      <a:pt x="5776" y="13134"/>
                    </a:lnTo>
                    <a:lnTo>
                      <a:pt x="5770" y="13136"/>
                    </a:lnTo>
                    <a:lnTo>
                      <a:pt x="5768" y="13145"/>
                    </a:lnTo>
                    <a:lnTo>
                      <a:pt x="5766" y="13154"/>
                    </a:lnTo>
                    <a:lnTo>
                      <a:pt x="5762" y="13162"/>
                    </a:lnTo>
                    <a:lnTo>
                      <a:pt x="5758" y="13169"/>
                    </a:lnTo>
                    <a:lnTo>
                      <a:pt x="5753" y="13175"/>
                    </a:lnTo>
                    <a:lnTo>
                      <a:pt x="5749" y="13182"/>
                    </a:lnTo>
                    <a:lnTo>
                      <a:pt x="5747" y="13190"/>
                    </a:lnTo>
                    <a:lnTo>
                      <a:pt x="5746" y="13198"/>
                    </a:lnTo>
                    <a:lnTo>
                      <a:pt x="5744" y="13204"/>
                    </a:lnTo>
                    <a:lnTo>
                      <a:pt x="5743" y="13209"/>
                    </a:lnTo>
                    <a:lnTo>
                      <a:pt x="5741" y="13213"/>
                    </a:lnTo>
                    <a:lnTo>
                      <a:pt x="5738" y="13214"/>
                    </a:lnTo>
                    <a:lnTo>
                      <a:pt x="5735" y="13213"/>
                    </a:lnTo>
                    <a:lnTo>
                      <a:pt x="5730" y="13211"/>
                    </a:lnTo>
                    <a:lnTo>
                      <a:pt x="5726" y="13210"/>
                    </a:lnTo>
                    <a:lnTo>
                      <a:pt x="5722" y="13207"/>
                    </a:lnTo>
                    <a:lnTo>
                      <a:pt x="5712" y="13201"/>
                    </a:lnTo>
                    <a:lnTo>
                      <a:pt x="5704" y="13194"/>
                    </a:lnTo>
                    <a:lnTo>
                      <a:pt x="5700" y="13192"/>
                    </a:lnTo>
                    <a:lnTo>
                      <a:pt x="5696" y="13191"/>
                    </a:lnTo>
                    <a:lnTo>
                      <a:pt x="5694" y="13191"/>
                    </a:lnTo>
                    <a:lnTo>
                      <a:pt x="5693" y="13193"/>
                    </a:lnTo>
                    <a:lnTo>
                      <a:pt x="5687" y="13201"/>
                    </a:lnTo>
                    <a:lnTo>
                      <a:pt x="5683" y="13207"/>
                    </a:lnTo>
                    <a:lnTo>
                      <a:pt x="5678" y="13210"/>
                    </a:lnTo>
                    <a:lnTo>
                      <a:pt x="5675" y="13211"/>
                    </a:lnTo>
                    <a:lnTo>
                      <a:pt x="5664" y="13214"/>
                    </a:lnTo>
                    <a:lnTo>
                      <a:pt x="5649" y="13217"/>
                    </a:lnTo>
                    <a:lnTo>
                      <a:pt x="5646" y="13219"/>
                    </a:lnTo>
                    <a:lnTo>
                      <a:pt x="5643" y="13221"/>
                    </a:lnTo>
                    <a:lnTo>
                      <a:pt x="5641" y="13225"/>
                    </a:lnTo>
                    <a:lnTo>
                      <a:pt x="5641" y="13228"/>
                    </a:lnTo>
                    <a:lnTo>
                      <a:pt x="5640" y="13237"/>
                    </a:lnTo>
                    <a:lnTo>
                      <a:pt x="5640" y="13245"/>
                    </a:lnTo>
                    <a:lnTo>
                      <a:pt x="5640" y="13249"/>
                    </a:lnTo>
                    <a:lnTo>
                      <a:pt x="5639" y="13251"/>
                    </a:lnTo>
                    <a:lnTo>
                      <a:pt x="5637" y="13255"/>
                    </a:lnTo>
                    <a:lnTo>
                      <a:pt x="5635" y="13257"/>
                    </a:lnTo>
                    <a:lnTo>
                      <a:pt x="5632" y="13258"/>
                    </a:lnTo>
                    <a:lnTo>
                      <a:pt x="5629" y="13258"/>
                    </a:lnTo>
                    <a:lnTo>
                      <a:pt x="5624" y="13257"/>
                    </a:lnTo>
                    <a:lnTo>
                      <a:pt x="5617" y="13256"/>
                    </a:lnTo>
                    <a:lnTo>
                      <a:pt x="5593" y="13246"/>
                    </a:lnTo>
                    <a:lnTo>
                      <a:pt x="5580" y="13243"/>
                    </a:lnTo>
                    <a:lnTo>
                      <a:pt x="5576" y="13243"/>
                    </a:lnTo>
                    <a:lnTo>
                      <a:pt x="5574" y="13243"/>
                    </a:lnTo>
                    <a:lnTo>
                      <a:pt x="5571" y="13245"/>
                    </a:lnTo>
                    <a:lnTo>
                      <a:pt x="5570" y="13246"/>
                    </a:lnTo>
                    <a:lnTo>
                      <a:pt x="5568" y="13252"/>
                    </a:lnTo>
                    <a:lnTo>
                      <a:pt x="5563" y="13259"/>
                    </a:lnTo>
                    <a:lnTo>
                      <a:pt x="5559" y="13264"/>
                    </a:lnTo>
                    <a:lnTo>
                      <a:pt x="5553" y="13268"/>
                    </a:lnTo>
                    <a:lnTo>
                      <a:pt x="5545" y="13273"/>
                    </a:lnTo>
                    <a:lnTo>
                      <a:pt x="5533" y="13276"/>
                    </a:lnTo>
                    <a:lnTo>
                      <a:pt x="5524" y="13279"/>
                    </a:lnTo>
                    <a:lnTo>
                      <a:pt x="5518" y="13279"/>
                    </a:lnTo>
                    <a:lnTo>
                      <a:pt x="5512" y="13278"/>
                    </a:lnTo>
                    <a:lnTo>
                      <a:pt x="5509" y="13275"/>
                    </a:lnTo>
                    <a:lnTo>
                      <a:pt x="5500" y="13269"/>
                    </a:lnTo>
                    <a:lnTo>
                      <a:pt x="5488" y="13261"/>
                    </a:lnTo>
                    <a:lnTo>
                      <a:pt x="5486" y="13259"/>
                    </a:lnTo>
                    <a:lnTo>
                      <a:pt x="5482" y="13259"/>
                    </a:lnTo>
                    <a:lnTo>
                      <a:pt x="5480" y="13259"/>
                    </a:lnTo>
                    <a:lnTo>
                      <a:pt x="5476" y="13261"/>
                    </a:lnTo>
                    <a:lnTo>
                      <a:pt x="5470" y="13264"/>
                    </a:lnTo>
                    <a:lnTo>
                      <a:pt x="5464" y="13269"/>
                    </a:lnTo>
                    <a:lnTo>
                      <a:pt x="5452" y="13286"/>
                    </a:lnTo>
                    <a:lnTo>
                      <a:pt x="5440" y="13306"/>
                    </a:lnTo>
                    <a:lnTo>
                      <a:pt x="5428" y="13329"/>
                    </a:lnTo>
                    <a:lnTo>
                      <a:pt x="5416" y="13351"/>
                    </a:lnTo>
                    <a:lnTo>
                      <a:pt x="5410" y="13361"/>
                    </a:lnTo>
                    <a:lnTo>
                      <a:pt x="5404" y="13369"/>
                    </a:lnTo>
                    <a:lnTo>
                      <a:pt x="5398" y="13375"/>
                    </a:lnTo>
                    <a:lnTo>
                      <a:pt x="5391" y="13380"/>
                    </a:lnTo>
                    <a:lnTo>
                      <a:pt x="5379" y="13389"/>
                    </a:lnTo>
                    <a:lnTo>
                      <a:pt x="5364" y="13403"/>
                    </a:lnTo>
                    <a:lnTo>
                      <a:pt x="5356" y="13409"/>
                    </a:lnTo>
                    <a:lnTo>
                      <a:pt x="5348" y="13414"/>
                    </a:lnTo>
                    <a:lnTo>
                      <a:pt x="5341" y="13416"/>
                    </a:lnTo>
                    <a:lnTo>
                      <a:pt x="5335" y="13417"/>
                    </a:lnTo>
                    <a:lnTo>
                      <a:pt x="5330" y="13418"/>
                    </a:lnTo>
                    <a:lnTo>
                      <a:pt x="5327" y="13421"/>
                    </a:lnTo>
                    <a:lnTo>
                      <a:pt x="5324" y="13423"/>
                    </a:lnTo>
                    <a:lnTo>
                      <a:pt x="5323" y="13428"/>
                    </a:lnTo>
                    <a:lnTo>
                      <a:pt x="5322" y="13439"/>
                    </a:lnTo>
                    <a:lnTo>
                      <a:pt x="5322" y="13451"/>
                    </a:lnTo>
                    <a:lnTo>
                      <a:pt x="5323" y="13464"/>
                    </a:lnTo>
                    <a:lnTo>
                      <a:pt x="5326" y="13476"/>
                    </a:lnTo>
                    <a:lnTo>
                      <a:pt x="5326" y="13486"/>
                    </a:lnTo>
                    <a:lnTo>
                      <a:pt x="5324" y="13492"/>
                    </a:lnTo>
                    <a:lnTo>
                      <a:pt x="5321" y="13497"/>
                    </a:lnTo>
                    <a:lnTo>
                      <a:pt x="5316" y="13501"/>
                    </a:lnTo>
                    <a:lnTo>
                      <a:pt x="5312" y="13504"/>
                    </a:lnTo>
                    <a:lnTo>
                      <a:pt x="5309" y="13505"/>
                    </a:lnTo>
                    <a:lnTo>
                      <a:pt x="5304" y="13506"/>
                    </a:lnTo>
                    <a:lnTo>
                      <a:pt x="5300" y="13506"/>
                    </a:lnTo>
                    <a:lnTo>
                      <a:pt x="5296" y="13506"/>
                    </a:lnTo>
                    <a:lnTo>
                      <a:pt x="5292" y="13505"/>
                    </a:lnTo>
                    <a:lnTo>
                      <a:pt x="5283" y="13501"/>
                    </a:lnTo>
                    <a:lnTo>
                      <a:pt x="5275" y="13494"/>
                    </a:lnTo>
                    <a:lnTo>
                      <a:pt x="5267" y="13487"/>
                    </a:lnTo>
                    <a:lnTo>
                      <a:pt x="5258" y="13478"/>
                    </a:lnTo>
                    <a:lnTo>
                      <a:pt x="5243" y="13463"/>
                    </a:lnTo>
                    <a:lnTo>
                      <a:pt x="5231" y="13448"/>
                    </a:lnTo>
                    <a:lnTo>
                      <a:pt x="5225" y="13445"/>
                    </a:lnTo>
                    <a:lnTo>
                      <a:pt x="5221" y="13444"/>
                    </a:lnTo>
                    <a:lnTo>
                      <a:pt x="5218" y="13444"/>
                    </a:lnTo>
                    <a:lnTo>
                      <a:pt x="5217" y="13445"/>
                    </a:lnTo>
                    <a:lnTo>
                      <a:pt x="5216" y="13446"/>
                    </a:lnTo>
                    <a:lnTo>
                      <a:pt x="5215" y="13450"/>
                    </a:lnTo>
                    <a:lnTo>
                      <a:pt x="5205" y="13475"/>
                    </a:lnTo>
                    <a:lnTo>
                      <a:pt x="5196" y="13498"/>
                    </a:lnTo>
                    <a:lnTo>
                      <a:pt x="5194" y="13503"/>
                    </a:lnTo>
                    <a:lnTo>
                      <a:pt x="5193" y="13509"/>
                    </a:lnTo>
                    <a:lnTo>
                      <a:pt x="5193" y="13515"/>
                    </a:lnTo>
                    <a:lnTo>
                      <a:pt x="5193" y="13519"/>
                    </a:lnTo>
                    <a:lnTo>
                      <a:pt x="5194" y="13525"/>
                    </a:lnTo>
                    <a:lnTo>
                      <a:pt x="5197" y="13533"/>
                    </a:lnTo>
                    <a:lnTo>
                      <a:pt x="5199" y="13539"/>
                    </a:lnTo>
                    <a:lnTo>
                      <a:pt x="5204" y="13545"/>
                    </a:lnTo>
                    <a:lnTo>
                      <a:pt x="5190" y="13548"/>
                    </a:lnTo>
                    <a:lnTo>
                      <a:pt x="5169" y="13554"/>
                    </a:lnTo>
                    <a:lnTo>
                      <a:pt x="5158" y="13558"/>
                    </a:lnTo>
                    <a:lnTo>
                      <a:pt x="5149" y="13563"/>
                    </a:lnTo>
                    <a:lnTo>
                      <a:pt x="5141" y="13566"/>
                    </a:lnTo>
                    <a:lnTo>
                      <a:pt x="5138" y="13570"/>
                    </a:lnTo>
                    <a:lnTo>
                      <a:pt x="5138" y="13589"/>
                    </a:lnTo>
                    <a:lnTo>
                      <a:pt x="5140" y="13613"/>
                    </a:lnTo>
                    <a:lnTo>
                      <a:pt x="5140" y="13619"/>
                    </a:lnTo>
                    <a:lnTo>
                      <a:pt x="5139" y="13624"/>
                    </a:lnTo>
                    <a:lnTo>
                      <a:pt x="5138" y="13628"/>
                    </a:lnTo>
                    <a:lnTo>
                      <a:pt x="5135" y="13630"/>
                    </a:lnTo>
                    <a:lnTo>
                      <a:pt x="5133" y="13633"/>
                    </a:lnTo>
                    <a:lnTo>
                      <a:pt x="5129" y="13633"/>
                    </a:lnTo>
                    <a:lnTo>
                      <a:pt x="5125" y="13631"/>
                    </a:lnTo>
                    <a:lnTo>
                      <a:pt x="5119" y="13629"/>
                    </a:lnTo>
                    <a:lnTo>
                      <a:pt x="5110" y="13625"/>
                    </a:lnTo>
                    <a:lnTo>
                      <a:pt x="5103" y="13624"/>
                    </a:lnTo>
                    <a:lnTo>
                      <a:pt x="5097" y="13625"/>
                    </a:lnTo>
                    <a:lnTo>
                      <a:pt x="5093" y="13627"/>
                    </a:lnTo>
                    <a:lnTo>
                      <a:pt x="5084" y="13634"/>
                    </a:lnTo>
                    <a:lnTo>
                      <a:pt x="5072" y="13640"/>
                    </a:lnTo>
                    <a:lnTo>
                      <a:pt x="5067" y="13641"/>
                    </a:lnTo>
                    <a:lnTo>
                      <a:pt x="5062" y="13641"/>
                    </a:lnTo>
                    <a:lnTo>
                      <a:pt x="5058" y="13640"/>
                    </a:lnTo>
                    <a:lnTo>
                      <a:pt x="5056" y="13640"/>
                    </a:lnTo>
                    <a:lnTo>
                      <a:pt x="5050" y="13637"/>
                    </a:lnTo>
                    <a:lnTo>
                      <a:pt x="5045" y="13635"/>
                    </a:lnTo>
                    <a:lnTo>
                      <a:pt x="5043" y="13634"/>
                    </a:lnTo>
                    <a:lnTo>
                      <a:pt x="5040" y="13634"/>
                    </a:lnTo>
                    <a:lnTo>
                      <a:pt x="5038" y="13635"/>
                    </a:lnTo>
                    <a:lnTo>
                      <a:pt x="5036" y="13636"/>
                    </a:lnTo>
                    <a:lnTo>
                      <a:pt x="5028" y="13643"/>
                    </a:lnTo>
                    <a:lnTo>
                      <a:pt x="5020" y="13655"/>
                    </a:lnTo>
                    <a:lnTo>
                      <a:pt x="5018" y="13672"/>
                    </a:lnTo>
                    <a:lnTo>
                      <a:pt x="5013" y="13701"/>
                    </a:lnTo>
                    <a:lnTo>
                      <a:pt x="5011" y="13708"/>
                    </a:lnTo>
                    <a:lnTo>
                      <a:pt x="5009" y="13713"/>
                    </a:lnTo>
                    <a:lnTo>
                      <a:pt x="5007" y="13717"/>
                    </a:lnTo>
                    <a:lnTo>
                      <a:pt x="5004" y="13719"/>
                    </a:lnTo>
                    <a:lnTo>
                      <a:pt x="5001" y="13719"/>
                    </a:lnTo>
                    <a:lnTo>
                      <a:pt x="4998" y="13716"/>
                    </a:lnTo>
                    <a:lnTo>
                      <a:pt x="4993" y="13711"/>
                    </a:lnTo>
                    <a:lnTo>
                      <a:pt x="4990" y="13701"/>
                    </a:lnTo>
                    <a:lnTo>
                      <a:pt x="4984" y="13688"/>
                    </a:lnTo>
                    <a:lnTo>
                      <a:pt x="4979" y="13679"/>
                    </a:lnTo>
                    <a:lnTo>
                      <a:pt x="4974" y="13672"/>
                    </a:lnTo>
                    <a:lnTo>
                      <a:pt x="4971" y="13669"/>
                    </a:lnTo>
                    <a:lnTo>
                      <a:pt x="4966" y="13667"/>
                    </a:lnTo>
                    <a:lnTo>
                      <a:pt x="4962" y="13669"/>
                    </a:lnTo>
                    <a:lnTo>
                      <a:pt x="4959" y="13671"/>
                    </a:lnTo>
                    <a:lnTo>
                      <a:pt x="4955" y="13676"/>
                    </a:lnTo>
                    <a:lnTo>
                      <a:pt x="4948" y="13687"/>
                    </a:lnTo>
                    <a:lnTo>
                      <a:pt x="4939" y="13701"/>
                    </a:lnTo>
                    <a:lnTo>
                      <a:pt x="4936" y="13708"/>
                    </a:lnTo>
                    <a:lnTo>
                      <a:pt x="4930" y="13716"/>
                    </a:lnTo>
                    <a:lnTo>
                      <a:pt x="4925" y="13722"/>
                    </a:lnTo>
                    <a:lnTo>
                      <a:pt x="4919" y="13726"/>
                    </a:lnTo>
                    <a:lnTo>
                      <a:pt x="4900" y="13743"/>
                    </a:lnTo>
                    <a:lnTo>
                      <a:pt x="4880" y="13764"/>
                    </a:lnTo>
                    <a:lnTo>
                      <a:pt x="4871" y="13773"/>
                    </a:lnTo>
                    <a:lnTo>
                      <a:pt x="4861" y="13782"/>
                    </a:lnTo>
                    <a:lnTo>
                      <a:pt x="4851" y="13789"/>
                    </a:lnTo>
                    <a:lnTo>
                      <a:pt x="4841" y="13795"/>
                    </a:lnTo>
                    <a:lnTo>
                      <a:pt x="4836" y="13796"/>
                    </a:lnTo>
                    <a:lnTo>
                      <a:pt x="4832" y="13799"/>
                    </a:lnTo>
                    <a:lnTo>
                      <a:pt x="4830" y="13801"/>
                    </a:lnTo>
                    <a:lnTo>
                      <a:pt x="4829" y="13805"/>
                    </a:lnTo>
                    <a:lnTo>
                      <a:pt x="4830" y="13807"/>
                    </a:lnTo>
                    <a:lnTo>
                      <a:pt x="4831" y="13809"/>
                    </a:lnTo>
                    <a:lnTo>
                      <a:pt x="4833" y="13813"/>
                    </a:lnTo>
                    <a:lnTo>
                      <a:pt x="4837" y="13815"/>
                    </a:lnTo>
                    <a:lnTo>
                      <a:pt x="4845" y="13820"/>
                    </a:lnTo>
                    <a:lnTo>
                      <a:pt x="4856" y="13823"/>
                    </a:lnTo>
                    <a:lnTo>
                      <a:pt x="4862" y="13823"/>
                    </a:lnTo>
                    <a:lnTo>
                      <a:pt x="4868" y="13823"/>
                    </a:lnTo>
                    <a:lnTo>
                      <a:pt x="4874" y="13821"/>
                    </a:lnTo>
                    <a:lnTo>
                      <a:pt x="4880" y="13820"/>
                    </a:lnTo>
                    <a:lnTo>
                      <a:pt x="4889" y="13818"/>
                    </a:lnTo>
                    <a:lnTo>
                      <a:pt x="4896" y="13817"/>
                    </a:lnTo>
                    <a:lnTo>
                      <a:pt x="4900" y="13818"/>
                    </a:lnTo>
                    <a:lnTo>
                      <a:pt x="4902" y="13819"/>
                    </a:lnTo>
                    <a:lnTo>
                      <a:pt x="4903" y="13823"/>
                    </a:lnTo>
                    <a:lnTo>
                      <a:pt x="4903" y="13827"/>
                    </a:lnTo>
                    <a:lnTo>
                      <a:pt x="4901" y="13832"/>
                    </a:lnTo>
                    <a:lnTo>
                      <a:pt x="4898" y="13837"/>
                    </a:lnTo>
                    <a:lnTo>
                      <a:pt x="4885" y="13860"/>
                    </a:lnTo>
                    <a:lnTo>
                      <a:pt x="4877" y="13872"/>
                    </a:lnTo>
                    <a:lnTo>
                      <a:pt x="4878" y="13884"/>
                    </a:lnTo>
                    <a:lnTo>
                      <a:pt x="4882" y="13895"/>
                    </a:lnTo>
                    <a:lnTo>
                      <a:pt x="4883" y="13900"/>
                    </a:lnTo>
                    <a:lnTo>
                      <a:pt x="4883" y="13906"/>
                    </a:lnTo>
                    <a:lnTo>
                      <a:pt x="4884" y="13911"/>
                    </a:lnTo>
                    <a:lnTo>
                      <a:pt x="4883" y="13917"/>
                    </a:lnTo>
                    <a:lnTo>
                      <a:pt x="4877" y="13931"/>
                    </a:lnTo>
                    <a:lnTo>
                      <a:pt x="4869" y="13945"/>
                    </a:lnTo>
                    <a:lnTo>
                      <a:pt x="4861" y="13959"/>
                    </a:lnTo>
                    <a:lnTo>
                      <a:pt x="4853" y="13972"/>
                    </a:lnTo>
                    <a:lnTo>
                      <a:pt x="4839" y="14000"/>
                    </a:lnTo>
                    <a:lnTo>
                      <a:pt x="4821" y="14037"/>
                    </a:lnTo>
                    <a:lnTo>
                      <a:pt x="4815" y="14045"/>
                    </a:lnTo>
                    <a:lnTo>
                      <a:pt x="4811" y="14054"/>
                    </a:lnTo>
                    <a:lnTo>
                      <a:pt x="4804" y="14060"/>
                    </a:lnTo>
                    <a:lnTo>
                      <a:pt x="4798" y="14065"/>
                    </a:lnTo>
                    <a:lnTo>
                      <a:pt x="4792" y="14067"/>
                    </a:lnTo>
                    <a:lnTo>
                      <a:pt x="4785" y="14068"/>
                    </a:lnTo>
                    <a:lnTo>
                      <a:pt x="4783" y="14068"/>
                    </a:lnTo>
                    <a:lnTo>
                      <a:pt x="4779" y="14067"/>
                    </a:lnTo>
                    <a:lnTo>
                      <a:pt x="4776" y="14065"/>
                    </a:lnTo>
                    <a:lnTo>
                      <a:pt x="4772" y="14062"/>
                    </a:lnTo>
                    <a:lnTo>
                      <a:pt x="4762" y="14053"/>
                    </a:lnTo>
                    <a:lnTo>
                      <a:pt x="4753" y="14047"/>
                    </a:lnTo>
                    <a:lnTo>
                      <a:pt x="4744" y="14043"/>
                    </a:lnTo>
                    <a:lnTo>
                      <a:pt x="4738" y="14042"/>
                    </a:lnTo>
                    <a:lnTo>
                      <a:pt x="4731" y="14042"/>
                    </a:lnTo>
                    <a:lnTo>
                      <a:pt x="4726" y="14045"/>
                    </a:lnTo>
                    <a:lnTo>
                      <a:pt x="4721" y="14049"/>
                    </a:lnTo>
                    <a:lnTo>
                      <a:pt x="4717" y="14055"/>
                    </a:lnTo>
                    <a:lnTo>
                      <a:pt x="4711" y="14069"/>
                    </a:lnTo>
                    <a:lnTo>
                      <a:pt x="4705" y="14087"/>
                    </a:lnTo>
                    <a:lnTo>
                      <a:pt x="4700" y="14105"/>
                    </a:lnTo>
                    <a:lnTo>
                      <a:pt x="4695" y="14122"/>
                    </a:lnTo>
                    <a:lnTo>
                      <a:pt x="4690" y="14121"/>
                    </a:lnTo>
                    <a:lnTo>
                      <a:pt x="4685" y="14118"/>
                    </a:lnTo>
                    <a:lnTo>
                      <a:pt x="4681" y="14111"/>
                    </a:lnTo>
                    <a:lnTo>
                      <a:pt x="4677" y="14105"/>
                    </a:lnTo>
                    <a:lnTo>
                      <a:pt x="4670" y="14091"/>
                    </a:lnTo>
                    <a:lnTo>
                      <a:pt x="4667" y="14079"/>
                    </a:lnTo>
                    <a:lnTo>
                      <a:pt x="4665" y="14079"/>
                    </a:lnTo>
                    <a:lnTo>
                      <a:pt x="4665" y="14078"/>
                    </a:lnTo>
                    <a:lnTo>
                      <a:pt x="4662" y="14079"/>
                    </a:lnTo>
                    <a:lnTo>
                      <a:pt x="4660" y="14080"/>
                    </a:lnTo>
                    <a:lnTo>
                      <a:pt x="4658" y="14083"/>
                    </a:lnTo>
                    <a:lnTo>
                      <a:pt x="4655" y="14086"/>
                    </a:lnTo>
                    <a:lnTo>
                      <a:pt x="4649" y="14096"/>
                    </a:lnTo>
                    <a:lnTo>
                      <a:pt x="4644" y="14105"/>
                    </a:lnTo>
                    <a:lnTo>
                      <a:pt x="4634" y="14127"/>
                    </a:lnTo>
                    <a:lnTo>
                      <a:pt x="4625" y="14143"/>
                    </a:lnTo>
                    <a:lnTo>
                      <a:pt x="4617" y="14152"/>
                    </a:lnTo>
                    <a:lnTo>
                      <a:pt x="4608" y="14161"/>
                    </a:lnTo>
                    <a:lnTo>
                      <a:pt x="4599" y="14169"/>
                    </a:lnTo>
                    <a:lnTo>
                      <a:pt x="4589" y="14176"/>
                    </a:lnTo>
                    <a:lnTo>
                      <a:pt x="4581" y="14185"/>
                    </a:lnTo>
                    <a:lnTo>
                      <a:pt x="4571" y="14193"/>
                    </a:lnTo>
                    <a:lnTo>
                      <a:pt x="4563" y="14202"/>
                    </a:lnTo>
                    <a:lnTo>
                      <a:pt x="4554" y="14211"/>
                    </a:lnTo>
                    <a:lnTo>
                      <a:pt x="4547" y="14220"/>
                    </a:lnTo>
                    <a:lnTo>
                      <a:pt x="4541" y="14223"/>
                    </a:lnTo>
                    <a:lnTo>
                      <a:pt x="4537" y="14225"/>
                    </a:lnTo>
                    <a:lnTo>
                      <a:pt x="4534" y="14226"/>
                    </a:lnTo>
                    <a:lnTo>
                      <a:pt x="4530" y="14226"/>
                    </a:lnTo>
                    <a:lnTo>
                      <a:pt x="4526" y="14225"/>
                    </a:lnTo>
                    <a:lnTo>
                      <a:pt x="4519" y="14222"/>
                    </a:lnTo>
                    <a:lnTo>
                      <a:pt x="4513" y="14217"/>
                    </a:lnTo>
                    <a:lnTo>
                      <a:pt x="4506" y="14211"/>
                    </a:lnTo>
                    <a:lnTo>
                      <a:pt x="4500" y="14204"/>
                    </a:lnTo>
                    <a:lnTo>
                      <a:pt x="4487" y="14189"/>
                    </a:lnTo>
                    <a:lnTo>
                      <a:pt x="4472" y="14173"/>
                    </a:lnTo>
                    <a:lnTo>
                      <a:pt x="4465" y="14167"/>
                    </a:lnTo>
                    <a:lnTo>
                      <a:pt x="4459" y="14162"/>
                    </a:lnTo>
                    <a:lnTo>
                      <a:pt x="4452" y="14158"/>
                    </a:lnTo>
                    <a:lnTo>
                      <a:pt x="4445" y="14157"/>
                    </a:lnTo>
                    <a:lnTo>
                      <a:pt x="4440" y="14164"/>
                    </a:lnTo>
                    <a:lnTo>
                      <a:pt x="4437" y="14172"/>
                    </a:lnTo>
                    <a:lnTo>
                      <a:pt x="4436" y="14179"/>
                    </a:lnTo>
                    <a:lnTo>
                      <a:pt x="4436" y="14186"/>
                    </a:lnTo>
                    <a:lnTo>
                      <a:pt x="4436" y="14199"/>
                    </a:lnTo>
                    <a:lnTo>
                      <a:pt x="4437" y="14213"/>
                    </a:lnTo>
                    <a:lnTo>
                      <a:pt x="4437" y="14219"/>
                    </a:lnTo>
                    <a:lnTo>
                      <a:pt x="4436" y="14225"/>
                    </a:lnTo>
                    <a:lnTo>
                      <a:pt x="4435" y="14231"/>
                    </a:lnTo>
                    <a:lnTo>
                      <a:pt x="4431" y="14235"/>
                    </a:lnTo>
                    <a:lnTo>
                      <a:pt x="4427" y="14240"/>
                    </a:lnTo>
                    <a:lnTo>
                      <a:pt x="4421" y="14245"/>
                    </a:lnTo>
                    <a:lnTo>
                      <a:pt x="4412" y="14249"/>
                    </a:lnTo>
                    <a:lnTo>
                      <a:pt x="4400" y="14252"/>
                    </a:lnTo>
                    <a:lnTo>
                      <a:pt x="4400" y="14260"/>
                    </a:lnTo>
                    <a:lnTo>
                      <a:pt x="4400" y="14267"/>
                    </a:lnTo>
                    <a:lnTo>
                      <a:pt x="4401" y="14273"/>
                    </a:lnTo>
                    <a:lnTo>
                      <a:pt x="4405" y="14279"/>
                    </a:lnTo>
                    <a:lnTo>
                      <a:pt x="4412" y="14290"/>
                    </a:lnTo>
                    <a:lnTo>
                      <a:pt x="4422" y="14299"/>
                    </a:lnTo>
                    <a:lnTo>
                      <a:pt x="4433" y="14306"/>
                    </a:lnTo>
                    <a:lnTo>
                      <a:pt x="4441" y="14315"/>
                    </a:lnTo>
                    <a:lnTo>
                      <a:pt x="4445" y="14318"/>
                    </a:lnTo>
                    <a:lnTo>
                      <a:pt x="4446" y="14321"/>
                    </a:lnTo>
                    <a:lnTo>
                      <a:pt x="4447" y="14325"/>
                    </a:lnTo>
                    <a:lnTo>
                      <a:pt x="4447" y="14328"/>
                    </a:lnTo>
                    <a:lnTo>
                      <a:pt x="4429" y="14333"/>
                    </a:lnTo>
                    <a:lnTo>
                      <a:pt x="4411" y="14338"/>
                    </a:lnTo>
                    <a:lnTo>
                      <a:pt x="4395" y="14343"/>
                    </a:lnTo>
                    <a:lnTo>
                      <a:pt x="4380" y="14344"/>
                    </a:lnTo>
                    <a:lnTo>
                      <a:pt x="4372" y="14344"/>
                    </a:lnTo>
                    <a:lnTo>
                      <a:pt x="4364" y="14344"/>
                    </a:lnTo>
                    <a:lnTo>
                      <a:pt x="4357" y="14343"/>
                    </a:lnTo>
                    <a:lnTo>
                      <a:pt x="4350" y="14340"/>
                    </a:lnTo>
                    <a:lnTo>
                      <a:pt x="4342" y="14337"/>
                    </a:lnTo>
                    <a:lnTo>
                      <a:pt x="4335" y="14332"/>
                    </a:lnTo>
                    <a:lnTo>
                      <a:pt x="4328" y="14326"/>
                    </a:lnTo>
                    <a:lnTo>
                      <a:pt x="4321" y="14318"/>
                    </a:lnTo>
                    <a:lnTo>
                      <a:pt x="4313" y="14312"/>
                    </a:lnTo>
                    <a:lnTo>
                      <a:pt x="4306" y="14309"/>
                    </a:lnTo>
                    <a:lnTo>
                      <a:pt x="4299" y="14306"/>
                    </a:lnTo>
                    <a:lnTo>
                      <a:pt x="4291" y="14308"/>
                    </a:lnTo>
                    <a:lnTo>
                      <a:pt x="4282" y="14309"/>
                    </a:lnTo>
                    <a:lnTo>
                      <a:pt x="4274" y="14312"/>
                    </a:lnTo>
                    <a:lnTo>
                      <a:pt x="4265" y="14316"/>
                    </a:lnTo>
                    <a:lnTo>
                      <a:pt x="4257" y="14322"/>
                    </a:lnTo>
                    <a:lnTo>
                      <a:pt x="4239" y="14333"/>
                    </a:lnTo>
                    <a:lnTo>
                      <a:pt x="4222" y="14345"/>
                    </a:lnTo>
                    <a:lnTo>
                      <a:pt x="4214" y="14351"/>
                    </a:lnTo>
                    <a:lnTo>
                      <a:pt x="4205" y="14356"/>
                    </a:lnTo>
                    <a:lnTo>
                      <a:pt x="4198" y="14359"/>
                    </a:lnTo>
                    <a:lnTo>
                      <a:pt x="4189" y="14362"/>
                    </a:lnTo>
                    <a:lnTo>
                      <a:pt x="4188" y="14369"/>
                    </a:lnTo>
                    <a:lnTo>
                      <a:pt x="4189" y="14375"/>
                    </a:lnTo>
                    <a:lnTo>
                      <a:pt x="4192" y="14379"/>
                    </a:lnTo>
                    <a:lnTo>
                      <a:pt x="4196" y="14383"/>
                    </a:lnTo>
                    <a:lnTo>
                      <a:pt x="4200" y="14386"/>
                    </a:lnTo>
                    <a:lnTo>
                      <a:pt x="4206" y="14388"/>
                    </a:lnTo>
                    <a:lnTo>
                      <a:pt x="4214" y="14389"/>
                    </a:lnTo>
                    <a:lnTo>
                      <a:pt x="4220" y="14391"/>
                    </a:lnTo>
                    <a:lnTo>
                      <a:pt x="4248" y="14393"/>
                    </a:lnTo>
                    <a:lnTo>
                      <a:pt x="4269" y="14394"/>
                    </a:lnTo>
                    <a:lnTo>
                      <a:pt x="4269" y="14408"/>
                    </a:lnTo>
                    <a:lnTo>
                      <a:pt x="4267" y="14420"/>
                    </a:lnTo>
                    <a:lnTo>
                      <a:pt x="4263" y="14427"/>
                    </a:lnTo>
                    <a:lnTo>
                      <a:pt x="4259" y="14433"/>
                    </a:lnTo>
                    <a:lnTo>
                      <a:pt x="4254" y="14436"/>
                    </a:lnTo>
                    <a:lnTo>
                      <a:pt x="4248" y="14439"/>
                    </a:lnTo>
                    <a:lnTo>
                      <a:pt x="4241" y="14439"/>
                    </a:lnTo>
                    <a:lnTo>
                      <a:pt x="4234" y="14439"/>
                    </a:lnTo>
                    <a:lnTo>
                      <a:pt x="4216" y="14435"/>
                    </a:lnTo>
                    <a:lnTo>
                      <a:pt x="4197" y="14432"/>
                    </a:lnTo>
                    <a:lnTo>
                      <a:pt x="4187" y="14429"/>
                    </a:lnTo>
                    <a:lnTo>
                      <a:pt x="4176" y="14429"/>
                    </a:lnTo>
                    <a:lnTo>
                      <a:pt x="4165" y="14429"/>
                    </a:lnTo>
                    <a:lnTo>
                      <a:pt x="4155" y="14432"/>
                    </a:lnTo>
                    <a:lnTo>
                      <a:pt x="4152" y="14439"/>
                    </a:lnTo>
                    <a:lnTo>
                      <a:pt x="4150" y="14444"/>
                    </a:lnTo>
                    <a:lnTo>
                      <a:pt x="4147" y="14448"/>
                    </a:lnTo>
                    <a:lnTo>
                      <a:pt x="4144" y="14452"/>
                    </a:lnTo>
                    <a:lnTo>
                      <a:pt x="4140" y="14454"/>
                    </a:lnTo>
                    <a:lnTo>
                      <a:pt x="4137" y="14457"/>
                    </a:lnTo>
                    <a:lnTo>
                      <a:pt x="4133" y="14458"/>
                    </a:lnTo>
                    <a:lnTo>
                      <a:pt x="4128" y="14458"/>
                    </a:lnTo>
                    <a:lnTo>
                      <a:pt x="4109" y="14456"/>
                    </a:lnTo>
                    <a:lnTo>
                      <a:pt x="4086" y="14453"/>
                    </a:lnTo>
                    <a:lnTo>
                      <a:pt x="4074" y="14453"/>
                    </a:lnTo>
                    <a:lnTo>
                      <a:pt x="4064" y="14454"/>
                    </a:lnTo>
                    <a:lnTo>
                      <a:pt x="4057" y="14457"/>
                    </a:lnTo>
                    <a:lnTo>
                      <a:pt x="4050" y="14459"/>
                    </a:lnTo>
                    <a:lnTo>
                      <a:pt x="4044" y="14464"/>
                    </a:lnTo>
                    <a:lnTo>
                      <a:pt x="4038" y="14470"/>
                    </a:lnTo>
                    <a:lnTo>
                      <a:pt x="4031" y="14479"/>
                    </a:lnTo>
                    <a:lnTo>
                      <a:pt x="4022" y="14488"/>
                    </a:lnTo>
                    <a:lnTo>
                      <a:pt x="4019" y="14492"/>
                    </a:lnTo>
                    <a:lnTo>
                      <a:pt x="4015" y="14498"/>
                    </a:lnTo>
                    <a:lnTo>
                      <a:pt x="4010" y="14506"/>
                    </a:lnTo>
                    <a:lnTo>
                      <a:pt x="4005" y="14516"/>
                    </a:lnTo>
                    <a:lnTo>
                      <a:pt x="3997" y="14536"/>
                    </a:lnTo>
                    <a:lnTo>
                      <a:pt x="3987" y="14550"/>
                    </a:lnTo>
                    <a:lnTo>
                      <a:pt x="3976" y="14560"/>
                    </a:lnTo>
                    <a:lnTo>
                      <a:pt x="3962" y="14574"/>
                    </a:lnTo>
                    <a:lnTo>
                      <a:pt x="3956" y="14581"/>
                    </a:lnTo>
                    <a:lnTo>
                      <a:pt x="3951" y="14588"/>
                    </a:lnTo>
                    <a:lnTo>
                      <a:pt x="3949" y="14594"/>
                    </a:lnTo>
                    <a:lnTo>
                      <a:pt x="3949" y="14600"/>
                    </a:lnTo>
                    <a:lnTo>
                      <a:pt x="3956" y="14600"/>
                    </a:lnTo>
                    <a:lnTo>
                      <a:pt x="3962" y="14598"/>
                    </a:lnTo>
                    <a:lnTo>
                      <a:pt x="3968" y="14596"/>
                    </a:lnTo>
                    <a:lnTo>
                      <a:pt x="3974" y="14593"/>
                    </a:lnTo>
                    <a:lnTo>
                      <a:pt x="3982" y="14587"/>
                    </a:lnTo>
                    <a:lnTo>
                      <a:pt x="3991" y="14578"/>
                    </a:lnTo>
                    <a:lnTo>
                      <a:pt x="3999" y="14569"/>
                    </a:lnTo>
                    <a:lnTo>
                      <a:pt x="4008" y="14560"/>
                    </a:lnTo>
                    <a:lnTo>
                      <a:pt x="4013" y="14557"/>
                    </a:lnTo>
                    <a:lnTo>
                      <a:pt x="4017" y="14554"/>
                    </a:lnTo>
                    <a:lnTo>
                      <a:pt x="4023" y="14551"/>
                    </a:lnTo>
                    <a:lnTo>
                      <a:pt x="4029" y="14550"/>
                    </a:lnTo>
                    <a:lnTo>
                      <a:pt x="4039" y="14547"/>
                    </a:lnTo>
                    <a:lnTo>
                      <a:pt x="4051" y="14547"/>
                    </a:lnTo>
                    <a:lnTo>
                      <a:pt x="4063" y="14547"/>
                    </a:lnTo>
                    <a:lnTo>
                      <a:pt x="4076" y="14548"/>
                    </a:lnTo>
                    <a:lnTo>
                      <a:pt x="4103" y="14553"/>
                    </a:lnTo>
                    <a:lnTo>
                      <a:pt x="4123" y="14559"/>
                    </a:lnTo>
                    <a:lnTo>
                      <a:pt x="4127" y="14562"/>
                    </a:lnTo>
                    <a:lnTo>
                      <a:pt x="4128" y="14564"/>
                    </a:lnTo>
                    <a:lnTo>
                      <a:pt x="4128" y="14568"/>
                    </a:lnTo>
                    <a:lnTo>
                      <a:pt x="4128" y="14571"/>
                    </a:lnTo>
                    <a:lnTo>
                      <a:pt x="4126" y="14581"/>
                    </a:lnTo>
                    <a:lnTo>
                      <a:pt x="4121" y="14592"/>
                    </a:lnTo>
                    <a:lnTo>
                      <a:pt x="4110" y="14612"/>
                    </a:lnTo>
                    <a:lnTo>
                      <a:pt x="4105" y="14625"/>
                    </a:lnTo>
                    <a:lnTo>
                      <a:pt x="4105" y="14631"/>
                    </a:lnTo>
                    <a:lnTo>
                      <a:pt x="4105" y="14637"/>
                    </a:lnTo>
                    <a:lnTo>
                      <a:pt x="4103" y="14642"/>
                    </a:lnTo>
                    <a:lnTo>
                      <a:pt x="4100" y="14648"/>
                    </a:lnTo>
                    <a:lnTo>
                      <a:pt x="4094" y="14658"/>
                    </a:lnTo>
                    <a:lnTo>
                      <a:pt x="4086" y="14667"/>
                    </a:lnTo>
                    <a:lnTo>
                      <a:pt x="4066" y="14687"/>
                    </a:lnTo>
                    <a:lnTo>
                      <a:pt x="4046" y="14706"/>
                    </a:lnTo>
                    <a:lnTo>
                      <a:pt x="4040" y="14714"/>
                    </a:lnTo>
                    <a:lnTo>
                      <a:pt x="4035" y="14724"/>
                    </a:lnTo>
                    <a:lnTo>
                      <a:pt x="4032" y="14734"/>
                    </a:lnTo>
                    <a:lnTo>
                      <a:pt x="4028" y="14743"/>
                    </a:lnTo>
                    <a:lnTo>
                      <a:pt x="4022" y="14763"/>
                    </a:lnTo>
                    <a:lnTo>
                      <a:pt x="4017" y="14781"/>
                    </a:lnTo>
                    <a:lnTo>
                      <a:pt x="4015" y="14787"/>
                    </a:lnTo>
                    <a:lnTo>
                      <a:pt x="4011" y="14793"/>
                    </a:lnTo>
                    <a:lnTo>
                      <a:pt x="4007" y="14796"/>
                    </a:lnTo>
                    <a:lnTo>
                      <a:pt x="4002" y="14797"/>
                    </a:lnTo>
                    <a:lnTo>
                      <a:pt x="3996" y="14796"/>
                    </a:lnTo>
                    <a:lnTo>
                      <a:pt x="3989" y="14793"/>
                    </a:lnTo>
                    <a:lnTo>
                      <a:pt x="3979" y="14785"/>
                    </a:lnTo>
                    <a:lnTo>
                      <a:pt x="3968" y="14775"/>
                    </a:lnTo>
                    <a:lnTo>
                      <a:pt x="3958" y="14760"/>
                    </a:lnTo>
                    <a:lnTo>
                      <a:pt x="3948" y="14741"/>
                    </a:lnTo>
                    <a:lnTo>
                      <a:pt x="3943" y="14734"/>
                    </a:lnTo>
                    <a:lnTo>
                      <a:pt x="3939" y="14730"/>
                    </a:lnTo>
                    <a:lnTo>
                      <a:pt x="3937" y="14730"/>
                    </a:lnTo>
                    <a:lnTo>
                      <a:pt x="3936" y="14732"/>
                    </a:lnTo>
                    <a:lnTo>
                      <a:pt x="3934" y="14736"/>
                    </a:lnTo>
                    <a:lnTo>
                      <a:pt x="3933" y="14741"/>
                    </a:lnTo>
                    <a:lnTo>
                      <a:pt x="3934" y="14765"/>
                    </a:lnTo>
                    <a:lnTo>
                      <a:pt x="3938" y="14793"/>
                    </a:lnTo>
                    <a:lnTo>
                      <a:pt x="3939" y="14806"/>
                    </a:lnTo>
                    <a:lnTo>
                      <a:pt x="3939" y="14818"/>
                    </a:lnTo>
                    <a:lnTo>
                      <a:pt x="3939" y="14824"/>
                    </a:lnTo>
                    <a:lnTo>
                      <a:pt x="3938" y="14829"/>
                    </a:lnTo>
                    <a:lnTo>
                      <a:pt x="3937" y="14834"/>
                    </a:lnTo>
                    <a:lnTo>
                      <a:pt x="3934" y="14837"/>
                    </a:lnTo>
                    <a:lnTo>
                      <a:pt x="3932" y="14841"/>
                    </a:lnTo>
                    <a:lnTo>
                      <a:pt x="3928" y="14843"/>
                    </a:lnTo>
                    <a:lnTo>
                      <a:pt x="3924" y="14844"/>
                    </a:lnTo>
                    <a:lnTo>
                      <a:pt x="3919" y="14844"/>
                    </a:lnTo>
                    <a:lnTo>
                      <a:pt x="3907" y="14843"/>
                    </a:lnTo>
                    <a:lnTo>
                      <a:pt x="3895" y="14840"/>
                    </a:lnTo>
                    <a:lnTo>
                      <a:pt x="3884" y="14835"/>
                    </a:lnTo>
                    <a:lnTo>
                      <a:pt x="3873" y="14828"/>
                    </a:lnTo>
                    <a:lnTo>
                      <a:pt x="3868" y="14824"/>
                    </a:lnTo>
                    <a:lnTo>
                      <a:pt x="3865" y="14820"/>
                    </a:lnTo>
                    <a:lnTo>
                      <a:pt x="3862" y="14817"/>
                    </a:lnTo>
                    <a:lnTo>
                      <a:pt x="3861" y="14813"/>
                    </a:lnTo>
                    <a:lnTo>
                      <a:pt x="3853" y="14820"/>
                    </a:lnTo>
                    <a:lnTo>
                      <a:pt x="3848" y="14828"/>
                    </a:lnTo>
                    <a:lnTo>
                      <a:pt x="3844" y="14835"/>
                    </a:lnTo>
                    <a:lnTo>
                      <a:pt x="3842" y="14842"/>
                    </a:lnTo>
                    <a:lnTo>
                      <a:pt x="3838" y="14848"/>
                    </a:lnTo>
                    <a:lnTo>
                      <a:pt x="3833" y="14854"/>
                    </a:lnTo>
                    <a:lnTo>
                      <a:pt x="3828" y="14856"/>
                    </a:lnTo>
                    <a:lnTo>
                      <a:pt x="3825" y="14859"/>
                    </a:lnTo>
                    <a:lnTo>
                      <a:pt x="3819" y="14861"/>
                    </a:lnTo>
                    <a:lnTo>
                      <a:pt x="3812" y="14864"/>
                    </a:lnTo>
                    <a:lnTo>
                      <a:pt x="3794" y="14866"/>
                    </a:lnTo>
                    <a:lnTo>
                      <a:pt x="3768" y="14870"/>
                    </a:lnTo>
                    <a:lnTo>
                      <a:pt x="3756" y="14872"/>
                    </a:lnTo>
                    <a:lnTo>
                      <a:pt x="3745" y="14873"/>
                    </a:lnTo>
                    <a:lnTo>
                      <a:pt x="3736" y="14876"/>
                    </a:lnTo>
                    <a:lnTo>
                      <a:pt x="3730" y="14879"/>
                    </a:lnTo>
                    <a:lnTo>
                      <a:pt x="3721" y="14884"/>
                    </a:lnTo>
                    <a:lnTo>
                      <a:pt x="3713" y="14889"/>
                    </a:lnTo>
                    <a:lnTo>
                      <a:pt x="3706" y="14893"/>
                    </a:lnTo>
                    <a:lnTo>
                      <a:pt x="3697" y="14895"/>
                    </a:lnTo>
                    <a:lnTo>
                      <a:pt x="3679" y="14900"/>
                    </a:lnTo>
                    <a:lnTo>
                      <a:pt x="3662" y="14905"/>
                    </a:lnTo>
                    <a:lnTo>
                      <a:pt x="3656" y="14907"/>
                    </a:lnTo>
                    <a:lnTo>
                      <a:pt x="3652" y="14909"/>
                    </a:lnTo>
                    <a:lnTo>
                      <a:pt x="3647" y="14913"/>
                    </a:lnTo>
                    <a:lnTo>
                      <a:pt x="3643" y="14917"/>
                    </a:lnTo>
                    <a:lnTo>
                      <a:pt x="3635" y="14926"/>
                    </a:lnTo>
                    <a:lnTo>
                      <a:pt x="3629" y="14936"/>
                    </a:lnTo>
                    <a:lnTo>
                      <a:pt x="3623" y="14943"/>
                    </a:lnTo>
                    <a:lnTo>
                      <a:pt x="3618" y="14948"/>
                    </a:lnTo>
                    <a:lnTo>
                      <a:pt x="3615" y="14948"/>
                    </a:lnTo>
                    <a:lnTo>
                      <a:pt x="3614" y="14948"/>
                    </a:lnTo>
                    <a:lnTo>
                      <a:pt x="3612" y="14945"/>
                    </a:lnTo>
                    <a:lnTo>
                      <a:pt x="3609" y="14941"/>
                    </a:lnTo>
                    <a:lnTo>
                      <a:pt x="3602" y="14919"/>
                    </a:lnTo>
                    <a:lnTo>
                      <a:pt x="3589" y="14889"/>
                    </a:lnTo>
                    <a:lnTo>
                      <a:pt x="3585" y="14883"/>
                    </a:lnTo>
                    <a:lnTo>
                      <a:pt x="3583" y="14877"/>
                    </a:lnTo>
                    <a:lnTo>
                      <a:pt x="3579" y="14873"/>
                    </a:lnTo>
                    <a:lnTo>
                      <a:pt x="3577" y="14872"/>
                    </a:lnTo>
                    <a:lnTo>
                      <a:pt x="3576" y="14873"/>
                    </a:lnTo>
                    <a:lnTo>
                      <a:pt x="3575" y="14877"/>
                    </a:lnTo>
                    <a:lnTo>
                      <a:pt x="3573" y="14883"/>
                    </a:lnTo>
                    <a:lnTo>
                      <a:pt x="3573" y="14893"/>
                    </a:lnTo>
                    <a:lnTo>
                      <a:pt x="3577" y="14909"/>
                    </a:lnTo>
                    <a:lnTo>
                      <a:pt x="3581" y="14926"/>
                    </a:lnTo>
                    <a:lnTo>
                      <a:pt x="3583" y="14936"/>
                    </a:lnTo>
                    <a:lnTo>
                      <a:pt x="3584" y="14944"/>
                    </a:lnTo>
                    <a:lnTo>
                      <a:pt x="3584" y="14953"/>
                    </a:lnTo>
                    <a:lnTo>
                      <a:pt x="3583" y="14961"/>
                    </a:lnTo>
                    <a:lnTo>
                      <a:pt x="3554" y="15061"/>
                    </a:lnTo>
                    <a:lnTo>
                      <a:pt x="3546" y="15069"/>
                    </a:lnTo>
                    <a:lnTo>
                      <a:pt x="3534" y="15079"/>
                    </a:lnTo>
                    <a:lnTo>
                      <a:pt x="3520" y="15090"/>
                    </a:lnTo>
                    <a:lnTo>
                      <a:pt x="3511" y="15098"/>
                    </a:lnTo>
                    <a:lnTo>
                      <a:pt x="3504" y="15103"/>
                    </a:lnTo>
                    <a:lnTo>
                      <a:pt x="3499" y="15106"/>
                    </a:lnTo>
                    <a:lnTo>
                      <a:pt x="3495" y="15107"/>
                    </a:lnTo>
                    <a:lnTo>
                      <a:pt x="3493" y="15106"/>
                    </a:lnTo>
                    <a:lnTo>
                      <a:pt x="3491" y="15103"/>
                    </a:lnTo>
                    <a:lnTo>
                      <a:pt x="3491" y="15098"/>
                    </a:lnTo>
                    <a:lnTo>
                      <a:pt x="3493" y="15092"/>
                    </a:lnTo>
                    <a:lnTo>
                      <a:pt x="3495" y="15084"/>
                    </a:lnTo>
                    <a:lnTo>
                      <a:pt x="3502" y="15066"/>
                    </a:lnTo>
                    <a:lnTo>
                      <a:pt x="3511" y="15049"/>
                    </a:lnTo>
                    <a:lnTo>
                      <a:pt x="3519" y="15032"/>
                    </a:lnTo>
                    <a:lnTo>
                      <a:pt x="3525" y="15015"/>
                    </a:lnTo>
                    <a:lnTo>
                      <a:pt x="3529" y="15001"/>
                    </a:lnTo>
                    <a:lnTo>
                      <a:pt x="3531" y="14988"/>
                    </a:lnTo>
                    <a:lnTo>
                      <a:pt x="3534" y="14974"/>
                    </a:lnTo>
                    <a:lnTo>
                      <a:pt x="3538" y="14960"/>
                    </a:lnTo>
                    <a:lnTo>
                      <a:pt x="3541" y="14953"/>
                    </a:lnTo>
                    <a:lnTo>
                      <a:pt x="3542" y="14947"/>
                    </a:lnTo>
                    <a:lnTo>
                      <a:pt x="3543" y="14942"/>
                    </a:lnTo>
                    <a:lnTo>
                      <a:pt x="3542" y="14937"/>
                    </a:lnTo>
                    <a:lnTo>
                      <a:pt x="3541" y="14935"/>
                    </a:lnTo>
                    <a:lnTo>
                      <a:pt x="3538" y="14931"/>
                    </a:lnTo>
                    <a:lnTo>
                      <a:pt x="3536" y="14930"/>
                    </a:lnTo>
                    <a:lnTo>
                      <a:pt x="3532" y="14927"/>
                    </a:lnTo>
                    <a:lnTo>
                      <a:pt x="3524" y="14926"/>
                    </a:lnTo>
                    <a:lnTo>
                      <a:pt x="3514" y="14925"/>
                    </a:lnTo>
                    <a:lnTo>
                      <a:pt x="3504" y="14926"/>
                    </a:lnTo>
                    <a:lnTo>
                      <a:pt x="3493" y="14926"/>
                    </a:lnTo>
                    <a:lnTo>
                      <a:pt x="3484" y="14925"/>
                    </a:lnTo>
                    <a:lnTo>
                      <a:pt x="3470" y="14923"/>
                    </a:lnTo>
                    <a:lnTo>
                      <a:pt x="3463" y="14921"/>
                    </a:lnTo>
                    <a:lnTo>
                      <a:pt x="3457" y="14921"/>
                    </a:lnTo>
                    <a:lnTo>
                      <a:pt x="3452" y="14923"/>
                    </a:lnTo>
                    <a:lnTo>
                      <a:pt x="3449" y="14924"/>
                    </a:lnTo>
                    <a:lnTo>
                      <a:pt x="3447" y="14925"/>
                    </a:lnTo>
                    <a:lnTo>
                      <a:pt x="3445" y="14930"/>
                    </a:lnTo>
                    <a:lnTo>
                      <a:pt x="3442" y="14935"/>
                    </a:lnTo>
                    <a:lnTo>
                      <a:pt x="3440" y="14941"/>
                    </a:lnTo>
                    <a:lnTo>
                      <a:pt x="3436" y="14948"/>
                    </a:lnTo>
                    <a:lnTo>
                      <a:pt x="3434" y="14954"/>
                    </a:lnTo>
                    <a:lnTo>
                      <a:pt x="3430" y="14959"/>
                    </a:lnTo>
                    <a:lnTo>
                      <a:pt x="3426" y="14964"/>
                    </a:lnTo>
                    <a:lnTo>
                      <a:pt x="3417" y="14968"/>
                    </a:lnTo>
                    <a:lnTo>
                      <a:pt x="3405" y="14973"/>
                    </a:lnTo>
                    <a:lnTo>
                      <a:pt x="3393" y="14974"/>
                    </a:lnTo>
                    <a:lnTo>
                      <a:pt x="3382" y="14976"/>
                    </a:lnTo>
                    <a:lnTo>
                      <a:pt x="3377" y="14979"/>
                    </a:lnTo>
                    <a:lnTo>
                      <a:pt x="3372" y="14982"/>
                    </a:lnTo>
                    <a:lnTo>
                      <a:pt x="3368" y="15002"/>
                    </a:lnTo>
                    <a:lnTo>
                      <a:pt x="3364" y="15018"/>
                    </a:lnTo>
                    <a:lnTo>
                      <a:pt x="3359" y="15025"/>
                    </a:lnTo>
                    <a:lnTo>
                      <a:pt x="3353" y="15031"/>
                    </a:lnTo>
                    <a:lnTo>
                      <a:pt x="3345" y="15037"/>
                    </a:lnTo>
                    <a:lnTo>
                      <a:pt x="3333" y="15042"/>
                    </a:lnTo>
                    <a:lnTo>
                      <a:pt x="3323" y="15047"/>
                    </a:lnTo>
                    <a:lnTo>
                      <a:pt x="3313" y="15053"/>
                    </a:lnTo>
                    <a:lnTo>
                      <a:pt x="3304" y="15060"/>
                    </a:lnTo>
                    <a:lnTo>
                      <a:pt x="3295" y="15067"/>
                    </a:lnTo>
                    <a:lnTo>
                      <a:pt x="3286" y="15073"/>
                    </a:lnTo>
                    <a:lnTo>
                      <a:pt x="3275" y="15077"/>
                    </a:lnTo>
                    <a:lnTo>
                      <a:pt x="3270" y="15078"/>
                    </a:lnTo>
                    <a:lnTo>
                      <a:pt x="3264" y="15078"/>
                    </a:lnTo>
                    <a:lnTo>
                      <a:pt x="3257" y="15077"/>
                    </a:lnTo>
                    <a:lnTo>
                      <a:pt x="3250" y="15075"/>
                    </a:lnTo>
                    <a:lnTo>
                      <a:pt x="3240" y="15072"/>
                    </a:lnTo>
                    <a:lnTo>
                      <a:pt x="3230" y="15066"/>
                    </a:lnTo>
                    <a:lnTo>
                      <a:pt x="3219" y="15061"/>
                    </a:lnTo>
                    <a:lnTo>
                      <a:pt x="3210" y="15060"/>
                    </a:lnTo>
                    <a:lnTo>
                      <a:pt x="3199" y="15089"/>
                    </a:lnTo>
                    <a:lnTo>
                      <a:pt x="3186" y="15122"/>
                    </a:lnTo>
                    <a:lnTo>
                      <a:pt x="3181" y="15139"/>
                    </a:lnTo>
                    <a:lnTo>
                      <a:pt x="3176" y="15156"/>
                    </a:lnTo>
                    <a:lnTo>
                      <a:pt x="3173" y="15173"/>
                    </a:lnTo>
                    <a:lnTo>
                      <a:pt x="3171" y="15187"/>
                    </a:lnTo>
                    <a:lnTo>
                      <a:pt x="3170" y="15189"/>
                    </a:lnTo>
                    <a:lnTo>
                      <a:pt x="3169" y="15190"/>
                    </a:lnTo>
                    <a:lnTo>
                      <a:pt x="3165" y="15191"/>
                    </a:lnTo>
                    <a:lnTo>
                      <a:pt x="3162" y="15190"/>
                    </a:lnTo>
                    <a:lnTo>
                      <a:pt x="3159" y="15189"/>
                    </a:lnTo>
                    <a:lnTo>
                      <a:pt x="3156" y="15186"/>
                    </a:lnTo>
                    <a:lnTo>
                      <a:pt x="3151" y="15181"/>
                    </a:lnTo>
                    <a:lnTo>
                      <a:pt x="3145" y="15175"/>
                    </a:lnTo>
                    <a:lnTo>
                      <a:pt x="3142" y="15164"/>
                    </a:lnTo>
                    <a:lnTo>
                      <a:pt x="3140" y="15154"/>
                    </a:lnTo>
                    <a:lnTo>
                      <a:pt x="3138" y="15143"/>
                    </a:lnTo>
                    <a:lnTo>
                      <a:pt x="3134" y="15133"/>
                    </a:lnTo>
                    <a:lnTo>
                      <a:pt x="3133" y="15126"/>
                    </a:lnTo>
                    <a:lnTo>
                      <a:pt x="3132" y="15118"/>
                    </a:lnTo>
                    <a:lnTo>
                      <a:pt x="3130" y="15114"/>
                    </a:lnTo>
                    <a:lnTo>
                      <a:pt x="3129" y="15110"/>
                    </a:lnTo>
                    <a:lnTo>
                      <a:pt x="3128" y="15108"/>
                    </a:lnTo>
                    <a:lnTo>
                      <a:pt x="3126" y="15107"/>
                    </a:lnTo>
                    <a:lnTo>
                      <a:pt x="3122" y="15109"/>
                    </a:lnTo>
                    <a:lnTo>
                      <a:pt x="3116" y="15113"/>
                    </a:lnTo>
                    <a:lnTo>
                      <a:pt x="3111" y="15118"/>
                    </a:lnTo>
                    <a:lnTo>
                      <a:pt x="3108" y="15121"/>
                    </a:lnTo>
                    <a:lnTo>
                      <a:pt x="3103" y="15125"/>
                    </a:lnTo>
                    <a:lnTo>
                      <a:pt x="3098" y="15128"/>
                    </a:lnTo>
                    <a:lnTo>
                      <a:pt x="3091" y="15131"/>
                    </a:lnTo>
                    <a:lnTo>
                      <a:pt x="3086" y="15132"/>
                    </a:lnTo>
                    <a:lnTo>
                      <a:pt x="3085" y="15133"/>
                    </a:lnTo>
                    <a:lnTo>
                      <a:pt x="3082" y="15134"/>
                    </a:lnTo>
                    <a:lnTo>
                      <a:pt x="3081" y="15134"/>
                    </a:lnTo>
                    <a:lnTo>
                      <a:pt x="3079" y="15145"/>
                    </a:lnTo>
                    <a:lnTo>
                      <a:pt x="3077" y="15155"/>
                    </a:lnTo>
                    <a:lnTo>
                      <a:pt x="3075" y="15164"/>
                    </a:lnTo>
                    <a:lnTo>
                      <a:pt x="3075" y="15175"/>
                    </a:lnTo>
                    <a:lnTo>
                      <a:pt x="3075" y="15184"/>
                    </a:lnTo>
                    <a:lnTo>
                      <a:pt x="3075" y="15193"/>
                    </a:lnTo>
                    <a:lnTo>
                      <a:pt x="3074" y="15198"/>
                    </a:lnTo>
                    <a:lnTo>
                      <a:pt x="3073" y="15201"/>
                    </a:lnTo>
                    <a:lnTo>
                      <a:pt x="3069" y="15203"/>
                    </a:lnTo>
                    <a:lnTo>
                      <a:pt x="3064" y="15204"/>
                    </a:lnTo>
                    <a:lnTo>
                      <a:pt x="3057" y="15203"/>
                    </a:lnTo>
                    <a:lnTo>
                      <a:pt x="3051" y="15203"/>
                    </a:lnTo>
                    <a:lnTo>
                      <a:pt x="3046" y="15201"/>
                    </a:lnTo>
                    <a:lnTo>
                      <a:pt x="3041" y="15199"/>
                    </a:lnTo>
                    <a:lnTo>
                      <a:pt x="3032" y="15192"/>
                    </a:lnTo>
                    <a:lnTo>
                      <a:pt x="3021" y="15184"/>
                    </a:lnTo>
                    <a:lnTo>
                      <a:pt x="3008" y="15169"/>
                    </a:lnTo>
                    <a:lnTo>
                      <a:pt x="2998" y="15155"/>
                    </a:lnTo>
                    <a:lnTo>
                      <a:pt x="2994" y="15155"/>
                    </a:lnTo>
                    <a:lnTo>
                      <a:pt x="2991" y="15162"/>
                    </a:lnTo>
                    <a:lnTo>
                      <a:pt x="2982" y="15174"/>
                    </a:lnTo>
                    <a:lnTo>
                      <a:pt x="2974" y="15185"/>
                    </a:lnTo>
                    <a:lnTo>
                      <a:pt x="2969" y="15192"/>
                    </a:lnTo>
                    <a:lnTo>
                      <a:pt x="2961" y="15202"/>
                    </a:lnTo>
                    <a:lnTo>
                      <a:pt x="2952" y="15211"/>
                    </a:lnTo>
                    <a:lnTo>
                      <a:pt x="2945" y="15221"/>
                    </a:lnTo>
                    <a:lnTo>
                      <a:pt x="2937" y="15231"/>
                    </a:lnTo>
                    <a:lnTo>
                      <a:pt x="2929" y="15239"/>
                    </a:lnTo>
                    <a:lnTo>
                      <a:pt x="2921" y="15245"/>
                    </a:lnTo>
                    <a:lnTo>
                      <a:pt x="2913" y="15251"/>
                    </a:lnTo>
                    <a:lnTo>
                      <a:pt x="2903" y="15256"/>
                    </a:lnTo>
                    <a:lnTo>
                      <a:pt x="2882" y="15263"/>
                    </a:lnTo>
                    <a:lnTo>
                      <a:pt x="2862" y="15270"/>
                    </a:lnTo>
                    <a:lnTo>
                      <a:pt x="2855" y="15273"/>
                    </a:lnTo>
                    <a:lnTo>
                      <a:pt x="2849" y="15274"/>
                    </a:lnTo>
                    <a:lnTo>
                      <a:pt x="2843" y="15274"/>
                    </a:lnTo>
                    <a:lnTo>
                      <a:pt x="2838" y="15274"/>
                    </a:lnTo>
                    <a:lnTo>
                      <a:pt x="2827" y="15272"/>
                    </a:lnTo>
                    <a:lnTo>
                      <a:pt x="2814" y="15269"/>
                    </a:lnTo>
                    <a:lnTo>
                      <a:pt x="2802" y="15269"/>
                    </a:lnTo>
                    <a:lnTo>
                      <a:pt x="2787" y="15268"/>
                    </a:lnTo>
                    <a:lnTo>
                      <a:pt x="2780" y="15269"/>
                    </a:lnTo>
                    <a:lnTo>
                      <a:pt x="2774" y="15269"/>
                    </a:lnTo>
                    <a:lnTo>
                      <a:pt x="2768" y="15270"/>
                    </a:lnTo>
                    <a:lnTo>
                      <a:pt x="2765" y="15273"/>
                    </a:lnTo>
                    <a:lnTo>
                      <a:pt x="2761" y="15272"/>
                    </a:lnTo>
                    <a:lnTo>
                      <a:pt x="2757" y="15270"/>
                    </a:lnTo>
                    <a:lnTo>
                      <a:pt x="2756" y="15262"/>
                    </a:lnTo>
                    <a:lnTo>
                      <a:pt x="2755" y="15255"/>
                    </a:lnTo>
                    <a:lnTo>
                      <a:pt x="2755" y="15246"/>
                    </a:lnTo>
                    <a:lnTo>
                      <a:pt x="2756" y="15239"/>
                    </a:lnTo>
                    <a:lnTo>
                      <a:pt x="2759" y="15223"/>
                    </a:lnTo>
                    <a:lnTo>
                      <a:pt x="2763" y="15205"/>
                    </a:lnTo>
                    <a:lnTo>
                      <a:pt x="2767" y="15192"/>
                    </a:lnTo>
                    <a:lnTo>
                      <a:pt x="2773" y="15179"/>
                    </a:lnTo>
                    <a:lnTo>
                      <a:pt x="2780" y="15167"/>
                    </a:lnTo>
                    <a:lnTo>
                      <a:pt x="2787" y="15155"/>
                    </a:lnTo>
                    <a:lnTo>
                      <a:pt x="2795" y="15143"/>
                    </a:lnTo>
                    <a:lnTo>
                      <a:pt x="2802" y="15131"/>
                    </a:lnTo>
                    <a:lnTo>
                      <a:pt x="2808" y="15118"/>
                    </a:lnTo>
                    <a:lnTo>
                      <a:pt x="2813" y="15106"/>
                    </a:lnTo>
                    <a:lnTo>
                      <a:pt x="2813" y="15101"/>
                    </a:lnTo>
                    <a:lnTo>
                      <a:pt x="2813" y="15097"/>
                    </a:lnTo>
                    <a:lnTo>
                      <a:pt x="2811" y="15092"/>
                    </a:lnTo>
                    <a:lnTo>
                      <a:pt x="2809" y="15090"/>
                    </a:lnTo>
                    <a:lnTo>
                      <a:pt x="2807" y="15085"/>
                    </a:lnTo>
                    <a:lnTo>
                      <a:pt x="2802" y="15083"/>
                    </a:lnTo>
                    <a:lnTo>
                      <a:pt x="2797" y="15080"/>
                    </a:lnTo>
                    <a:lnTo>
                      <a:pt x="2790" y="15079"/>
                    </a:lnTo>
                    <a:lnTo>
                      <a:pt x="2783" y="15079"/>
                    </a:lnTo>
                    <a:lnTo>
                      <a:pt x="2773" y="15080"/>
                    </a:lnTo>
                    <a:lnTo>
                      <a:pt x="2765" y="15081"/>
                    </a:lnTo>
                    <a:lnTo>
                      <a:pt x="2755" y="15084"/>
                    </a:lnTo>
                    <a:lnTo>
                      <a:pt x="2736" y="15090"/>
                    </a:lnTo>
                    <a:lnTo>
                      <a:pt x="2719" y="15098"/>
                    </a:lnTo>
                    <a:lnTo>
                      <a:pt x="2712" y="15102"/>
                    </a:lnTo>
                    <a:lnTo>
                      <a:pt x="2706" y="15106"/>
                    </a:lnTo>
                    <a:lnTo>
                      <a:pt x="2701" y="15110"/>
                    </a:lnTo>
                    <a:lnTo>
                      <a:pt x="2697" y="15114"/>
                    </a:lnTo>
                    <a:lnTo>
                      <a:pt x="2692" y="15122"/>
                    </a:lnTo>
                    <a:lnTo>
                      <a:pt x="2689" y="15132"/>
                    </a:lnTo>
                    <a:lnTo>
                      <a:pt x="2685" y="15142"/>
                    </a:lnTo>
                    <a:lnTo>
                      <a:pt x="2683" y="15151"/>
                    </a:lnTo>
                    <a:lnTo>
                      <a:pt x="2679" y="15172"/>
                    </a:lnTo>
                    <a:lnTo>
                      <a:pt x="2675" y="15192"/>
                    </a:lnTo>
                    <a:lnTo>
                      <a:pt x="2673" y="15213"/>
                    </a:lnTo>
                    <a:lnTo>
                      <a:pt x="2668" y="15232"/>
                    </a:lnTo>
                    <a:lnTo>
                      <a:pt x="2666" y="15240"/>
                    </a:lnTo>
                    <a:lnTo>
                      <a:pt x="2662" y="15249"/>
                    </a:lnTo>
                    <a:lnTo>
                      <a:pt x="2659" y="15256"/>
                    </a:lnTo>
                    <a:lnTo>
                      <a:pt x="2654" y="15262"/>
                    </a:lnTo>
                    <a:lnTo>
                      <a:pt x="2639" y="15280"/>
                    </a:lnTo>
                    <a:lnTo>
                      <a:pt x="2626" y="15299"/>
                    </a:lnTo>
                    <a:lnTo>
                      <a:pt x="2613" y="15319"/>
                    </a:lnTo>
                    <a:lnTo>
                      <a:pt x="2601" y="15338"/>
                    </a:lnTo>
                    <a:lnTo>
                      <a:pt x="2595" y="15346"/>
                    </a:lnTo>
                    <a:lnTo>
                      <a:pt x="2588" y="15352"/>
                    </a:lnTo>
                    <a:lnTo>
                      <a:pt x="2580" y="15356"/>
                    </a:lnTo>
                    <a:lnTo>
                      <a:pt x="2574" y="15358"/>
                    </a:lnTo>
                    <a:lnTo>
                      <a:pt x="2560" y="15362"/>
                    </a:lnTo>
                    <a:lnTo>
                      <a:pt x="2548" y="15363"/>
                    </a:lnTo>
                    <a:lnTo>
                      <a:pt x="2543" y="15364"/>
                    </a:lnTo>
                    <a:lnTo>
                      <a:pt x="2538" y="15367"/>
                    </a:lnTo>
                    <a:lnTo>
                      <a:pt x="2535" y="15369"/>
                    </a:lnTo>
                    <a:lnTo>
                      <a:pt x="2531" y="15374"/>
                    </a:lnTo>
                    <a:lnTo>
                      <a:pt x="2529" y="15380"/>
                    </a:lnTo>
                    <a:lnTo>
                      <a:pt x="2529" y="15387"/>
                    </a:lnTo>
                    <a:lnTo>
                      <a:pt x="2529" y="15398"/>
                    </a:lnTo>
                    <a:lnTo>
                      <a:pt x="2531" y="15411"/>
                    </a:lnTo>
                    <a:lnTo>
                      <a:pt x="2535" y="15426"/>
                    </a:lnTo>
                    <a:lnTo>
                      <a:pt x="2541" y="15450"/>
                    </a:lnTo>
                    <a:lnTo>
                      <a:pt x="2542" y="15456"/>
                    </a:lnTo>
                    <a:lnTo>
                      <a:pt x="2543" y="15461"/>
                    </a:lnTo>
                    <a:lnTo>
                      <a:pt x="2542" y="15465"/>
                    </a:lnTo>
                    <a:lnTo>
                      <a:pt x="2541" y="15470"/>
                    </a:lnTo>
                    <a:lnTo>
                      <a:pt x="2539" y="15473"/>
                    </a:lnTo>
                    <a:lnTo>
                      <a:pt x="2536" y="15474"/>
                    </a:lnTo>
                    <a:lnTo>
                      <a:pt x="2532" y="15474"/>
                    </a:lnTo>
                    <a:lnTo>
                      <a:pt x="2526" y="15473"/>
                    </a:lnTo>
                    <a:lnTo>
                      <a:pt x="2520" y="15468"/>
                    </a:lnTo>
                    <a:lnTo>
                      <a:pt x="2514" y="15462"/>
                    </a:lnTo>
                    <a:lnTo>
                      <a:pt x="2511" y="15453"/>
                    </a:lnTo>
                    <a:lnTo>
                      <a:pt x="2507" y="15446"/>
                    </a:lnTo>
                    <a:lnTo>
                      <a:pt x="2505" y="15438"/>
                    </a:lnTo>
                    <a:lnTo>
                      <a:pt x="2501" y="15432"/>
                    </a:lnTo>
                    <a:lnTo>
                      <a:pt x="2499" y="15427"/>
                    </a:lnTo>
                    <a:lnTo>
                      <a:pt x="2495" y="15426"/>
                    </a:lnTo>
                    <a:lnTo>
                      <a:pt x="2484" y="15438"/>
                    </a:lnTo>
                    <a:lnTo>
                      <a:pt x="2470" y="15450"/>
                    </a:lnTo>
                    <a:lnTo>
                      <a:pt x="2462" y="15456"/>
                    </a:lnTo>
                    <a:lnTo>
                      <a:pt x="2458" y="15463"/>
                    </a:lnTo>
                    <a:lnTo>
                      <a:pt x="2453" y="15471"/>
                    </a:lnTo>
                    <a:lnTo>
                      <a:pt x="2450" y="15479"/>
                    </a:lnTo>
                    <a:lnTo>
                      <a:pt x="2449" y="15494"/>
                    </a:lnTo>
                    <a:lnTo>
                      <a:pt x="2447" y="15503"/>
                    </a:lnTo>
                    <a:lnTo>
                      <a:pt x="2444" y="15506"/>
                    </a:lnTo>
                    <a:lnTo>
                      <a:pt x="2443" y="15507"/>
                    </a:lnTo>
                    <a:lnTo>
                      <a:pt x="2441" y="15507"/>
                    </a:lnTo>
                    <a:lnTo>
                      <a:pt x="2438" y="15507"/>
                    </a:lnTo>
                    <a:lnTo>
                      <a:pt x="2425" y="15501"/>
                    </a:lnTo>
                    <a:lnTo>
                      <a:pt x="2410" y="15494"/>
                    </a:lnTo>
                    <a:lnTo>
                      <a:pt x="2408" y="15493"/>
                    </a:lnTo>
                    <a:lnTo>
                      <a:pt x="2407" y="15492"/>
                    </a:lnTo>
                    <a:lnTo>
                      <a:pt x="2405" y="15492"/>
                    </a:lnTo>
                    <a:lnTo>
                      <a:pt x="2402" y="15492"/>
                    </a:lnTo>
                    <a:lnTo>
                      <a:pt x="2395" y="15494"/>
                    </a:lnTo>
                    <a:lnTo>
                      <a:pt x="2387" y="15497"/>
                    </a:lnTo>
                    <a:lnTo>
                      <a:pt x="2378" y="15499"/>
                    </a:lnTo>
                    <a:lnTo>
                      <a:pt x="2371" y="15503"/>
                    </a:lnTo>
                    <a:lnTo>
                      <a:pt x="2364" y="15504"/>
                    </a:lnTo>
                    <a:lnTo>
                      <a:pt x="2359" y="15503"/>
                    </a:lnTo>
                    <a:lnTo>
                      <a:pt x="2354" y="15500"/>
                    </a:lnTo>
                    <a:lnTo>
                      <a:pt x="2349" y="15495"/>
                    </a:lnTo>
                    <a:lnTo>
                      <a:pt x="2345" y="15491"/>
                    </a:lnTo>
                    <a:lnTo>
                      <a:pt x="2341" y="15485"/>
                    </a:lnTo>
                    <a:lnTo>
                      <a:pt x="2337" y="15477"/>
                    </a:lnTo>
                    <a:lnTo>
                      <a:pt x="2335" y="15471"/>
                    </a:lnTo>
                    <a:lnTo>
                      <a:pt x="2332" y="15465"/>
                    </a:lnTo>
                    <a:lnTo>
                      <a:pt x="2332" y="15459"/>
                    </a:lnTo>
                    <a:lnTo>
                      <a:pt x="2340" y="15457"/>
                    </a:lnTo>
                    <a:lnTo>
                      <a:pt x="2347" y="15456"/>
                    </a:lnTo>
                    <a:lnTo>
                      <a:pt x="2353" y="15456"/>
                    </a:lnTo>
                    <a:lnTo>
                      <a:pt x="2360" y="15457"/>
                    </a:lnTo>
                    <a:lnTo>
                      <a:pt x="2372" y="15459"/>
                    </a:lnTo>
                    <a:lnTo>
                      <a:pt x="2388" y="15462"/>
                    </a:lnTo>
                    <a:lnTo>
                      <a:pt x="2388" y="15461"/>
                    </a:lnTo>
                    <a:lnTo>
                      <a:pt x="2388" y="15453"/>
                    </a:lnTo>
                    <a:lnTo>
                      <a:pt x="2385" y="15449"/>
                    </a:lnTo>
                    <a:lnTo>
                      <a:pt x="2383" y="15444"/>
                    </a:lnTo>
                    <a:lnTo>
                      <a:pt x="2379" y="15438"/>
                    </a:lnTo>
                    <a:lnTo>
                      <a:pt x="2375" y="15435"/>
                    </a:lnTo>
                    <a:lnTo>
                      <a:pt x="2369" y="15432"/>
                    </a:lnTo>
                    <a:lnTo>
                      <a:pt x="2363" y="15424"/>
                    </a:lnTo>
                    <a:lnTo>
                      <a:pt x="2355" y="15417"/>
                    </a:lnTo>
                    <a:lnTo>
                      <a:pt x="2340" y="15398"/>
                    </a:lnTo>
                    <a:lnTo>
                      <a:pt x="2323" y="15379"/>
                    </a:lnTo>
                    <a:lnTo>
                      <a:pt x="2307" y="15359"/>
                    </a:lnTo>
                    <a:lnTo>
                      <a:pt x="2294" y="15346"/>
                    </a:lnTo>
                    <a:lnTo>
                      <a:pt x="2288" y="15343"/>
                    </a:lnTo>
                    <a:lnTo>
                      <a:pt x="2283" y="15340"/>
                    </a:lnTo>
                    <a:lnTo>
                      <a:pt x="2282" y="15340"/>
                    </a:lnTo>
                    <a:lnTo>
                      <a:pt x="2281" y="15341"/>
                    </a:lnTo>
                    <a:lnTo>
                      <a:pt x="2278" y="15344"/>
                    </a:lnTo>
                    <a:lnTo>
                      <a:pt x="2278" y="15346"/>
                    </a:lnTo>
                    <a:lnTo>
                      <a:pt x="2276" y="15347"/>
                    </a:lnTo>
                    <a:lnTo>
                      <a:pt x="2276" y="15350"/>
                    </a:lnTo>
                    <a:lnTo>
                      <a:pt x="2270" y="15355"/>
                    </a:lnTo>
                    <a:lnTo>
                      <a:pt x="2268" y="15359"/>
                    </a:lnTo>
                    <a:lnTo>
                      <a:pt x="2265" y="15367"/>
                    </a:lnTo>
                    <a:lnTo>
                      <a:pt x="2265" y="15375"/>
                    </a:lnTo>
                    <a:lnTo>
                      <a:pt x="2265" y="15382"/>
                    </a:lnTo>
                    <a:lnTo>
                      <a:pt x="2268" y="15392"/>
                    </a:lnTo>
                    <a:lnTo>
                      <a:pt x="2270" y="15402"/>
                    </a:lnTo>
                    <a:lnTo>
                      <a:pt x="2272" y="15411"/>
                    </a:lnTo>
                    <a:lnTo>
                      <a:pt x="2280" y="15430"/>
                    </a:lnTo>
                    <a:lnTo>
                      <a:pt x="2287" y="15449"/>
                    </a:lnTo>
                    <a:lnTo>
                      <a:pt x="2290" y="15457"/>
                    </a:lnTo>
                    <a:lnTo>
                      <a:pt x="2293" y="15465"/>
                    </a:lnTo>
                    <a:lnTo>
                      <a:pt x="2294" y="15473"/>
                    </a:lnTo>
                    <a:lnTo>
                      <a:pt x="2295" y="15479"/>
                    </a:lnTo>
                    <a:lnTo>
                      <a:pt x="2294" y="15499"/>
                    </a:lnTo>
                    <a:lnTo>
                      <a:pt x="2293" y="15515"/>
                    </a:lnTo>
                    <a:lnTo>
                      <a:pt x="2290" y="15527"/>
                    </a:lnTo>
                    <a:lnTo>
                      <a:pt x="2288" y="15535"/>
                    </a:lnTo>
                    <a:lnTo>
                      <a:pt x="2283" y="15541"/>
                    </a:lnTo>
                    <a:lnTo>
                      <a:pt x="2280" y="15544"/>
                    </a:lnTo>
                    <a:lnTo>
                      <a:pt x="2275" y="15545"/>
                    </a:lnTo>
                    <a:lnTo>
                      <a:pt x="2270" y="15545"/>
                    </a:lnTo>
                    <a:lnTo>
                      <a:pt x="2259" y="15544"/>
                    </a:lnTo>
                    <a:lnTo>
                      <a:pt x="2248" y="15542"/>
                    </a:lnTo>
                    <a:lnTo>
                      <a:pt x="2242" y="15545"/>
                    </a:lnTo>
                    <a:lnTo>
                      <a:pt x="2237" y="15548"/>
                    </a:lnTo>
                    <a:lnTo>
                      <a:pt x="2233" y="15554"/>
                    </a:lnTo>
                    <a:lnTo>
                      <a:pt x="2229" y="15564"/>
                    </a:lnTo>
                    <a:lnTo>
                      <a:pt x="2222" y="15565"/>
                    </a:lnTo>
                    <a:lnTo>
                      <a:pt x="2216" y="15568"/>
                    </a:lnTo>
                    <a:lnTo>
                      <a:pt x="2211" y="15569"/>
                    </a:lnTo>
                    <a:lnTo>
                      <a:pt x="2207" y="15571"/>
                    </a:lnTo>
                    <a:lnTo>
                      <a:pt x="2201" y="15577"/>
                    </a:lnTo>
                    <a:lnTo>
                      <a:pt x="2198" y="15581"/>
                    </a:lnTo>
                    <a:lnTo>
                      <a:pt x="2197" y="15582"/>
                    </a:lnTo>
                    <a:lnTo>
                      <a:pt x="2194" y="15582"/>
                    </a:lnTo>
                    <a:lnTo>
                      <a:pt x="2190" y="15582"/>
                    </a:lnTo>
                    <a:lnTo>
                      <a:pt x="2187" y="15581"/>
                    </a:lnTo>
                    <a:lnTo>
                      <a:pt x="2177" y="15576"/>
                    </a:lnTo>
                    <a:lnTo>
                      <a:pt x="2160" y="15565"/>
                    </a:lnTo>
                    <a:lnTo>
                      <a:pt x="2157" y="15562"/>
                    </a:lnTo>
                    <a:lnTo>
                      <a:pt x="2153" y="15558"/>
                    </a:lnTo>
                    <a:lnTo>
                      <a:pt x="2151" y="15552"/>
                    </a:lnTo>
                    <a:lnTo>
                      <a:pt x="2147" y="15546"/>
                    </a:lnTo>
                    <a:lnTo>
                      <a:pt x="2141" y="15533"/>
                    </a:lnTo>
                    <a:lnTo>
                      <a:pt x="2135" y="15518"/>
                    </a:lnTo>
                    <a:lnTo>
                      <a:pt x="2130" y="15504"/>
                    </a:lnTo>
                    <a:lnTo>
                      <a:pt x="2125" y="15492"/>
                    </a:lnTo>
                    <a:lnTo>
                      <a:pt x="2121" y="15482"/>
                    </a:lnTo>
                    <a:lnTo>
                      <a:pt x="2118" y="15479"/>
                    </a:lnTo>
                    <a:lnTo>
                      <a:pt x="2117" y="15477"/>
                    </a:lnTo>
                    <a:lnTo>
                      <a:pt x="2117" y="15475"/>
                    </a:lnTo>
                    <a:lnTo>
                      <a:pt x="2103" y="15468"/>
                    </a:lnTo>
                    <a:lnTo>
                      <a:pt x="2091" y="15459"/>
                    </a:lnTo>
                    <a:lnTo>
                      <a:pt x="2076" y="15456"/>
                    </a:lnTo>
                    <a:lnTo>
                      <a:pt x="2062" y="15453"/>
                    </a:lnTo>
                    <a:lnTo>
                      <a:pt x="2056" y="15453"/>
                    </a:lnTo>
                    <a:lnTo>
                      <a:pt x="2050" y="15455"/>
                    </a:lnTo>
                    <a:lnTo>
                      <a:pt x="2044" y="15457"/>
                    </a:lnTo>
                    <a:lnTo>
                      <a:pt x="2038" y="15463"/>
                    </a:lnTo>
                    <a:lnTo>
                      <a:pt x="2035" y="15468"/>
                    </a:lnTo>
                    <a:lnTo>
                      <a:pt x="2034" y="15475"/>
                    </a:lnTo>
                    <a:lnTo>
                      <a:pt x="2032" y="15483"/>
                    </a:lnTo>
                    <a:lnTo>
                      <a:pt x="2032" y="15493"/>
                    </a:lnTo>
                    <a:lnTo>
                      <a:pt x="2032" y="15503"/>
                    </a:lnTo>
                    <a:lnTo>
                      <a:pt x="2033" y="15511"/>
                    </a:lnTo>
                    <a:lnTo>
                      <a:pt x="2033" y="15515"/>
                    </a:lnTo>
                    <a:lnTo>
                      <a:pt x="2034" y="15517"/>
                    </a:lnTo>
                    <a:lnTo>
                      <a:pt x="2036" y="15520"/>
                    </a:lnTo>
                    <a:lnTo>
                      <a:pt x="2038" y="15521"/>
                    </a:lnTo>
                    <a:lnTo>
                      <a:pt x="2040" y="15526"/>
                    </a:lnTo>
                    <a:lnTo>
                      <a:pt x="2042" y="15529"/>
                    </a:lnTo>
                    <a:lnTo>
                      <a:pt x="2052" y="15535"/>
                    </a:lnTo>
                    <a:lnTo>
                      <a:pt x="2063" y="15540"/>
                    </a:lnTo>
                    <a:lnTo>
                      <a:pt x="2067" y="15545"/>
                    </a:lnTo>
                    <a:lnTo>
                      <a:pt x="2074" y="15550"/>
                    </a:lnTo>
                    <a:lnTo>
                      <a:pt x="2081" y="15553"/>
                    </a:lnTo>
                    <a:lnTo>
                      <a:pt x="2088" y="15556"/>
                    </a:lnTo>
                    <a:lnTo>
                      <a:pt x="2089" y="15563"/>
                    </a:lnTo>
                    <a:lnTo>
                      <a:pt x="2089" y="15570"/>
                    </a:lnTo>
                    <a:lnTo>
                      <a:pt x="2089" y="15577"/>
                    </a:lnTo>
                    <a:lnTo>
                      <a:pt x="2088" y="15584"/>
                    </a:lnTo>
                    <a:lnTo>
                      <a:pt x="2087" y="15591"/>
                    </a:lnTo>
                    <a:lnTo>
                      <a:pt x="2083" y="15597"/>
                    </a:lnTo>
                    <a:lnTo>
                      <a:pt x="2081" y="15604"/>
                    </a:lnTo>
                    <a:lnTo>
                      <a:pt x="2076" y="15610"/>
                    </a:lnTo>
                    <a:lnTo>
                      <a:pt x="2068" y="15621"/>
                    </a:lnTo>
                    <a:lnTo>
                      <a:pt x="2057" y="15633"/>
                    </a:lnTo>
                    <a:lnTo>
                      <a:pt x="2045" y="15643"/>
                    </a:lnTo>
                    <a:lnTo>
                      <a:pt x="2032" y="15654"/>
                    </a:lnTo>
                    <a:lnTo>
                      <a:pt x="2018" y="15665"/>
                    </a:lnTo>
                    <a:lnTo>
                      <a:pt x="2005" y="15677"/>
                    </a:lnTo>
                    <a:lnTo>
                      <a:pt x="1993" y="15689"/>
                    </a:lnTo>
                    <a:lnTo>
                      <a:pt x="1982" y="15701"/>
                    </a:lnTo>
                    <a:lnTo>
                      <a:pt x="1973" y="15714"/>
                    </a:lnTo>
                    <a:lnTo>
                      <a:pt x="1965" y="15729"/>
                    </a:lnTo>
                    <a:lnTo>
                      <a:pt x="1963" y="15736"/>
                    </a:lnTo>
                    <a:lnTo>
                      <a:pt x="1961" y="15745"/>
                    </a:lnTo>
                    <a:lnTo>
                      <a:pt x="1959" y="15753"/>
                    </a:lnTo>
                    <a:lnTo>
                      <a:pt x="1959" y="15761"/>
                    </a:lnTo>
                    <a:lnTo>
                      <a:pt x="1958" y="15769"/>
                    </a:lnTo>
                    <a:lnTo>
                      <a:pt x="1957" y="15776"/>
                    </a:lnTo>
                    <a:lnTo>
                      <a:pt x="1953" y="15782"/>
                    </a:lnTo>
                    <a:lnTo>
                      <a:pt x="1949" y="15788"/>
                    </a:lnTo>
                    <a:lnTo>
                      <a:pt x="1943" y="15793"/>
                    </a:lnTo>
                    <a:lnTo>
                      <a:pt x="1935" y="15796"/>
                    </a:lnTo>
                    <a:lnTo>
                      <a:pt x="1927" y="15800"/>
                    </a:lnTo>
                    <a:lnTo>
                      <a:pt x="1918" y="15804"/>
                    </a:lnTo>
                    <a:lnTo>
                      <a:pt x="1898" y="15808"/>
                    </a:lnTo>
                    <a:lnTo>
                      <a:pt x="1875" y="15812"/>
                    </a:lnTo>
                    <a:lnTo>
                      <a:pt x="1850" y="15814"/>
                    </a:lnTo>
                    <a:lnTo>
                      <a:pt x="1823" y="15814"/>
                    </a:lnTo>
                    <a:lnTo>
                      <a:pt x="1768" y="15816"/>
                    </a:lnTo>
                    <a:lnTo>
                      <a:pt x="1716" y="15816"/>
                    </a:lnTo>
                    <a:lnTo>
                      <a:pt x="1692" y="15816"/>
                    </a:lnTo>
                    <a:lnTo>
                      <a:pt x="1672" y="15818"/>
                    </a:lnTo>
                    <a:lnTo>
                      <a:pt x="1654" y="15820"/>
                    </a:lnTo>
                    <a:lnTo>
                      <a:pt x="1640" y="15825"/>
                    </a:lnTo>
                    <a:lnTo>
                      <a:pt x="1626" y="15831"/>
                    </a:lnTo>
                    <a:lnTo>
                      <a:pt x="1614" y="15840"/>
                    </a:lnTo>
                    <a:lnTo>
                      <a:pt x="1603" y="15848"/>
                    </a:lnTo>
                    <a:lnTo>
                      <a:pt x="1594" y="15856"/>
                    </a:lnTo>
                    <a:lnTo>
                      <a:pt x="1577" y="15877"/>
                    </a:lnTo>
                    <a:lnTo>
                      <a:pt x="1561" y="15897"/>
                    </a:lnTo>
                    <a:lnTo>
                      <a:pt x="1545" y="15918"/>
                    </a:lnTo>
                    <a:lnTo>
                      <a:pt x="1527" y="15937"/>
                    </a:lnTo>
                    <a:lnTo>
                      <a:pt x="1518" y="15947"/>
                    </a:lnTo>
                    <a:lnTo>
                      <a:pt x="1508" y="15955"/>
                    </a:lnTo>
                    <a:lnTo>
                      <a:pt x="1496" y="15962"/>
                    </a:lnTo>
                    <a:lnTo>
                      <a:pt x="1483" y="15970"/>
                    </a:lnTo>
                    <a:lnTo>
                      <a:pt x="1471" y="15972"/>
                    </a:lnTo>
                    <a:lnTo>
                      <a:pt x="1454" y="15974"/>
                    </a:lnTo>
                    <a:lnTo>
                      <a:pt x="1433" y="15976"/>
                    </a:lnTo>
                    <a:lnTo>
                      <a:pt x="1411" y="15976"/>
                    </a:lnTo>
                    <a:lnTo>
                      <a:pt x="1390" y="15974"/>
                    </a:lnTo>
                    <a:lnTo>
                      <a:pt x="1371" y="15971"/>
                    </a:lnTo>
                    <a:lnTo>
                      <a:pt x="1364" y="15968"/>
                    </a:lnTo>
                    <a:lnTo>
                      <a:pt x="1358" y="15965"/>
                    </a:lnTo>
                    <a:lnTo>
                      <a:pt x="1353" y="15961"/>
                    </a:lnTo>
                    <a:lnTo>
                      <a:pt x="1350" y="15958"/>
                    </a:lnTo>
                    <a:lnTo>
                      <a:pt x="1316" y="15853"/>
                    </a:lnTo>
                    <a:lnTo>
                      <a:pt x="1340" y="15840"/>
                    </a:lnTo>
                    <a:lnTo>
                      <a:pt x="1366" y="15824"/>
                    </a:lnTo>
                    <a:lnTo>
                      <a:pt x="1393" y="15807"/>
                    </a:lnTo>
                    <a:lnTo>
                      <a:pt x="1415" y="15791"/>
                    </a:lnTo>
                    <a:lnTo>
                      <a:pt x="1421" y="15787"/>
                    </a:lnTo>
                    <a:lnTo>
                      <a:pt x="1426" y="15781"/>
                    </a:lnTo>
                    <a:lnTo>
                      <a:pt x="1431" y="15773"/>
                    </a:lnTo>
                    <a:lnTo>
                      <a:pt x="1436" y="15765"/>
                    </a:lnTo>
                    <a:lnTo>
                      <a:pt x="1446" y="15747"/>
                    </a:lnTo>
                    <a:lnTo>
                      <a:pt x="1453" y="15726"/>
                    </a:lnTo>
                    <a:lnTo>
                      <a:pt x="1460" y="15705"/>
                    </a:lnTo>
                    <a:lnTo>
                      <a:pt x="1467" y="15686"/>
                    </a:lnTo>
                    <a:lnTo>
                      <a:pt x="1474" y="15666"/>
                    </a:lnTo>
                    <a:lnTo>
                      <a:pt x="1483" y="15651"/>
                    </a:lnTo>
                    <a:lnTo>
                      <a:pt x="1490" y="15636"/>
                    </a:lnTo>
                    <a:lnTo>
                      <a:pt x="1500" y="15615"/>
                    </a:lnTo>
                    <a:lnTo>
                      <a:pt x="1506" y="15604"/>
                    </a:lnTo>
                    <a:lnTo>
                      <a:pt x="1511" y="15597"/>
                    </a:lnTo>
                    <a:lnTo>
                      <a:pt x="1513" y="15594"/>
                    </a:lnTo>
                    <a:lnTo>
                      <a:pt x="1515" y="15592"/>
                    </a:lnTo>
                    <a:lnTo>
                      <a:pt x="1518" y="15592"/>
                    </a:lnTo>
                    <a:lnTo>
                      <a:pt x="1519" y="15593"/>
                    </a:lnTo>
                    <a:lnTo>
                      <a:pt x="1527" y="15594"/>
                    </a:lnTo>
                    <a:lnTo>
                      <a:pt x="1536" y="15598"/>
                    </a:lnTo>
                    <a:lnTo>
                      <a:pt x="1543" y="15603"/>
                    </a:lnTo>
                    <a:lnTo>
                      <a:pt x="1551" y="15609"/>
                    </a:lnTo>
                    <a:lnTo>
                      <a:pt x="1560" y="15613"/>
                    </a:lnTo>
                    <a:lnTo>
                      <a:pt x="1568" y="15618"/>
                    </a:lnTo>
                    <a:lnTo>
                      <a:pt x="1579" y="15622"/>
                    </a:lnTo>
                    <a:lnTo>
                      <a:pt x="1591" y="15623"/>
                    </a:lnTo>
                    <a:lnTo>
                      <a:pt x="1604" y="15622"/>
                    </a:lnTo>
                    <a:lnTo>
                      <a:pt x="1614" y="15619"/>
                    </a:lnTo>
                    <a:lnTo>
                      <a:pt x="1622" y="15615"/>
                    </a:lnTo>
                    <a:lnTo>
                      <a:pt x="1628" y="15609"/>
                    </a:lnTo>
                    <a:lnTo>
                      <a:pt x="1640" y="15594"/>
                    </a:lnTo>
                    <a:lnTo>
                      <a:pt x="1653" y="15576"/>
                    </a:lnTo>
                    <a:lnTo>
                      <a:pt x="1659" y="15571"/>
                    </a:lnTo>
                    <a:lnTo>
                      <a:pt x="1663" y="15568"/>
                    </a:lnTo>
                    <a:lnTo>
                      <a:pt x="1669" y="15564"/>
                    </a:lnTo>
                    <a:lnTo>
                      <a:pt x="1675" y="15563"/>
                    </a:lnTo>
                    <a:lnTo>
                      <a:pt x="1687" y="15559"/>
                    </a:lnTo>
                    <a:lnTo>
                      <a:pt x="1702" y="15556"/>
                    </a:lnTo>
                    <a:lnTo>
                      <a:pt x="1737" y="15540"/>
                    </a:lnTo>
                    <a:lnTo>
                      <a:pt x="1773" y="15527"/>
                    </a:lnTo>
                    <a:lnTo>
                      <a:pt x="1791" y="15522"/>
                    </a:lnTo>
                    <a:lnTo>
                      <a:pt x="1808" y="15518"/>
                    </a:lnTo>
                    <a:lnTo>
                      <a:pt x="1826" y="15516"/>
                    </a:lnTo>
                    <a:lnTo>
                      <a:pt x="1843" y="15515"/>
                    </a:lnTo>
                    <a:lnTo>
                      <a:pt x="1858" y="15516"/>
                    </a:lnTo>
                    <a:lnTo>
                      <a:pt x="1874" y="15521"/>
                    </a:lnTo>
                    <a:lnTo>
                      <a:pt x="1882" y="15523"/>
                    </a:lnTo>
                    <a:lnTo>
                      <a:pt x="1890" y="15527"/>
                    </a:lnTo>
                    <a:lnTo>
                      <a:pt x="1896" y="15530"/>
                    </a:lnTo>
                    <a:lnTo>
                      <a:pt x="1903" y="15535"/>
                    </a:lnTo>
                    <a:lnTo>
                      <a:pt x="1909" y="15541"/>
                    </a:lnTo>
                    <a:lnTo>
                      <a:pt x="1915" y="15547"/>
                    </a:lnTo>
                    <a:lnTo>
                      <a:pt x="1921" y="15554"/>
                    </a:lnTo>
                    <a:lnTo>
                      <a:pt x="1927" y="15562"/>
                    </a:lnTo>
                    <a:lnTo>
                      <a:pt x="1932" y="15571"/>
                    </a:lnTo>
                    <a:lnTo>
                      <a:pt x="1937" y="15581"/>
                    </a:lnTo>
                    <a:lnTo>
                      <a:pt x="1940" y="15592"/>
                    </a:lnTo>
                    <a:lnTo>
                      <a:pt x="1945" y="15603"/>
                    </a:lnTo>
                    <a:lnTo>
                      <a:pt x="1947" y="15618"/>
                    </a:lnTo>
                    <a:lnTo>
                      <a:pt x="1949" y="15639"/>
                    </a:lnTo>
                    <a:lnTo>
                      <a:pt x="1951" y="15648"/>
                    </a:lnTo>
                    <a:lnTo>
                      <a:pt x="1953" y="15657"/>
                    </a:lnTo>
                    <a:lnTo>
                      <a:pt x="1955" y="15660"/>
                    </a:lnTo>
                    <a:lnTo>
                      <a:pt x="1957" y="15663"/>
                    </a:lnTo>
                    <a:lnTo>
                      <a:pt x="1959" y="15665"/>
                    </a:lnTo>
                    <a:lnTo>
                      <a:pt x="1963" y="15666"/>
                    </a:lnTo>
                    <a:lnTo>
                      <a:pt x="1964" y="15670"/>
                    </a:lnTo>
                    <a:lnTo>
                      <a:pt x="1967" y="15672"/>
                    </a:lnTo>
                    <a:lnTo>
                      <a:pt x="1968" y="15675"/>
                    </a:lnTo>
                    <a:lnTo>
                      <a:pt x="1968" y="15676"/>
                    </a:lnTo>
                    <a:lnTo>
                      <a:pt x="1970" y="15676"/>
                    </a:lnTo>
                    <a:lnTo>
                      <a:pt x="1971" y="15674"/>
                    </a:lnTo>
                    <a:lnTo>
                      <a:pt x="1974" y="15668"/>
                    </a:lnTo>
                    <a:lnTo>
                      <a:pt x="1975" y="15662"/>
                    </a:lnTo>
                    <a:lnTo>
                      <a:pt x="1986" y="15648"/>
                    </a:lnTo>
                    <a:lnTo>
                      <a:pt x="1994" y="15637"/>
                    </a:lnTo>
                    <a:lnTo>
                      <a:pt x="1994" y="15635"/>
                    </a:lnTo>
                    <a:lnTo>
                      <a:pt x="2002" y="15631"/>
                    </a:lnTo>
                    <a:lnTo>
                      <a:pt x="2008" y="15629"/>
                    </a:lnTo>
                    <a:lnTo>
                      <a:pt x="2014" y="15624"/>
                    </a:lnTo>
                    <a:lnTo>
                      <a:pt x="2017" y="15621"/>
                    </a:lnTo>
                    <a:lnTo>
                      <a:pt x="2021" y="15616"/>
                    </a:lnTo>
                    <a:lnTo>
                      <a:pt x="2024" y="15611"/>
                    </a:lnTo>
                    <a:lnTo>
                      <a:pt x="2026" y="15605"/>
                    </a:lnTo>
                    <a:lnTo>
                      <a:pt x="2027" y="15600"/>
                    </a:lnTo>
                    <a:lnTo>
                      <a:pt x="2028" y="15587"/>
                    </a:lnTo>
                    <a:lnTo>
                      <a:pt x="2027" y="15575"/>
                    </a:lnTo>
                    <a:lnTo>
                      <a:pt x="2023" y="15560"/>
                    </a:lnTo>
                    <a:lnTo>
                      <a:pt x="2020" y="15547"/>
                    </a:lnTo>
                    <a:lnTo>
                      <a:pt x="2011" y="15518"/>
                    </a:lnTo>
                    <a:lnTo>
                      <a:pt x="2004" y="15492"/>
                    </a:lnTo>
                    <a:lnTo>
                      <a:pt x="2003" y="15480"/>
                    </a:lnTo>
                    <a:lnTo>
                      <a:pt x="2004" y="15469"/>
                    </a:lnTo>
                    <a:lnTo>
                      <a:pt x="2005" y="15464"/>
                    </a:lnTo>
                    <a:lnTo>
                      <a:pt x="2006" y="15461"/>
                    </a:lnTo>
                    <a:lnTo>
                      <a:pt x="2009" y="15456"/>
                    </a:lnTo>
                    <a:lnTo>
                      <a:pt x="2012" y="15452"/>
                    </a:lnTo>
                    <a:lnTo>
                      <a:pt x="2024" y="15444"/>
                    </a:lnTo>
                    <a:lnTo>
                      <a:pt x="2036" y="15438"/>
                    </a:lnTo>
                    <a:lnTo>
                      <a:pt x="2050" y="15433"/>
                    </a:lnTo>
                    <a:lnTo>
                      <a:pt x="2063" y="15430"/>
                    </a:lnTo>
                    <a:lnTo>
                      <a:pt x="2091" y="15427"/>
                    </a:lnTo>
                    <a:lnTo>
                      <a:pt x="2118" y="15426"/>
                    </a:lnTo>
                    <a:lnTo>
                      <a:pt x="2132" y="15424"/>
                    </a:lnTo>
                    <a:lnTo>
                      <a:pt x="2145" y="15422"/>
                    </a:lnTo>
                    <a:lnTo>
                      <a:pt x="2157" y="15418"/>
                    </a:lnTo>
                    <a:lnTo>
                      <a:pt x="2168" y="15412"/>
                    </a:lnTo>
                    <a:lnTo>
                      <a:pt x="2172" y="15409"/>
                    </a:lnTo>
                    <a:lnTo>
                      <a:pt x="2177" y="15405"/>
                    </a:lnTo>
                    <a:lnTo>
                      <a:pt x="2181" y="15400"/>
                    </a:lnTo>
                    <a:lnTo>
                      <a:pt x="2186" y="15396"/>
                    </a:lnTo>
                    <a:lnTo>
                      <a:pt x="2189" y="15390"/>
                    </a:lnTo>
                    <a:lnTo>
                      <a:pt x="2192" y="15384"/>
                    </a:lnTo>
                    <a:lnTo>
                      <a:pt x="2195" y="15375"/>
                    </a:lnTo>
                    <a:lnTo>
                      <a:pt x="2198" y="15368"/>
                    </a:lnTo>
                    <a:lnTo>
                      <a:pt x="2197" y="15355"/>
                    </a:lnTo>
                    <a:lnTo>
                      <a:pt x="2195" y="15345"/>
                    </a:lnTo>
                    <a:lnTo>
                      <a:pt x="2197" y="15340"/>
                    </a:lnTo>
                    <a:lnTo>
                      <a:pt x="2199" y="15337"/>
                    </a:lnTo>
                    <a:lnTo>
                      <a:pt x="2209" y="15334"/>
                    </a:lnTo>
                    <a:lnTo>
                      <a:pt x="2217" y="15331"/>
                    </a:lnTo>
                    <a:lnTo>
                      <a:pt x="2224" y="15327"/>
                    </a:lnTo>
                    <a:lnTo>
                      <a:pt x="2233" y="15323"/>
                    </a:lnTo>
                    <a:lnTo>
                      <a:pt x="2247" y="15314"/>
                    </a:lnTo>
                    <a:lnTo>
                      <a:pt x="2263" y="15303"/>
                    </a:lnTo>
                    <a:lnTo>
                      <a:pt x="2276" y="15293"/>
                    </a:lnTo>
                    <a:lnTo>
                      <a:pt x="2290" y="15284"/>
                    </a:lnTo>
                    <a:lnTo>
                      <a:pt x="2299" y="15280"/>
                    </a:lnTo>
                    <a:lnTo>
                      <a:pt x="2306" y="15276"/>
                    </a:lnTo>
                    <a:lnTo>
                      <a:pt x="2313" y="15273"/>
                    </a:lnTo>
                    <a:lnTo>
                      <a:pt x="2322" y="15270"/>
                    </a:lnTo>
                    <a:lnTo>
                      <a:pt x="2328" y="15255"/>
                    </a:lnTo>
                    <a:lnTo>
                      <a:pt x="2335" y="15232"/>
                    </a:lnTo>
                    <a:lnTo>
                      <a:pt x="2336" y="15227"/>
                    </a:lnTo>
                    <a:lnTo>
                      <a:pt x="2337" y="15221"/>
                    </a:lnTo>
                    <a:lnTo>
                      <a:pt x="2336" y="15216"/>
                    </a:lnTo>
                    <a:lnTo>
                      <a:pt x="2335" y="15210"/>
                    </a:lnTo>
                    <a:lnTo>
                      <a:pt x="2332" y="15207"/>
                    </a:lnTo>
                    <a:lnTo>
                      <a:pt x="2329" y="15202"/>
                    </a:lnTo>
                    <a:lnTo>
                      <a:pt x="2323" y="15198"/>
                    </a:lnTo>
                    <a:lnTo>
                      <a:pt x="2316" y="15196"/>
                    </a:lnTo>
                    <a:lnTo>
                      <a:pt x="2405" y="15086"/>
                    </a:lnTo>
                    <a:lnTo>
                      <a:pt x="2428" y="15060"/>
                    </a:lnTo>
                    <a:lnTo>
                      <a:pt x="2453" y="15033"/>
                    </a:lnTo>
                    <a:lnTo>
                      <a:pt x="2479" y="15007"/>
                    </a:lnTo>
                    <a:lnTo>
                      <a:pt x="2506" y="14984"/>
                    </a:lnTo>
                    <a:lnTo>
                      <a:pt x="2530" y="14970"/>
                    </a:lnTo>
                    <a:lnTo>
                      <a:pt x="2553" y="14954"/>
                    </a:lnTo>
                    <a:lnTo>
                      <a:pt x="2564" y="14947"/>
                    </a:lnTo>
                    <a:lnTo>
                      <a:pt x="2574" y="14938"/>
                    </a:lnTo>
                    <a:lnTo>
                      <a:pt x="2584" y="14930"/>
                    </a:lnTo>
                    <a:lnTo>
                      <a:pt x="2594" y="14919"/>
                    </a:lnTo>
                    <a:lnTo>
                      <a:pt x="2603" y="14908"/>
                    </a:lnTo>
                    <a:lnTo>
                      <a:pt x="2613" y="14901"/>
                    </a:lnTo>
                    <a:lnTo>
                      <a:pt x="2623" y="14895"/>
                    </a:lnTo>
                    <a:lnTo>
                      <a:pt x="2631" y="14891"/>
                    </a:lnTo>
                    <a:lnTo>
                      <a:pt x="2651" y="14884"/>
                    </a:lnTo>
                    <a:lnTo>
                      <a:pt x="2675" y="14873"/>
                    </a:lnTo>
                    <a:lnTo>
                      <a:pt x="2701" y="14862"/>
                    </a:lnTo>
                    <a:lnTo>
                      <a:pt x="2724" y="14854"/>
                    </a:lnTo>
                    <a:lnTo>
                      <a:pt x="2747" y="14847"/>
                    </a:lnTo>
                    <a:lnTo>
                      <a:pt x="2769" y="14842"/>
                    </a:lnTo>
                    <a:lnTo>
                      <a:pt x="2792" y="14838"/>
                    </a:lnTo>
                    <a:lnTo>
                      <a:pt x="2815" y="14837"/>
                    </a:lnTo>
                    <a:lnTo>
                      <a:pt x="2840" y="14838"/>
                    </a:lnTo>
                    <a:lnTo>
                      <a:pt x="2867" y="14841"/>
                    </a:lnTo>
                    <a:lnTo>
                      <a:pt x="2884" y="14842"/>
                    </a:lnTo>
                    <a:lnTo>
                      <a:pt x="2899" y="14842"/>
                    </a:lnTo>
                    <a:lnTo>
                      <a:pt x="2913" y="14841"/>
                    </a:lnTo>
                    <a:lnTo>
                      <a:pt x="2927" y="14838"/>
                    </a:lnTo>
                    <a:lnTo>
                      <a:pt x="2954" y="14831"/>
                    </a:lnTo>
                    <a:lnTo>
                      <a:pt x="2982" y="14825"/>
                    </a:lnTo>
                    <a:lnTo>
                      <a:pt x="2986" y="14822"/>
                    </a:lnTo>
                    <a:lnTo>
                      <a:pt x="2990" y="14818"/>
                    </a:lnTo>
                    <a:lnTo>
                      <a:pt x="2993" y="14819"/>
                    </a:lnTo>
                    <a:lnTo>
                      <a:pt x="2994" y="14820"/>
                    </a:lnTo>
                    <a:lnTo>
                      <a:pt x="2994" y="14824"/>
                    </a:lnTo>
                    <a:lnTo>
                      <a:pt x="2996" y="14829"/>
                    </a:lnTo>
                    <a:lnTo>
                      <a:pt x="2996" y="14832"/>
                    </a:lnTo>
                    <a:lnTo>
                      <a:pt x="2993" y="14835"/>
                    </a:lnTo>
                    <a:lnTo>
                      <a:pt x="2991" y="14841"/>
                    </a:lnTo>
                    <a:lnTo>
                      <a:pt x="2986" y="14846"/>
                    </a:lnTo>
                    <a:lnTo>
                      <a:pt x="2980" y="14850"/>
                    </a:lnTo>
                    <a:lnTo>
                      <a:pt x="2974" y="14854"/>
                    </a:lnTo>
                    <a:lnTo>
                      <a:pt x="2968" y="14858"/>
                    </a:lnTo>
                    <a:lnTo>
                      <a:pt x="2962" y="14861"/>
                    </a:lnTo>
                    <a:lnTo>
                      <a:pt x="2957" y="14865"/>
                    </a:lnTo>
                    <a:lnTo>
                      <a:pt x="2955" y="14870"/>
                    </a:lnTo>
                    <a:lnTo>
                      <a:pt x="2952" y="14871"/>
                    </a:lnTo>
                    <a:lnTo>
                      <a:pt x="2951" y="14873"/>
                    </a:lnTo>
                    <a:lnTo>
                      <a:pt x="2951" y="14877"/>
                    </a:lnTo>
                    <a:lnTo>
                      <a:pt x="2952" y="14882"/>
                    </a:lnTo>
                    <a:lnTo>
                      <a:pt x="2957" y="14893"/>
                    </a:lnTo>
                    <a:lnTo>
                      <a:pt x="2966" y="14906"/>
                    </a:lnTo>
                    <a:lnTo>
                      <a:pt x="2984" y="14930"/>
                    </a:lnTo>
                    <a:lnTo>
                      <a:pt x="2996" y="14944"/>
                    </a:lnTo>
                    <a:lnTo>
                      <a:pt x="3009" y="14962"/>
                    </a:lnTo>
                    <a:lnTo>
                      <a:pt x="3027" y="14985"/>
                    </a:lnTo>
                    <a:lnTo>
                      <a:pt x="3037" y="14997"/>
                    </a:lnTo>
                    <a:lnTo>
                      <a:pt x="3046" y="15006"/>
                    </a:lnTo>
                    <a:lnTo>
                      <a:pt x="3051" y="15009"/>
                    </a:lnTo>
                    <a:lnTo>
                      <a:pt x="3056" y="15010"/>
                    </a:lnTo>
                    <a:lnTo>
                      <a:pt x="3061" y="15012"/>
                    </a:lnTo>
                    <a:lnTo>
                      <a:pt x="3064" y="15012"/>
                    </a:lnTo>
                    <a:lnTo>
                      <a:pt x="3068" y="14996"/>
                    </a:lnTo>
                    <a:lnTo>
                      <a:pt x="3069" y="14980"/>
                    </a:lnTo>
                    <a:lnTo>
                      <a:pt x="3071" y="14965"/>
                    </a:lnTo>
                    <a:lnTo>
                      <a:pt x="3074" y="14949"/>
                    </a:lnTo>
                    <a:lnTo>
                      <a:pt x="3073" y="14936"/>
                    </a:lnTo>
                    <a:lnTo>
                      <a:pt x="3070" y="14918"/>
                    </a:lnTo>
                    <a:lnTo>
                      <a:pt x="3068" y="14908"/>
                    </a:lnTo>
                    <a:lnTo>
                      <a:pt x="3067" y="14901"/>
                    </a:lnTo>
                    <a:lnTo>
                      <a:pt x="3067" y="14896"/>
                    </a:lnTo>
                    <a:lnTo>
                      <a:pt x="3069" y="14895"/>
                    </a:lnTo>
                    <a:lnTo>
                      <a:pt x="3096" y="14903"/>
                    </a:lnTo>
                    <a:lnTo>
                      <a:pt x="3122" y="14909"/>
                    </a:lnTo>
                    <a:lnTo>
                      <a:pt x="3134" y="14913"/>
                    </a:lnTo>
                    <a:lnTo>
                      <a:pt x="3146" y="14919"/>
                    </a:lnTo>
                    <a:lnTo>
                      <a:pt x="3157" y="14926"/>
                    </a:lnTo>
                    <a:lnTo>
                      <a:pt x="3168" y="14936"/>
                    </a:lnTo>
                    <a:lnTo>
                      <a:pt x="3175" y="14942"/>
                    </a:lnTo>
                    <a:lnTo>
                      <a:pt x="3182" y="14948"/>
                    </a:lnTo>
                    <a:lnTo>
                      <a:pt x="3191" y="14953"/>
                    </a:lnTo>
                    <a:lnTo>
                      <a:pt x="3200" y="14956"/>
                    </a:lnTo>
                    <a:lnTo>
                      <a:pt x="3209" y="14958"/>
                    </a:lnTo>
                    <a:lnTo>
                      <a:pt x="3217" y="14959"/>
                    </a:lnTo>
                    <a:lnTo>
                      <a:pt x="3227" y="14960"/>
                    </a:lnTo>
                    <a:lnTo>
                      <a:pt x="3235" y="14959"/>
                    </a:lnTo>
                    <a:lnTo>
                      <a:pt x="3236" y="14949"/>
                    </a:lnTo>
                    <a:lnTo>
                      <a:pt x="3236" y="14941"/>
                    </a:lnTo>
                    <a:lnTo>
                      <a:pt x="3235" y="14932"/>
                    </a:lnTo>
                    <a:lnTo>
                      <a:pt x="3233" y="14924"/>
                    </a:lnTo>
                    <a:lnTo>
                      <a:pt x="3230" y="14915"/>
                    </a:lnTo>
                    <a:lnTo>
                      <a:pt x="3227" y="14908"/>
                    </a:lnTo>
                    <a:lnTo>
                      <a:pt x="3223" y="14900"/>
                    </a:lnTo>
                    <a:lnTo>
                      <a:pt x="3218" y="14893"/>
                    </a:lnTo>
                    <a:lnTo>
                      <a:pt x="3207" y="14877"/>
                    </a:lnTo>
                    <a:lnTo>
                      <a:pt x="3197" y="14862"/>
                    </a:lnTo>
                    <a:lnTo>
                      <a:pt x="3185" y="14848"/>
                    </a:lnTo>
                    <a:lnTo>
                      <a:pt x="3171" y="14835"/>
                    </a:lnTo>
                    <a:lnTo>
                      <a:pt x="3168" y="14829"/>
                    </a:lnTo>
                    <a:lnTo>
                      <a:pt x="3163" y="14822"/>
                    </a:lnTo>
                    <a:lnTo>
                      <a:pt x="3161" y="14813"/>
                    </a:lnTo>
                    <a:lnTo>
                      <a:pt x="3158" y="14805"/>
                    </a:lnTo>
                    <a:lnTo>
                      <a:pt x="3156" y="14795"/>
                    </a:lnTo>
                    <a:lnTo>
                      <a:pt x="3154" y="14785"/>
                    </a:lnTo>
                    <a:lnTo>
                      <a:pt x="3154" y="14775"/>
                    </a:lnTo>
                    <a:lnTo>
                      <a:pt x="3154" y="14765"/>
                    </a:lnTo>
                    <a:lnTo>
                      <a:pt x="3156" y="14754"/>
                    </a:lnTo>
                    <a:lnTo>
                      <a:pt x="3158" y="14744"/>
                    </a:lnTo>
                    <a:lnTo>
                      <a:pt x="3161" y="14735"/>
                    </a:lnTo>
                    <a:lnTo>
                      <a:pt x="3164" y="14726"/>
                    </a:lnTo>
                    <a:lnTo>
                      <a:pt x="3168" y="14718"/>
                    </a:lnTo>
                    <a:lnTo>
                      <a:pt x="3173" y="14712"/>
                    </a:lnTo>
                    <a:lnTo>
                      <a:pt x="3179" y="14706"/>
                    </a:lnTo>
                    <a:lnTo>
                      <a:pt x="3186" y="14702"/>
                    </a:lnTo>
                    <a:lnTo>
                      <a:pt x="3189" y="14689"/>
                    </a:lnTo>
                    <a:lnTo>
                      <a:pt x="3198" y="14673"/>
                    </a:lnTo>
                    <a:lnTo>
                      <a:pt x="3205" y="14658"/>
                    </a:lnTo>
                    <a:lnTo>
                      <a:pt x="3211" y="14642"/>
                    </a:lnTo>
                    <a:lnTo>
                      <a:pt x="3228" y="14615"/>
                    </a:lnTo>
                    <a:lnTo>
                      <a:pt x="3248" y="14586"/>
                    </a:lnTo>
                    <a:lnTo>
                      <a:pt x="3270" y="14558"/>
                    </a:lnTo>
                    <a:lnTo>
                      <a:pt x="3294" y="14530"/>
                    </a:lnTo>
                    <a:lnTo>
                      <a:pt x="3319" y="14505"/>
                    </a:lnTo>
                    <a:lnTo>
                      <a:pt x="3346" y="14481"/>
                    </a:lnTo>
                    <a:lnTo>
                      <a:pt x="3359" y="14470"/>
                    </a:lnTo>
                    <a:lnTo>
                      <a:pt x="3372" y="14459"/>
                    </a:lnTo>
                    <a:lnTo>
                      <a:pt x="3387" y="14450"/>
                    </a:lnTo>
                    <a:lnTo>
                      <a:pt x="3400" y="14441"/>
                    </a:lnTo>
                    <a:lnTo>
                      <a:pt x="3670" y="14273"/>
                    </a:lnTo>
                    <a:lnTo>
                      <a:pt x="3697" y="14256"/>
                    </a:lnTo>
                    <a:lnTo>
                      <a:pt x="3736" y="14232"/>
                    </a:lnTo>
                    <a:lnTo>
                      <a:pt x="3755" y="14219"/>
                    </a:lnTo>
                    <a:lnTo>
                      <a:pt x="3771" y="14205"/>
                    </a:lnTo>
                    <a:lnTo>
                      <a:pt x="3778" y="14198"/>
                    </a:lnTo>
                    <a:lnTo>
                      <a:pt x="3783" y="14192"/>
                    </a:lnTo>
                    <a:lnTo>
                      <a:pt x="3788" y="14186"/>
                    </a:lnTo>
                    <a:lnTo>
                      <a:pt x="3789" y="14181"/>
                    </a:lnTo>
                    <a:lnTo>
                      <a:pt x="3791" y="14180"/>
                    </a:lnTo>
                    <a:lnTo>
                      <a:pt x="3791" y="14179"/>
                    </a:lnTo>
                    <a:lnTo>
                      <a:pt x="3794" y="14178"/>
                    </a:lnTo>
                    <a:lnTo>
                      <a:pt x="3796" y="14175"/>
                    </a:lnTo>
                    <a:lnTo>
                      <a:pt x="3801" y="14178"/>
                    </a:lnTo>
                    <a:lnTo>
                      <a:pt x="3804" y="14179"/>
                    </a:lnTo>
                    <a:lnTo>
                      <a:pt x="3809" y="14182"/>
                    </a:lnTo>
                    <a:lnTo>
                      <a:pt x="3813" y="14186"/>
                    </a:lnTo>
                    <a:lnTo>
                      <a:pt x="3820" y="14193"/>
                    </a:lnTo>
                    <a:lnTo>
                      <a:pt x="3827" y="14203"/>
                    </a:lnTo>
                    <a:lnTo>
                      <a:pt x="3836" y="14210"/>
                    </a:lnTo>
                    <a:lnTo>
                      <a:pt x="3846" y="14217"/>
                    </a:lnTo>
                    <a:lnTo>
                      <a:pt x="3851" y="14220"/>
                    </a:lnTo>
                    <a:lnTo>
                      <a:pt x="3859" y="14222"/>
                    </a:lnTo>
                    <a:lnTo>
                      <a:pt x="3866" y="14223"/>
                    </a:lnTo>
                    <a:lnTo>
                      <a:pt x="3874" y="14225"/>
                    </a:lnTo>
                    <a:lnTo>
                      <a:pt x="3889" y="14223"/>
                    </a:lnTo>
                    <a:lnTo>
                      <a:pt x="3901" y="14222"/>
                    </a:lnTo>
                    <a:lnTo>
                      <a:pt x="3907" y="14221"/>
                    </a:lnTo>
                    <a:lnTo>
                      <a:pt x="3910" y="14220"/>
                    </a:lnTo>
                    <a:lnTo>
                      <a:pt x="3914" y="14217"/>
                    </a:lnTo>
                    <a:lnTo>
                      <a:pt x="3918" y="14215"/>
                    </a:lnTo>
                    <a:lnTo>
                      <a:pt x="3920" y="14213"/>
                    </a:lnTo>
                    <a:lnTo>
                      <a:pt x="3922" y="14209"/>
                    </a:lnTo>
                    <a:lnTo>
                      <a:pt x="3924" y="14204"/>
                    </a:lnTo>
                    <a:lnTo>
                      <a:pt x="3925" y="14199"/>
                    </a:lnTo>
                    <a:lnTo>
                      <a:pt x="3926" y="14187"/>
                    </a:lnTo>
                    <a:lnTo>
                      <a:pt x="3925" y="14172"/>
                    </a:lnTo>
                    <a:lnTo>
                      <a:pt x="3924" y="14140"/>
                    </a:lnTo>
                    <a:lnTo>
                      <a:pt x="3922" y="14114"/>
                    </a:lnTo>
                    <a:lnTo>
                      <a:pt x="3922" y="14090"/>
                    </a:lnTo>
                    <a:lnTo>
                      <a:pt x="3924" y="14067"/>
                    </a:lnTo>
                    <a:lnTo>
                      <a:pt x="3926" y="14057"/>
                    </a:lnTo>
                    <a:lnTo>
                      <a:pt x="3928" y="14047"/>
                    </a:lnTo>
                    <a:lnTo>
                      <a:pt x="3933" y="14036"/>
                    </a:lnTo>
                    <a:lnTo>
                      <a:pt x="3938" y="14025"/>
                    </a:lnTo>
                    <a:lnTo>
                      <a:pt x="3943" y="14013"/>
                    </a:lnTo>
                    <a:lnTo>
                      <a:pt x="3950" y="14001"/>
                    </a:lnTo>
                    <a:lnTo>
                      <a:pt x="3958" y="13989"/>
                    </a:lnTo>
                    <a:lnTo>
                      <a:pt x="3969" y="13974"/>
                    </a:lnTo>
                    <a:lnTo>
                      <a:pt x="4002" y="13927"/>
                    </a:lnTo>
                    <a:lnTo>
                      <a:pt x="4040" y="13876"/>
                    </a:lnTo>
                    <a:lnTo>
                      <a:pt x="4051" y="13862"/>
                    </a:lnTo>
                    <a:lnTo>
                      <a:pt x="4062" y="13850"/>
                    </a:lnTo>
                    <a:lnTo>
                      <a:pt x="4073" y="13840"/>
                    </a:lnTo>
                    <a:lnTo>
                      <a:pt x="4084" y="13830"/>
                    </a:lnTo>
                    <a:lnTo>
                      <a:pt x="4096" y="13820"/>
                    </a:lnTo>
                    <a:lnTo>
                      <a:pt x="4108" y="13813"/>
                    </a:lnTo>
                    <a:lnTo>
                      <a:pt x="4118" y="13807"/>
                    </a:lnTo>
                    <a:lnTo>
                      <a:pt x="4131" y="13802"/>
                    </a:lnTo>
                    <a:lnTo>
                      <a:pt x="4143" y="13797"/>
                    </a:lnTo>
                    <a:lnTo>
                      <a:pt x="4153" y="13790"/>
                    </a:lnTo>
                    <a:lnTo>
                      <a:pt x="4164" y="13783"/>
                    </a:lnTo>
                    <a:lnTo>
                      <a:pt x="4175" y="13773"/>
                    </a:lnTo>
                    <a:lnTo>
                      <a:pt x="4196" y="13750"/>
                    </a:lnTo>
                    <a:lnTo>
                      <a:pt x="4215" y="13725"/>
                    </a:lnTo>
                    <a:lnTo>
                      <a:pt x="4234" y="13700"/>
                    </a:lnTo>
                    <a:lnTo>
                      <a:pt x="4253" y="13675"/>
                    </a:lnTo>
                    <a:lnTo>
                      <a:pt x="4263" y="13663"/>
                    </a:lnTo>
                    <a:lnTo>
                      <a:pt x="4273" y="13653"/>
                    </a:lnTo>
                    <a:lnTo>
                      <a:pt x="4282" y="13643"/>
                    </a:lnTo>
                    <a:lnTo>
                      <a:pt x="4292" y="13635"/>
                    </a:lnTo>
                    <a:lnTo>
                      <a:pt x="4300" y="13630"/>
                    </a:lnTo>
                    <a:lnTo>
                      <a:pt x="4309" y="13628"/>
                    </a:lnTo>
                    <a:lnTo>
                      <a:pt x="4316" y="13628"/>
                    </a:lnTo>
                    <a:lnTo>
                      <a:pt x="4323" y="13630"/>
                    </a:lnTo>
                    <a:lnTo>
                      <a:pt x="4330" y="13633"/>
                    </a:lnTo>
                    <a:lnTo>
                      <a:pt x="4338" y="13636"/>
                    </a:lnTo>
                    <a:lnTo>
                      <a:pt x="4344" y="13642"/>
                    </a:lnTo>
                    <a:lnTo>
                      <a:pt x="4350" y="13647"/>
                    </a:lnTo>
                    <a:lnTo>
                      <a:pt x="4360" y="13659"/>
                    </a:lnTo>
                    <a:lnTo>
                      <a:pt x="4370" y="13669"/>
                    </a:lnTo>
                    <a:lnTo>
                      <a:pt x="4374" y="13672"/>
                    </a:lnTo>
                    <a:lnTo>
                      <a:pt x="4377" y="13675"/>
                    </a:lnTo>
                    <a:lnTo>
                      <a:pt x="4380" y="13675"/>
                    </a:lnTo>
                    <a:lnTo>
                      <a:pt x="4382" y="13673"/>
                    </a:lnTo>
                    <a:lnTo>
                      <a:pt x="4384" y="13671"/>
                    </a:lnTo>
                    <a:lnTo>
                      <a:pt x="4386" y="13667"/>
                    </a:lnTo>
                    <a:lnTo>
                      <a:pt x="4387" y="13664"/>
                    </a:lnTo>
                    <a:lnTo>
                      <a:pt x="4387" y="13659"/>
                    </a:lnTo>
                    <a:lnTo>
                      <a:pt x="4387" y="13651"/>
                    </a:lnTo>
                    <a:lnTo>
                      <a:pt x="4384" y="13641"/>
                    </a:lnTo>
                    <a:lnTo>
                      <a:pt x="4378" y="13622"/>
                    </a:lnTo>
                    <a:lnTo>
                      <a:pt x="4374" y="13607"/>
                    </a:lnTo>
                    <a:lnTo>
                      <a:pt x="4371" y="13596"/>
                    </a:lnTo>
                    <a:lnTo>
                      <a:pt x="4368" y="13588"/>
                    </a:lnTo>
                    <a:lnTo>
                      <a:pt x="4364" y="13582"/>
                    </a:lnTo>
                    <a:lnTo>
                      <a:pt x="4360" y="13578"/>
                    </a:lnTo>
                    <a:lnTo>
                      <a:pt x="4348" y="13572"/>
                    </a:lnTo>
                    <a:lnTo>
                      <a:pt x="4332" y="13568"/>
                    </a:lnTo>
                    <a:lnTo>
                      <a:pt x="4330" y="13563"/>
                    </a:lnTo>
                    <a:lnTo>
                      <a:pt x="4332" y="13559"/>
                    </a:lnTo>
                    <a:lnTo>
                      <a:pt x="4333" y="13542"/>
                    </a:lnTo>
                    <a:lnTo>
                      <a:pt x="4334" y="13525"/>
                    </a:lnTo>
                    <a:lnTo>
                      <a:pt x="4336" y="13509"/>
                    </a:lnTo>
                    <a:lnTo>
                      <a:pt x="4339" y="13493"/>
                    </a:lnTo>
                    <a:lnTo>
                      <a:pt x="4342" y="13476"/>
                    </a:lnTo>
                    <a:lnTo>
                      <a:pt x="4345" y="13458"/>
                    </a:lnTo>
                    <a:lnTo>
                      <a:pt x="4347" y="13441"/>
                    </a:lnTo>
                    <a:lnTo>
                      <a:pt x="4347" y="13424"/>
                    </a:lnTo>
                    <a:lnTo>
                      <a:pt x="4351" y="13412"/>
                    </a:lnTo>
                    <a:lnTo>
                      <a:pt x="4353" y="13398"/>
                    </a:lnTo>
                    <a:lnTo>
                      <a:pt x="4356" y="13383"/>
                    </a:lnTo>
                    <a:lnTo>
                      <a:pt x="4357" y="13368"/>
                    </a:lnTo>
                    <a:lnTo>
                      <a:pt x="4359" y="13335"/>
                    </a:lnTo>
                    <a:lnTo>
                      <a:pt x="4360" y="13309"/>
                    </a:lnTo>
                    <a:lnTo>
                      <a:pt x="4363" y="13285"/>
                    </a:lnTo>
                    <a:lnTo>
                      <a:pt x="4368" y="13261"/>
                    </a:lnTo>
                    <a:lnTo>
                      <a:pt x="4371" y="13238"/>
                    </a:lnTo>
                    <a:lnTo>
                      <a:pt x="4374" y="13214"/>
                    </a:lnTo>
                    <a:lnTo>
                      <a:pt x="4376" y="13202"/>
                    </a:lnTo>
                    <a:lnTo>
                      <a:pt x="4378" y="13191"/>
                    </a:lnTo>
                    <a:lnTo>
                      <a:pt x="4382" y="13182"/>
                    </a:lnTo>
                    <a:lnTo>
                      <a:pt x="4387" y="13176"/>
                    </a:lnTo>
                    <a:lnTo>
                      <a:pt x="4393" y="13170"/>
                    </a:lnTo>
                    <a:lnTo>
                      <a:pt x="4399" y="13166"/>
                    </a:lnTo>
                    <a:lnTo>
                      <a:pt x="4406" y="13162"/>
                    </a:lnTo>
                    <a:lnTo>
                      <a:pt x="4412" y="13158"/>
                    </a:lnTo>
                    <a:lnTo>
                      <a:pt x="4428" y="13152"/>
                    </a:lnTo>
                    <a:lnTo>
                      <a:pt x="4441" y="13145"/>
                    </a:lnTo>
                    <a:lnTo>
                      <a:pt x="4447" y="13140"/>
                    </a:lnTo>
                    <a:lnTo>
                      <a:pt x="4453" y="13134"/>
                    </a:lnTo>
                    <a:lnTo>
                      <a:pt x="4458" y="13127"/>
                    </a:lnTo>
                    <a:lnTo>
                      <a:pt x="4463" y="13119"/>
                    </a:lnTo>
                    <a:lnTo>
                      <a:pt x="4465" y="13110"/>
                    </a:lnTo>
                    <a:lnTo>
                      <a:pt x="4466" y="13103"/>
                    </a:lnTo>
                    <a:lnTo>
                      <a:pt x="4465" y="13098"/>
                    </a:lnTo>
                    <a:lnTo>
                      <a:pt x="4464" y="13095"/>
                    </a:lnTo>
                    <a:lnTo>
                      <a:pt x="4461" y="13092"/>
                    </a:lnTo>
                    <a:lnTo>
                      <a:pt x="4458" y="13091"/>
                    </a:lnTo>
                    <a:lnTo>
                      <a:pt x="4454" y="13091"/>
                    </a:lnTo>
                    <a:lnTo>
                      <a:pt x="4449" y="13090"/>
                    </a:lnTo>
                    <a:lnTo>
                      <a:pt x="4441" y="13091"/>
                    </a:lnTo>
                    <a:lnTo>
                      <a:pt x="4431" y="13091"/>
                    </a:lnTo>
                    <a:lnTo>
                      <a:pt x="4428" y="13091"/>
                    </a:lnTo>
                    <a:lnTo>
                      <a:pt x="4424" y="13090"/>
                    </a:lnTo>
                    <a:lnTo>
                      <a:pt x="4422" y="13089"/>
                    </a:lnTo>
                    <a:lnTo>
                      <a:pt x="4421" y="13085"/>
                    </a:lnTo>
                    <a:lnTo>
                      <a:pt x="4418" y="13085"/>
                    </a:lnTo>
                    <a:lnTo>
                      <a:pt x="4416" y="13084"/>
                    </a:lnTo>
                    <a:lnTo>
                      <a:pt x="4413" y="13081"/>
                    </a:lnTo>
                    <a:lnTo>
                      <a:pt x="4412" y="13079"/>
                    </a:lnTo>
                    <a:lnTo>
                      <a:pt x="4410" y="13078"/>
                    </a:lnTo>
                    <a:lnTo>
                      <a:pt x="4407" y="13075"/>
                    </a:lnTo>
                    <a:lnTo>
                      <a:pt x="4405" y="13073"/>
                    </a:lnTo>
                    <a:lnTo>
                      <a:pt x="4403" y="13069"/>
                    </a:lnTo>
                    <a:lnTo>
                      <a:pt x="4400" y="13060"/>
                    </a:lnTo>
                    <a:lnTo>
                      <a:pt x="4398" y="13048"/>
                    </a:lnTo>
                    <a:lnTo>
                      <a:pt x="4396" y="13034"/>
                    </a:lnTo>
                    <a:lnTo>
                      <a:pt x="4396" y="13019"/>
                    </a:lnTo>
                    <a:lnTo>
                      <a:pt x="4398" y="13003"/>
                    </a:lnTo>
                    <a:lnTo>
                      <a:pt x="4400" y="12986"/>
                    </a:lnTo>
                    <a:lnTo>
                      <a:pt x="4403" y="12969"/>
                    </a:lnTo>
                    <a:lnTo>
                      <a:pt x="4405" y="12953"/>
                    </a:lnTo>
                    <a:lnTo>
                      <a:pt x="4409" y="12937"/>
                    </a:lnTo>
                    <a:lnTo>
                      <a:pt x="4413" y="12924"/>
                    </a:lnTo>
                    <a:lnTo>
                      <a:pt x="4417" y="12912"/>
                    </a:lnTo>
                    <a:lnTo>
                      <a:pt x="4422" y="12901"/>
                    </a:lnTo>
                    <a:lnTo>
                      <a:pt x="4427" y="12894"/>
                    </a:lnTo>
                    <a:lnTo>
                      <a:pt x="4431" y="12890"/>
                    </a:lnTo>
                    <a:lnTo>
                      <a:pt x="4439" y="12886"/>
                    </a:lnTo>
                    <a:lnTo>
                      <a:pt x="4448" y="12879"/>
                    </a:lnTo>
                    <a:lnTo>
                      <a:pt x="4458" y="12872"/>
                    </a:lnTo>
                    <a:lnTo>
                      <a:pt x="4469" y="12862"/>
                    </a:lnTo>
                    <a:lnTo>
                      <a:pt x="4490" y="12839"/>
                    </a:lnTo>
                    <a:lnTo>
                      <a:pt x="4513" y="12813"/>
                    </a:lnTo>
                    <a:lnTo>
                      <a:pt x="4535" y="12787"/>
                    </a:lnTo>
                    <a:lnTo>
                      <a:pt x="4554" y="12761"/>
                    </a:lnTo>
                    <a:lnTo>
                      <a:pt x="4561" y="12749"/>
                    </a:lnTo>
                    <a:lnTo>
                      <a:pt x="4567" y="12738"/>
                    </a:lnTo>
                    <a:lnTo>
                      <a:pt x="4572" y="12729"/>
                    </a:lnTo>
                    <a:lnTo>
                      <a:pt x="4575" y="12722"/>
                    </a:lnTo>
                    <a:lnTo>
                      <a:pt x="4593" y="12719"/>
                    </a:lnTo>
                    <a:lnTo>
                      <a:pt x="4611" y="12714"/>
                    </a:lnTo>
                    <a:lnTo>
                      <a:pt x="4613" y="12712"/>
                    </a:lnTo>
                    <a:lnTo>
                      <a:pt x="4616" y="12711"/>
                    </a:lnTo>
                    <a:lnTo>
                      <a:pt x="4616" y="12708"/>
                    </a:lnTo>
                    <a:lnTo>
                      <a:pt x="4617" y="12707"/>
                    </a:lnTo>
                    <a:lnTo>
                      <a:pt x="4612" y="12701"/>
                    </a:lnTo>
                    <a:lnTo>
                      <a:pt x="4606" y="12697"/>
                    </a:lnTo>
                    <a:lnTo>
                      <a:pt x="4600" y="12695"/>
                    </a:lnTo>
                    <a:lnTo>
                      <a:pt x="4593" y="12693"/>
                    </a:lnTo>
                    <a:lnTo>
                      <a:pt x="4591" y="12691"/>
                    </a:lnTo>
                    <a:lnTo>
                      <a:pt x="4593" y="12683"/>
                    </a:lnTo>
                    <a:lnTo>
                      <a:pt x="4595" y="12672"/>
                    </a:lnTo>
                    <a:lnTo>
                      <a:pt x="4599" y="12663"/>
                    </a:lnTo>
                    <a:lnTo>
                      <a:pt x="4602" y="12653"/>
                    </a:lnTo>
                    <a:lnTo>
                      <a:pt x="4611" y="12632"/>
                    </a:lnTo>
                    <a:lnTo>
                      <a:pt x="4617" y="12613"/>
                    </a:lnTo>
                    <a:lnTo>
                      <a:pt x="4622" y="12590"/>
                    </a:lnTo>
                    <a:lnTo>
                      <a:pt x="4624" y="12570"/>
                    </a:lnTo>
                    <a:lnTo>
                      <a:pt x="4625" y="12559"/>
                    </a:lnTo>
                    <a:lnTo>
                      <a:pt x="4628" y="12548"/>
                    </a:lnTo>
                    <a:lnTo>
                      <a:pt x="4631" y="12537"/>
                    </a:lnTo>
                    <a:lnTo>
                      <a:pt x="4635" y="12527"/>
                    </a:lnTo>
                    <a:lnTo>
                      <a:pt x="4643" y="12516"/>
                    </a:lnTo>
                    <a:lnTo>
                      <a:pt x="4655" y="12504"/>
                    </a:lnTo>
                    <a:lnTo>
                      <a:pt x="4661" y="12498"/>
                    </a:lnTo>
                    <a:lnTo>
                      <a:pt x="4666" y="12492"/>
                    </a:lnTo>
                    <a:lnTo>
                      <a:pt x="4668" y="12487"/>
                    </a:lnTo>
                    <a:lnTo>
                      <a:pt x="4670" y="12483"/>
                    </a:lnTo>
                    <a:lnTo>
                      <a:pt x="4668" y="12482"/>
                    </a:lnTo>
                    <a:lnTo>
                      <a:pt x="4667" y="12481"/>
                    </a:lnTo>
                    <a:lnTo>
                      <a:pt x="4655" y="12482"/>
                    </a:lnTo>
                    <a:lnTo>
                      <a:pt x="4644" y="12484"/>
                    </a:lnTo>
                    <a:lnTo>
                      <a:pt x="4636" y="12488"/>
                    </a:lnTo>
                    <a:lnTo>
                      <a:pt x="4628" y="12494"/>
                    </a:lnTo>
                    <a:lnTo>
                      <a:pt x="4622" y="12501"/>
                    </a:lnTo>
                    <a:lnTo>
                      <a:pt x="4616" y="12511"/>
                    </a:lnTo>
                    <a:lnTo>
                      <a:pt x="4611" y="12521"/>
                    </a:lnTo>
                    <a:lnTo>
                      <a:pt x="4606" y="12531"/>
                    </a:lnTo>
                    <a:lnTo>
                      <a:pt x="4599" y="12546"/>
                    </a:lnTo>
                    <a:lnTo>
                      <a:pt x="4593" y="12557"/>
                    </a:lnTo>
                    <a:lnTo>
                      <a:pt x="4587" y="12565"/>
                    </a:lnTo>
                    <a:lnTo>
                      <a:pt x="4581" y="12571"/>
                    </a:lnTo>
                    <a:lnTo>
                      <a:pt x="4564" y="12581"/>
                    </a:lnTo>
                    <a:lnTo>
                      <a:pt x="4542" y="12595"/>
                    </a:lnTo>
                    <a:lnTo>
                      <a:pt x="4518" y="12610"/>
                    </a:lnTo>
                    <a:lnTo>
                      <a:pt x="4494" y="12623"/>
                    </a:lnTo>
                    <a:lnTo>
                      <a:pt x="4469" y="12636"/>
                    </a:lnTo>
                    <a:lnTo>
                      <a:pt x="4443" y="12648"/>
                    </a:lnTo>
                    <a:lnTo>
                      <a:pt x="4417" y="12659"/>
                    </a:lnTo>
                    <a:lnTo>
                      <a:pt x="4390" y="12670"/>
                    </a:lnTo>
                    <a:lnTo>
                      <a:pt x="4365" y="12682"/>
                    </a:lnTo>
                    <a:lnTo>
                      <a:pt x="4340" y="12693"/>
                    </a:lnTo>
                    <a:lnTo>
                      <a:pt x="4325" y="12699"/>
                    </a:lnTo>
                    <a:lnTo>
                      <a:pt x="4309" y="12706"/>
                    </a:lnTo>
                    <a:lnTo>
                      <a:pt x="4293" y="12713"/>
                    </a:lnTo>
                    <a:lnTo>
                      <a:pt x="4280" y="12722"/>
                    </a:lnTo>
                    <a:lnTo>
                      <a:pt x="4268" y="12731"/>
                    </a:lnTo>
                    <a:lnTo>
                      <a:pt x="4256" y="12740"/>
                    </a:lnTo>
                    <a:lnTo>
                      <a:pt x="4244" y="12748"/>
                    </a:lnTo>
                    <a:lnTo>
                      <a:pt x="4230" y="12755"/>
                    </a:lnTo>
                    <a:lnTo>
                      <a:pt x="4221" y="12761"/>
                    </a:lnTo>
                    <a:lnTo>
                      <a:pt x="4212" y="12768"/>
                    </a:lnTo>
                    <a:lnTo>
                      <a:pt x="4203" y="12774"/>
                    </a:lnTo>
                    <a:lnTo>
                      <a:pt x="4193" y="12779"/>
                    </a:lnTo>
                    <a:lnTo>
                      <a:pt x="4185" y="12783"/>
                    </a:lnTo>
                    <a:lnTo>
                      <a:pt x="4176" y="12787"/>
                    </a:lnTo>
                    <a:lnTo>
                      <a:pt x="4168" y="12788"/>
                    </a:lnTo>
                    <a:lnTo>
                      <a:pt x="4159" y="12788"/>
                    </a:lnTo>
                    <a:lnTo>
                      <a:pt x="4143" y="12788"/>
                    </a:lnTo>
                    <a:lnTo>
                      <a:pt x="4125" y="12788"/>
                    </a:lnTo>
                    <a:lnTo>
                      <a:pt x="4106" y="12779"/>
                    </a:lnTo>
                    <a:lnTo>
                      <a:pt x="4090" y="12771"/>
                    </a:lnTo>
                    <a:lnTo>
                      <a:pt x="4084" y="12765"/>
                    </a:lnTo>
                    <a:lnTo>
                      <a:pt x="4076" y="12759"/>
                    </a:lnTo>
                    <a:lnTo>
                      <a:pt x="4070" y="12747"/>
                    </a:lnTo>
                    <a:lnTo>
                      <a:pt x="4066" y="12732"/>
                    </a:lnTo>
                    <a:lnTo>
                      <a:pt x="4064" y="12717"/>
                    </a:lnTo>
                    <a:lnTo>
                      <a:pt x="4061" y="12701"/>
                    </a:lnTo>
                    <a:lnTo>
                      <a:pt x="4058" y="12697"/>
                    </a:lnTo>
                    <a:lnTo>
                      <a:pt x="4056" y="12693"/>
                    </a:lnTo>
                    <a:lnTo>
                      <a:pt x="4050" y="12689"/>
                    </a:lnTo>
                    <a:lnTo>
                      <a:pt x="4045" y="12685"/>
                    </a:lnTo>
                    <a:lnTo>
                      <a:pt x="4043" y="12684"/>
                    </a:lnTo>
                    <a:lnTo>
                      <a:pt x="4040" y="12683"/>
                    </a:lnTo>
                    <a:lnTo>
                      <a:pt x="4038" y="12682"/>
                    </a:lnTo>
                    <a:lnTo>
                      <a:pt x="4037" y="12679"/>
                    </a:lnTo>
                    <a:lnTo>
                      <a:pt x="4033" y="12676"/>
                    </a:lnTo>
                    <a:lnTo>
                      <a:pt x="4031" y="12673"/>
                    </a:lnTo>
                    <a:lnTo>
                      <a:pt x="4028" y="12673"/>
                    </a:lnTo>
                    <a:lnTo>
                      <a:pt x="4027" y="12672"/>
                    </a:lnTo>
                    <a:lnTo>
                      <a:pt x="4020" y="12667"/>
                    </a:lnTo>
                    <a:lnTo>
                      <a:pt x="4013" y="12663"/>
                    </a:lnTo>
                    <a:lnTo>
                      <a:pt x="4001" y="12657"/>
                    </a:lnTo>
                    <a:lnTo>
                      <a:pt x="3987" y="12648"/>
                    </a:lnTo>
                    <a:lnTo>
                      <a:pt x="3981" y="12643"/>
                    </a:lnTo>
                    <a:lnTo>
                      <a:pt x="3976" y="12639"/>
                    </a:lnTo>
                    <a:lnTo>
                      <a:pt x="3973" y="12632"/>
                    </a:lnTo>
                    <a:lnTo>
                      <a:pt x="3972" y="12626"/>
                    </a:lnTo>
                    <a:lnTo>
                      <a:pt x="3973" y="12618"/>
                    </a:lnTo>
                    <a:lnTo>
                      <a:pt x="3975" y="12611"/>
                    </a:lnTo>
                    <a:lnTo>
                      <a:pt x="3979" y="12605"/>
                    </a:lnTo>
                    <a:lnTo>
                      <a:pt x="3982" y="12599"/>
                    </a:lnTo>
                    <a:lnTo>
                      <a:pt x="3986" y="12594"/>
                    </a:lnTo>
                    <a:lnTo>
                      <a:pt x="3990" y="12590"/>
                    </a:lnTo>
                    <a:lnTo>
                      <a:pt x="3992" y="12586"/>
                    </a:lnTo>
                    <a:lnTo>
                      <a:pt x="3995" y="12581"/>
                    </a:lnTo>
                    <a:lnTo>
                      <a:pt x="3997" y="12580"/>
                    </a:lnTo>
                    <a:lnTo>
                      <a:pt x="3998" y="12577"/>
                    </a:lnTo>
                    <a:lnTo>
                      <a:pt x="3999" y="12574"/>
                    </a:lnTo>
                    <a:lnTo>
                      <a:pt x="4001" y="12570"/>
                    </a:lnTo>
                    <a:lnTo>
                      <a:pt x="4003" y="12559"/>
                    </a:lnTo>
                    <a:lnTo>
                      <a:pt x="4004" y="12548"/>
                    </a:lnTo>
                    <a:lnTo>
                      <a:pt x="4007" y="12536"/>
                    </a:lnTo>
                    <a:lnTo>
                      <a:pt x="4011" y="12527"/>
                    </a:lnTo>
                    <a:lnTo>
                      <a:pt x="4015" y="12522"/>
                    </a:lnTo>
                    <a:lnTo>
                      <a:pt x="4019" y="12518"/>
                    </a:lnTo>
                    <a:lnTo>
                      <a:pt x="4023" y="12515"/>
                    </a:lnTo>
                    <a:lnTo>
                      <a:pt x="4029" y="12512"/>
                    </a:lnTo>
                    <a:lnTo>
                      <a:pt x="4032" y="12503"/>
                    </a:lnTo>
                    <a:lnTo>
                      <a:pt x="4037" y="12490"/>
                    </a:lnTo>
                    <a:lnTo>
                      <a:pt x="4041" y="12478"/>
                    </a:lnTo>
                    <a:lnTo>
                      <a:pt x="4046" y="12469"/>
                    </a:lnTo>
                    <a:lnTo>
                      <a:pt x="4062" y="12452"/>
                    </a:lnTo>
                    <a:lnTo>
                      <a:pt x="4075" y="12439"/>
                    </a:lnTo>
                    <a:lnTo>
                      <a:pt x="4034" y="12418"/>
                    </a:lnTo>
                    <a:lnTo>
                      <a:pt x="4029" y="12421"/>
                    </a:lnTo>
                    <a:lnTo>
                      <a:pt x="4025" y="12423"/>
                    </a:lnTo>
                    <a:lnTo>
                      <a:pt x="4021" y="12432"/>
                    </a:lnTo>
                    <a:lnTo>
                      <a:pt x="4015" y="12439"/>
                    </a:lnTo>
                    <a:lnTo>
                      <a:pt x="4011" y="12441"/>
                    </a:lnTo>
                    <a:lnTo>
                      <a:pt x="4008" y="12445"/>
                    </a:lnTo>
                    <a:lnTo>
                      <a:pt x="4004" y="12446"/>
                    </a:lnTo>
                    <a:lnTo>
                      <a:pt x="3999" y="12447"/>
                    </a:lnTo>
                    <a:lnTo>
                      <a:pt x="3998" y="12447"/>
                    </a:lnTo>
                    <a:lnTo>
                      <a:pt x="3998" y="12450"/>
                    </a:lnTo>
                    <a:lnTo>
                      <a:pt x="3996" y="12450"/>
                    </a:lnTo>
                    <a:lnTo>
                      <a:pt x="3991" y="12465"/>
                    </a:lnTo>
                    <a:lnTo>
                      <a:pt x="3985" y="12482"/>
                    </a:lnTo>
                    <a:lnTo>
                      <a:pt x="3976" y="12498"/>
                    </a:lnTo>
                    <a:lnTo>
                      <a:pt x="3968" y="12513"/>
                    </a:lnTo>
                    <a:lnTo>
                      <a:pt x="3957" y="12529"/>
                    </a:lnTo>
                    <a:lnTo>
                      <a:pt x="3946" y="12543"/>
                    </a:lnTo>
                    <a:lnTo>
                      <a:pt x="3934" y="12557"/>
                    </a:lnTo>
                    <a:lnTo>
                      <a:pt x="3922" y="12569"/>
                    </a:lnTo>
                    <a:lnTo>
                      <a:pt x="3902" y="12578"/>
                    </a:lnTo>
                    <a:lnTo>
                      <a:pt x="3887" y="12583"/>
                    </a:lnTo>
                    <a:lnTo>
                      <a:pt x="3884" y="12586"/>
                    </a:lnTo>
                    <a:lnTo>
                      <a:pt x="3883" y="12592"/>
                    </a:lnTo>
                    <a:lnTo>
                      <a:pt x="3881" y="12600"/>
                    </a:lnTo>
                    <a:lnTo>
                      <a:pt x="3881" y="12608"/>
                    </a:lnTo>
                    <a:lnTo>
                      <a:pt x="3881" y="12626"/>
                    </a:lnTo>
                    <a:lnTo>
                      <a:pt x="3883" y="12637"/>
                    </a:lnTo>
                    <a:lnTo>
                      <a:pt x="3885" y="12649"/>
                    </a:lnTo>
                    <a:lnTo>
                      <a:pt x="3887" y="12665"/>
                    </a:lnTo>
                    <a:lnTo>
                      <a:pt x="3890" y="12679"/>
                    </a:lnTo>
                    <a:lnTo>
                      <a:pt x="3890" y="12687"/>
                    </a:lnTo>
                    <a:lnTo>
                      <a:pt x="3889" y="12688"/>
                    </a:lnTo>
                    <a:lnTo>
                      <a:pt x="3887" y="12690"/>
                    </a:lnTo>
                    <a:lnTo>
                      <a:pt x="3885" y="12691"/>
                    </a:lnTo>
                    <a:lnTo>
                      <a:pt x="3881" y="12691"/>
                    </a:lnTo>
                    <a:lnTo>
                      <a:pt x="3873" y="12694"/>
                    </a:lnTo>
                    <a:lnTo>
                      <a:pt x="3863" y="12694"/>
                    </a:lnTo>
                    <a:lnTo>
                      <a:pt x="3844" y="12694"/>
                    </a:lnTo>
                    <a:lnTo>
                      <a:pt x="3831" y="12694"/>
                    </a:lnTo>
                    <a:lnTo>
                      <a:pt x="3830" y="12695"/>
                    </a:lnTo>
                    <a:lnTo>
                      <a:pt x="3831" y="12708"/>
                    </a:lnTo>
                    <a:lnTo>
                      <a:pt x="3833" y="12722"/>
                    </a:lnTo>
                    <a:lnTo>
                      <a:pt x="3837" y="12735"/>
                    </a:lnTo>
                    <a:lnTo>
                      <a:pt x="3842" y="12747"/>
                    </a:lnTo>
                    <a:lnTo>
                      <a:pt x="3851" y="12772"/>
                    </a:lnTo>
                    <a:lnTo>
                      <a:pt x="3861" y="12797"/>
                    </a:lnTo>
                    <a:lnTo>
                      <a:pt x="3865" y="12808"/>
                    </a:lnTo>
                    <a:lnTo>
                      <a:pt x="3869" y="12820"/>
                    </a:lnTo>
                    <a:lnTo>
                      <a:pt x="3877" y="12832"/>
                    </a:lnTo>
                    <a:lnTo>
                      <a:pt x="3883" y="12844"/>
                    </a:lnTo>
                    <a:lnTo>
                      <a:pt x="3890" y="12856"/>
                    </a:lnTo>
                    <a:lnTo>
                      <a:pt x="3895" y="12867"/>
                    </a:lnTo>
                    <a:lnTo>
                      <a:pt x="3898" y="12878"/>
                    </a:lnTo>
                    <a:lnTo>
                      <a:pt x="3901" y="12888"/>
                    </a:lnTo>
                    <a:lnTo>
                      <a:pt x="3901" y="12898"/>
                    </a:lnTo>
                    <a:lnTo>
                      <a:pt x="3898" y="12910"/>
                    </a:lnTo>
                    <a:lnTo>
                      <a:pt x="3896" y="12920"/>
                    </a:lnTo>
                    <a:lnTo>
                      <a:pt x="3890" y="12930"/>
                    </a:lnTo>
                    <a:lnTo>
                      <a:pt x="3884" y="12939"/>
                    </a:lnTo>
                    <a:lnTo>
                      <a:pt x="3877" y="12948"/>
                    </a:lnTo>
                    <a:lnTo>
                      <a:pt x="3868" y="12954"/>
                    </a:lnTo>
                    <a:lnTo>
                      <a:pt x="3860" y="12960"/>
                    </a:lnTo>
                    <a:lnTo>
                      <a:pt x="3849" y="12965"/>
                    </a:lnTo>
                    <a:lnTo>
                      <a:pt x="3839" y="12967"/>
                    </a:lnTo>
                    <a:lnTo>
                      <a:pt x="3828" y="12968"/>
                    </a:lnTo>
                    <a:lnTo>
                      <a:pt x="3819" y="12968"/>
                    </a:lnTo>
                    <a:lnTo>
                      <a:pt x="3808" y="12967"/>
                    </a:lnTo>
                    <a:lnTo>
                      <a:pt x="3797" y="12963"/>
                    </a:lnTo>
                    <a:lnTo>
                      <a:pt x="3788" y="12957"/>
                    </a:lnTo>
                    <a:lnTo>
                      <a:pt x="3779" y="12950"/>
                    </a:lnTo>
                    <a:lnTo>
                      <a:pt x="3769" y="12941"/>
                    </a:lnTo>
                    <a:lnTo>
                      <a:pt x="3762" y="12930"/>
                    </a:lnTo>
                    <a:lnTo>
                      <a:pt x="3754" y="12920"/>
                    </a:lnTo>
                    <a:lnTo>
                      <a:pt x="3747" y="12908"/>
                    </a:lnTo>
                    <a:lnTo>
                      <a:pt x="3733" y="12884"/>
                    </a:lnTo>
                    <a:lnTo>
                      <a:pt x="3721" y="12859"/>
                    </a:lnTo>
                    <a:lnTo>
                      <a:pt x="3698" y="12805"/>
                    </a:lnTo>
                    <a:lnTo>
                      <a:pt x="3677" y="12748"/>
                    </a:lnTo>
                    <a:lnTo>
                      <a:pt x="3665" y="12722"/>
                    </a:lnTo>
                    <a:lnTo>
                      <a:pt x="3652" y="12696"/>
                    </a:lnTo>
                    <a:lnTo>
                      <a:pt x="3644" y="12683"/>
                    </a:lnTo>
                    <a:lnTo>
                      <a:pt x="3637" y="12671"/>
                    </a:lnTo>
                    <a:lnTo>
                      <a:pt x="3630" y="12660"/>
                    </a:lnTo>
                    <a:lnTo>
                      <a:pt x="3621" y="12649"/>
                    </a:lnTo>
                    <a:lnTo>
                      <a:pt x="3613" y="12640"/>
                    </a:lnTo>
                    <a:lnTo>
                      <a:pt x="3603" y="12630"/>
                    </a:lnTo>
                    <a:lnTo>
                      <a:pt x="3594" y="12622"/>
                    </a:lnTo>
                    <a:lnTo>
                      <a:pt x="3583" y="12613"/>
                    </a:lnTo>
                    <a:lnTo>
                      <a:pt x="3571" y="12606"/>
                    </a:lnTo>
                    <a:lnTo>
                      <a:pt x="3559" y="12600"/>
                    </a:lnTo>
                    <a:lnTo>
                      <a:pt x="3546" y="12595"/>
                    </a:lnTo>
                    <a:lnTo>
                      <a:pt x="3532" y="12590"/>
                    </a:lnTo>
                    <a:lnTo>
                      <a:pt x="3534" y="12582"/>
                    </a:lnTo>
                    <a:lnTo>
                      <a:pt x="3536" y="12574"/>
                    </a:lnTo>
                    <a:lnTo>
                      <a:pt x="3538" y="12565"/>
                    </a:lnTo>
                    <a:lnTo>
                      <a:pt x="3542" y="12555"/>
                    </a:lnTo>
                    <a:lnTo>
                      <a:pt x="3546" y="12547"/>
                    </a:lnTo>
                    <a:lnTo>
                      <a:pt x="3548" y="12539"/>
                    </a:lnTo>
                    <a:lnTo>
                      <a:pt x="3550" y="12529"/>
                    </a:lnTo>
                    <a:lnTo>
                      <a:pt x="3552" y="12519"/>
                    </a:lnTo>
                    <a:lnTo>
                      <a:pt x="3550" y="12519"/>
                    </a:lnTo>
                    <a:lnTo>
                      <a:pt x="3491" y="12519"/>
                    </a:lnTo>
                    <a:lnTo>
                      <a:pt x="3489" y="12522"/>
                    </a:lnTo>
                    <a:lnTo>
                      <a:pt x="3487" y="12522"/>
                    </a:lnTo>
                    <a:lnTo>
                      <a:pt x="3484" y="12535"/>
                    </a:lnTo>
                    <a:lnTo>
                      <a:pt x="3481" y="12554"/>
                    </a:lnTo>
                    <a:lnTo>
                      <a:pt x="3478" y="12564"/>
                    </a:lnTo>
                    <a:lnTo>
                      <a:pt x="3476" y="12571"/>
                    </a:lnTo>
                    <a:lnTo>
                      <a:pt x="3473" y="12577"/>
                    </a:lnTo>
                    <a:lnTo>
                      <a:pt x="3471" y="12581"/>
                    </a:lnTo>
                    <a:lnTo>
                      <a:pt x="3469" y="12594"/>
                    </a:lnTo>
                    <a:lnTo>
                      <a:pt x="3464" y="12606"/>
                    </a:lnTo>
                    <a:lnTo>
                      <a:pt x="3459" y="12618"/>
                    </a:lnTo>
                    <a:lnTo>
                      <a:pt x="3452" y="12629"/>
                    </a:lnTo>
                    <a:lnTo>
                      <a:pt x="3448" y="12632"/>
                    </a:lnTo>
                    <a:lnTo>
                      <a:pt x="3443" y="12637"/>
                    </a:lnTo>
                    <a:lnTo>
                      <a:pt x="3439" y="12641"/>
                    </a:lnTo>
                    <a:lnTo>
                      <a:pt x="3434" y="12643"/>
                    </a:lnTo>
                    <a:lnTo>
                      <a:pt x="3429" y="12646"/>
                    </a:lnTo>
                    <a:lnTo>
                      <a:pt x="3423" y="12648"/>
                    </a:lnTo>
                    <a:lnTo>
                      <a:pt x="3416" y="12649"/>
                    </a:lnTo>
                    <a:lnTo>
                      <a:pt x="3410" y="12649"/>
                    </a:lnTo>
                    <a:lnTo>
                      <a:pt x="3407" y="12647"/>
                    </a:lnTo>
                    <a:lnTo>
                      <a:pt x="3405" y="12645"/>
                    </a:lnTo>
                    <a:lnTo>
                      <a:pt x="3401" y="12642"/>
                    </a:lnTo>
                    <a:lnTo>
                      <a:pt x="3398" y="12641"/>
                    </a:lnTo>
                    <a:lnTo>
                      <a:pt x="3389" y="12625"/>
                    </a:lnTo>
                    <a:lnTo>
                      <a:pt x="3382" y="12610"/>
                    </a:lnTo>
                    <a:lnTo>
                      <a:pt x="3381" y="12596"/>
                    </a:lnTo>
                    <a:lnTo>
                      <a:pt x="3380" y="12582"/>
                    </a:lnTo>
                    <a:lnTo>
                      <a:pt x="3378" y="12578"/>
                    </a:lnTo>
                    <a:lnTo>
                      <a:pt x="3377" y="12576"/>
                    </a:lnTo>
                    <a:lnTo>
                      <a:pt x="3375" y="12575"/>
                    </a:lnTo>
                    <a:lnTo>
                      <a:pt x="3371" y="12574"/>
                    </a:lnTo>
                    <a:lnTo>
                      <a:pt x="3363" y="12574"/>
                    </a:lnTo>
                    <a:lnTo>
                      <a:pt x="3353" y="12576"/>
                    </a:lnTo>
                    <a:lnTo>
                      <a:pt x="3334" y="12581"/>
                    </a:lnTo>
                    <a:lnTo>
                      <a:pt x="3321" y="12582"/>
                    </a:lnTo>
                    <a:lnTo>
                      <a:pt x="3317" y="12568"/>
                    </a:lnTo>
                    <a:lnTo>
                      <a:pt x="3316" y="12552"/>
                    </a:lnTo>
                    <a:lnTo>
                      <a:pt x="3315" y="12546"/>
                    </a:lnTo>
                    <a:lnTo>
                      <a:pt x="3312" y="12539"/>
                    </a:lnTo>
                    <a:lnTo>
                      <a:pt x="3311" y="12536"/>
                    </a:lnTo>
                    <a:lnTo>
                      <a:pt x="3309" y="12534"/>
                    </a:lnTo>
                    <a:lnTo>
                      <a:pt x="3307" y="12534"/>
                    </a:lnTo>
                    <a:lnTo>
                      <a:pt x="3306" y="12536"/>
                    </a:lnTo>
                    <a:lnTo>
                      <a:pt x="3303" y="12536"/>
                    </a:lnTo>
                    <a:lnTo>
                      <a:pt x="3299" y="12537"/>
                    </a:lnTo>
                    <a:lnTo>
                      <a:pt x="3295" y="12539"/>
                    </a:lnTo>
                    <a:lnTo>
                      <a:pt x="3290" y="12542"/>
                    </a:lnTo>
                    <a:lnTo>
                      <a:pt x="3289" y="12543"/>
                    </a:lnTo>
                    <a:lnTo>
                      <a:pt x="3288" y="12545"/>
                    </a:lnTo>
                    <a:lnTo>
                      <a:pt x="3287" y="12546"/>
                    </a:lnTo>
                    <a:lnTo>
                      <a:pt x="3286" y="12546"/>
                    </a:lnTo>
                    <a:lnTo>
                      <a:pt x="3284" y="12547"/>
                    </a:lnTo>
                    <a:lnTo>
                      <a:pt x="3283" y="12547"/>
                    </a:lnTo>
                    <a:lnTo>
                      <a:pt x="3281" y="12547"/>
                    </a:lnTo>
                    <a:lnTo>
                      <a:pt x="3278" y="12547"/>
                    </a:lnTo>
                    <a:lnTo>
                      <a:pt x="3276" y="12545"/>
                    </a:lnTo>
                    <a:lnTo>
                      <a:pt x="3275" y="12543"/>
                    </a:lnTo>
                    <a:lnTo>
                      <a:pt x="3272" y="12542"/>
                    </a:lnTo>
                    <a:lnTo>
                      <a:pt x="3271" y="12540"/>
                    </a:lnTo>
                    <a:lnTo>
                      <a:pt x="3270" y="12539"/>
                    </a:lnTo>
                    <a:lnTo>
                      <a:pt x="3269" y="12536"/>
                    </a:lnTo>
                    <a:lnTo>
                      <a:pt x="3266" y="12534"/>
                    </a:lnTo>
                    <a:lnTo>
                      <a:pt x="3265" y="12530"/>
                    </a:lnTo>
                    <a:lnTo>
                      <a:pt x="3263" y="12528"/>
                    </a:lnTo>
                    <a:lnTo>
                      <a:pt x="3262" y="12527"/>
                    </a:lnTo>
                    <a:lnTo>
                      <a:pt x="3260" y="12522"/>
                    </a:lnTo>
                    <a:lnTo>
                      <a:pt x="3260" y="12516"/>
                    </a:lnTo>
                    <a:lnTo>
                      <a:pt x="3262" y="12511"/>
                    </a:lnTo>
                    <a:lnTo>
                      <a:pt x="3263" y="12506"/>
                    </a:lnTo>
                    <a:lnTo>
                      <a:pt x="3262" y="12494"/>
                    </a:lnTo>
                    <a:lnTo>
                      <a:pt x="3259" y="12482"/>
                    </a:lnTo>
                    <a:lnTo>
                      <a:pt x="3254" y="12470"/>
                    </a:lnTo>
                    <a:lnTo>
                      <a:pt x="3250" y="12458"/>
                    </a:lnTo>
                    <a:lnTo>
                      <a:pt x="3239" y="12436"/>
                    </a:lnTo>
                    <a:lnTo>
                      <a:pt x="3232" y="12413"/>
                    </a:lnTo>
                    <a:lnTo>
                      <a:pt x="3230" y="12412"/>
                    </a:lnTo>
                    <a:lnTo>
                      <a:pt x="3224" y="12413"/>
                    </a:lnTo>
                    <a:lnTo>
                      <a:pt x="3219" y="12415"/>
                    </a:lnTo>
                    <a:lnTo>
                      <a:pt x="3213" y="12417"/>
                    </a:lnTo>
                    <a:lnTo>
                      <a:pt x="3206" y="12421"/>
                    </a:lnTo>
                    <a:lnTo>
                      <a:pt x="3193" y="12429"/>
                    </a:lnTo>
                    <a:lnTo>
                      <a:pt x="3179" y="12441"/>
                    </a:lnTo>
                    <a:lnTo>
                      <a:pt x="3163" y="12454"/>
                    </a:lnTo>
                    <a:lnTo>
                      <a:pt x="3147" y="12470"/>
                    </a:lnTo>
                    <a:lnTo>
                      <a:pt x="3132" y="12487"/>
                    </a:lnTo>
                    <a:lnTo>
                      <a:pt x="3116" y="12503"/>
                    </a:lnTo>
                    <a:lnTo>
                      <a:pt x="3086" y="12536"/>
                    </a:lnTo>
                    <a:lnTo>
                      <a:pt x="3059" y="12564"/>
                    </a:lnTo>
                    <a:lnTo>
                      <a:pt x="3049" y="12575"/>
                    </a:lnTo>
                    <a:lnTo>
                      <a:pt x="3039" y="12583"/>
                    </a:lnTo>
                    <a:lnTo>
                      <a:pt x="3032" y="12589"/>
                    </a:lnTo>
                    <a:lnTo>
                      <a:pt x="3027" y="12590"/>
                    </a:lnTo>
                    <a:lnTo>
                      <a:pt x="3022" y="12578"/>
                    </a:lnTo>
                    <a:lnTo>
                      <a:pt x="3016" y="12568"/>
                    </a:lnTo>
                    <a:lnTo>
                      <a:pt x="3011" y="12568"/>
                    </a:lnTo>
                    <a:lnTo>
                      <a:pt x="3005" y="12569"/>
                    </a:lnTo>
                    <a:lnTo>
                      <a:pt x="2999" y="12571"/>
                    </a:lnTo>
                    <a:lnTo>
                      <a:pt x="2992" y="12575"/>
                    </a:lnTo>
                    <a:lnTo>
                      <a:pt x="2976" y="12584"/>
                    </a:lnTo>
                    <a:lnTo>
                      <a:pt x="2961" y="12596"/>
                    </a:lnTo>
                    <a:lnTo>
                      <a:pt x="2931" y="12624"/>
                    </a:lnTo>
                    <a:lnTo>
                      <a:pt x="2908" y="12643"/>
                    </a:lnTo>
                    <a:lnTo>
                      <a:pt x="2899" y="12648"/>
                    </a:lnTo>
                    <a:lnTo>
                      <a:pt x="2891" y="12652"/>
                    </a:lnTo>
                    <a:lnTo>
                      <a:pt x="2882" y="12654"/>
                    </a:lnTo>
                    <a:lnTo>
                      <a:pt x="2875" y="12657"/>
                    </a:lnTo>
                    <a:lnTo>
                      <a:pt x="2860" y="12660"/>
                    </a:lnTo>
                    <a:lnTo>
                      <a:pt x="2845" y="12664"/>
                    </a:lnTo>
                    <a:lnTo>
                      <a:pt x="2838" y="12666"/>
                    </a:lnTo>
                    <a:lnTo>
                      <a:pt x="2832" y="12670"/>
                    </a:lnTo>
                    <a:lnTo>
                      <a:pt x="2825" y="12675"/>
                    </a:lnTo>
                    <a:lnTo>
                      <a:pt x="2819" y="12679"/>
                    </a:lnTo>
                    <a:lnTo>
                      <a:pt x="2814" y="12687"/>
                    </a:lnTo>
                    <a:lnTo>
                      <a:pt x="2808" y="12695"/>
                    </a:lnTo>
                    <a:lnTo>
                      <a:pt x="2803" y="12706"/>
                    </a:lnTo>
                    <a:lnTo>
                      <a:pt x="2799" y="12718"/>
                    </a:lnTo>
                    <a:lnTo>
                      <a:pt x="2795" y="12731"/>
                    </a:lnTo>
                    <a:lnTo>
                      <a:pt x="2790" y="12740"/>
                    </a:lnTo>
                    <a:lnTo>
                      <a:pt x="2785" y="12747"/>
                    </a:lnTo>
                    <a:lnTo>
                      <a:pt x="2778" y="12752"/>
                    </a:lnTo>
                    <a:lnTo>
                      <a:pt x="2762" y="12759"/>
                    </a:lnTo>
                    <a:lnTo>
                      <a:pt x="2740" y="12768"/>
                    </a:lnTo>
                    <a:lnTo>
                      <a:pt x="2719" y="12779"/>
                    </a:lnTo>
                    <a:lnTo>
                      <a:pt x="2688" y="12797"/>
                    </a:lnTo>
                    <a:lnTo>
                      <a:pt x="2671" y="12806"/>
                    </a:lnTo>
                    <a:lnTo>
                      <a:pt x="2657" y="12813"/>
                    </a:lnTo>
                    <a:lnTo>
                      <a:pt x="2647" y="12818"/>
                    </a:lnTo>
                    <a:lnTo>
                      <a:pt x="2639" y="12819"/>
                    </a:lnTo>
                    <a:lnTo>
                      <a:pt x="2637" y="12808"/>
                    </a:lnTo>
                    <a:lnTo>
                      <a:pt x="2632" y="12800"/>
                    </a:lnTo>
                    <a:lnTo>
                      <a:pt x="2626" y="12793"/>
                    </a:lnTo>
                    <a:lnTo>
                      <a:pt x="2620" y="12788"/>
                    </a:lnTo>
                    <a:lnTo>
                      <a:pt x="2613" y="12783"/>
                    </a:lnTo>
                    <a:lnTo>
                      <a:pt x="2606" y="12781"/>
                    </a:lnTo>
                    <a:lnTo>
                      <a:pt x="2597" y="12778"/>
                    </a:lnTo>
                    <a:lnTo>
                      <a:pt x="2589" y="12776"/>
                    </a:lnTo>
                    <a:lnTo>
                      <a:pt x="2570" y="12774"/>
                    </a:lnTo>
                    <a:lnTo>
                      <a:pt x="2550" y="12773"/>
                    </a:lnTo>
                    <a:lnTo>
                      <a:pt x="2539" y="12773"/>
                    </a:lnTo>
                    <a:lnTo>
                      <a:pt x="2530" y="12772"/>
                    </a:lnTo>
                    <a:lnTo>
                      <a:pt x="2519" y="12770"/>
                    </a:lnTo>
                    <a:lnTo>
                      <a:pt x="2509" y="12767"/>
                    </a:lnTo>
                    <a:lnTo>
                      <a:pt x="2500" y="12764"/>
                    </a:lnTo>
                    <a:lnTo>
                      <a:pt x="2494" y="12760"/>
                    </a:lnTo>
                    <a:lnTo>
                      <a:pt x="2493" y="12759"/>
                    </a:lnTo>
                    <a:lnTo>
                      <a:pt x="2493" y="12758"/>
                    </a:lnTo>
                    <a:lnTo>
                      <a:pt x="2493" y="12756"/>
                    </a:lnTo>
                    <a:lnTo>
                      <a:pt x="2494" y="12755"/>
                    </a:lnTo>
                    <a:lnTo>
                      <a:pt x="2497" y="12753"/>
                    </a:lnTo>
                    <a:lnTo>
                      <a:pt x="2505" y="12750"/>
                    </a:lnTo>
                    <a:lnTo>
                      <a:pt x="2513" y="12749"/>
                    </a:lnTo>
                    <a:lnTo>
                      <a:pt x="2523" y="12748"/>
                    </a:lnTo>
                    <a:lnTo>
                      <a:pt x="2544" y="12746"/>
                    </a:lnTo>
                    <a:lnTo>
                      <a:pt x="2567" y="12743"/>
                    </a:lnTo>
                    <a:lnTo>
                      <a:pt x="2586" y="12743"/>
                    </a:lnTo>
                    <a:lnTo>
                      <a:pt x="2600" y="12743"/>
                    </a:lnTo>
                    <a:lnTo>
                      <a:pt x="2606" y="12717"/>
                    </a:lnTo>
                    <a:lnTo>
                      <a:pt x="2611" y="12690"/>
                    </a:lnTo>
                    <a:lnTo>
                      <a:pt x="2615" y="12664"/>
                    </a:lnTo>
                    <a:lnTo>
                      <a:pt x="2619" y="12636"/>
                    </a:lnTo>
                    <a:lnTo>
                      <a:pt x="2623" y="12608"/>
                    </a:lnTo>
                    <a:lnTo>
                      <a:pt x="2624" y="12581"/>
                    </a:lnTo>
                    <a:lnTo>
                      <a:pt x="2624" y="12553"/>
                    </a:lnTo>
                    <a:lnTo>
                      <a:pt x="2621" y="12525"/>
                    </a:lnTo>
                    <a:lnTo>
                      <a:pt x="2620" y="12507"/>
                    </a:lnTo>
                    <a:lnTo>
                      <a:pt x="2618" y="12488"/>
                    </a:lnTo>
                    <a:lnTo>
                      <a:pt x="2612" y="12469"/>
                    </a:lnTo>
                    <a:lnTo>
                      <a:pt x="2606" y="12450"/>
                    </a:lnTo>
                    <a:lnTo>
                      <a:pt x="2597" y="12432"/>
                    </a:lnTo>
                    <a:lnTo>
                      <a:pt x="2589" y="12413"/>
                    </a:lnTo>
                    <a:lnTo>
                      <a:pt x="2579" y="12397"/>
                    </a:lnTo>
                    <a:lnTo>
                      <a:pt x="2570" y="12381"/>
                    </a:lnTo>
                    <a:lnTo>
                      <a:pt x="2546" y="12351"/>
                    </a:lnTo>
                    <a:lnTo>
                      <a:pt x="2527" y="12328"/>
                    </a:lnTo>
                    <a:lnTo>
                      <a:pt x="2525" y="12323"/>
                    </a:lnTo>
                    <a:lnTo>
                      <a:pt x="2524" y="12317"/>
                    </a:lnTo>
                    <a:lnTo>
                      <a:pt x="2525" y="12312"/>
                    </a:lnTo>
                    <a:lnTo>
                      <a:pt x="2527" y="12306"/>
                    </a:lnTo>
                    <a:lnTo>
                      <a:pt x="2531" y="12300"/>
                    </a:lnTo>
                    <a:lnTo>
                      <a:pt x="2537" y="12296"/>
                    </a:lnTo>
                    <a:lnTo>
                      <a:pt x="2546" y="12288"/>
                    </a:lnTo>
                    <a:lnTo>
                      <a:pt x="2556" y="12282"/>
                    </a:lnTo>
                    <a:lnTo>
                      <a:pt x="2560" y="12250"/>
                    </a:lnTo>
                    <a:lnTo>
                      <a:pt x="2564" y="12219"/>
                    </a:lnTo>
                    <a:lnTo>
                      <a:pt x="2567" y="12204"/>
                    </a:lnTo>
                    <a:lnTo>
                      <a:pt x="2572" y="12190"/>
                    </a:lnTo>
                    <a:lnTo>
                      <a:pt x="2579" y="12176"/>
                    </a:lnTo>
                    <a:lnTo>
                      <a:pt x="2588" y="12163"/>
                    </a:lnTo>
                    <a:lnTo>
                      <a:pt x="2603" y="12141"/>
                    </a:lnTo>
                    <a:lnTo>
                      <a:pt x="2619" y="12119"/>
                    </a:lnTo>
                    <a:lnTo>
                      <a:pt x="2627" y="12109"/>
                    </a:lnTo>
                    <a:lnTo>
                      <a:pt x="2638" y="12101"/>
                    </a:lnTo>
                    <a:lnTo>
                      <a:pt x="2644" y="12097"/>
                    </a:lnTo>
                    <a:lnTo>
                      <a:pt x="2650" y="12095"/>
                    </a:lnTo>
                    <a:lnTo>
                      <a:pt x="2656" y="12093"/>
                    </a:lnTo>
                    <a:lnTo>
                      <a:pt x="2663" y="12093"/>
                    </a:lnTo>
                    <a:lnTo>
                      <a:pt x="2666" y="12089"/>
                    </a:lnTo>
                    <a:lnTo>
                      <a:pt x="2666" y="12083"/>
                    </a:lnTo>
                    <a:lnTo>
                      <a:pt x="2666" y="12075"/>
                    </a:lnTo>
                    <a:lnTo>
                      <a:pt x="2665" y="12067"/>
                    </a:lnTo>
                    <a:lnTo>
                      <a:pt x="2659" y="12050"/>
                    </a:lnTo>
                    <a:lnTo>
                      <a:pt x="2650" y="12031"/>
                    </a:lnTo>
                    <a:lnTo>
                      <a:pt x="2630" y="11993"/>
                    </a:lnTo>
                    <a:lnTo>
                      <a:pt x="2614" y="11968"/>
                    </a:lnTo>
                    <a:lnTo>
                      <a:pt x="2603" y="11949"/>
                    </a:lnTo>
                    <a:lnTo>
                      <a:pt x="2594" y="11930"/>
                    </a:lnTo>
                    <a:lnTo>
                      <a:pt x="2585" y="11909"/>
                    </a:lnTo>
                    <a:lnTo>
                      <a:pt x="2578" y="11890"/>
                    </a:lnTo>
                    <a:lnTo>
                      <a:pt x="2572" y="11870"/>
                    </a:lnTo>
                    <a:lnTo>
                      <a:pt x="2565" y="11850"/>
                    </a:lnTo>
                    <a:lnTo>
                      <a:pt x="2558" y="11830"/>
                    </a:lnTo>
                    <a:lnTo>
                      <a:pt x="2549" y="11809"/>
                    </a:lnTo>
                    <a:lnTo>
                      <a:pt x="2543" y="11797"/>
                    </a:lnTo>
                    <a:lnTo>
                      <a:pt x="2537" y="11785"/>
                    </a:lnTo>
                    <a:lnTo>
                      <a:pt x="2530" y="11774"/>
                    </a:lnTo>
                    <a:lnTo>
                      <a:pt x="2523" y="11762"/>
                    </a:lnTo>
                    <a:lnTo>
                      <a:pt x="2515" y="11750"/>
                    </a:lnTo>
                    <a:lnTo>
                      <a:pt x="2508" y="11740"/>
                    </a:lnTo>
                    <a:lnTo>
                      <a:pt x="2502" y="11726"/>
                    </a:lnTo>
                    <a:lnTo>
                      <a:pt x="2496" y="11713"/>
                    </a:lnTo>
                    <a:lnTo>
                      <a:pt x="2487" y="11691"/>
                    </a:lnTo>
                    <a:lnTo>
                      <a:pt x="2475" y="11667"/>
                    </a:lnTo>
                    <a:lnTo>
                      <a:pt x="2462" y="11643"/>
                    </a:lnTo>
                    <a:lnTo>
                      <a:pt x="2450" y="11623"/>
                    </a:lnTo>
                    <a:lnTo>
                      <a:pt x="2447" y="11617"/>
                    </a:lnTo>
                    <a:lnTo>
                      <a:pt x="2446" y="11608"/>
                    </a:lnTo>
                    <a:lnTo>
                      <a:pt x="2446" y="11599"/>
                    </a:lnTo>
                    <a:lnTo>
                      <a:pt x="2446" y="11589"/>
                    </a:lnTo>
                    <a:lnTo>
                      <a:pt x="2450" y="11566"/>
                    </a:lnTo>
                    <a:lnTo>
                      <a:pt x="2458" y="11542"/>
                    </a:lnTo>
                    <a:lnTo>
                      <a:pt x="2466" y="11517"/>
                    </a:lnTo>
                    <a:lnTo>
                      <a:pt x="2473" y="11493"/>
                    </a:lnTo>
                    <a:lnTo>
                      <a:pt x="2476" y="11482"/>
                    </a:lnTo>
                    <a:lnTo>
                      <a:pt x="2478" y="11471"/>
                    </a:lnTo>
                    <a:lnTo>
                      <a:pt x="2481" y="11462"/>
                    </a:lnTo>
                    <a:lnTo>
                      <a:pt x="2481" y="11452"/>
                    </a:lnTo>
                    <a:lnTo>
                      <a:pt x="2456" y="11453"/>
                    </a:lnTo>
                    <a:lnTo>
                      <a:pt x="2431" y="11454"/>
                    </a:lnTo>
                    <a:lnTo>
                      <a:pt x="2420" y="11456"/>
                    </a:lnTo>
                    <a:lnTo>
                      <a:pt x="2408" y="11456"/>
                    </a:lnTo>
                    <a:lnTo>
                      <a:pt x="2397" y="11456"/>
                    </a:lnTo>
                    <a:lnTo>
                      <a:pt x="2388" y="11454"/>
                    </a:lnTo>
                    <a:lnTo>
                      <a:pt x="2381" y="11452"/>
                    </a:lnTo>
                    <a:lnTo>
                      <a:pt x="2373" y="11447"/>
                    </a:lnTo>
                    <a:lnTo>
                      <a:pt x="2371" y="11445"/>
                    </a:lnTo>
                    <a:lnTo>
                      <a:pt x="2369" y="11442"/>
                    </a:lnTo>
                    <a:lnTo>
                      <a:pt x="2367" y="11439"/>
                    </a:lnTo>
                    <a:lnTo>
                      <a:pt x="2366" y="11435"/>
                    </a:lnTo>
                    <a:lnTo>
                      <a:pt x="2366" y="11427"/>
                    </a:lnTo>
                    <a:lnTo>
                      <a:pt x="2369" y="11415"/>
                    </a:lnTo>
                    <a:lnTo>
                      <a:pt x="2375" y="11401"/>
                    </a:lnTo>
                    <a:lnTo>
                      <a:pt x="2383" y="11386"/>
                    </a:lnTo>
                    <a:lnTo>
                      <a:pt x="2390" y="11372"/>
                    </a:lnTo>
                    <a:lnTo>
                      <a:pt x="2396" y="11359"/>
                    </a:lnTo>
                    <a:lnTo>
                      <a:pt x="2401" y="11345"/>
                    </a:lnTo>
                    <a:lnTo>
                      <a:pt x="2406" y="11330"/>
                    </a:lnTo>
                    <a:lnTo>
                      <a:pt x="2414" y="11300"/>
                    </a:lnTo>
                    <a:lnTo>
                      <a:pt x="2423" y="11270"/>
                    </a:lnTo>
                    <a:lnTo>
                      <a:pt x="2432" y="11241"/>
                    </a:lnTo>
                    <a:lnTo>
                      <a:pt x="2443" y="11212"/>
                    </a:lnTo>
                    <a:lnTo>
                      <a:pt x="2450" y="11199"/>
                    </a:lnTo>
                    <a:lnTo>
                      <a:pt x="2458" y="11187"/>
                    </a:lnTo>
                    <a:lnTo>
                      <a:pt x="2466" y="11175"/>
                    </a:lnTo>
                    <a:lnTo>
                      <a:pt x="2477" y="11163"/>
                    </a:lnTo>
                    <a:lnTo>
                      <a:pt x="2503" y="11141"/>
                    </a:lnTo>
                    <a:lnTo>
                      <a:pt x="2537" y="11116"/>
                    </a:lnTo>
                    <a:lnTo>
                      <a:pt x="2553" y="11102"/>
                    </a:lnTo>
                    <a:lnTo>
                      <a:pt x="2566" y="11088"/>
                    </a:lnTo>
                    <a:lnTo>
                      <a:pt x="2570" y="11081"/>
                    </a:lnTo>
                    <a:lnTo>
                      <a:pt x="2573" y="11075"/>
                    </a:lnTo>
                    <a:lnTo>
                      <a:pt x="2574" y="11069"/>
                    </a:lnTo>
                    <a:lnTo>
                      <a:pt x="2574" y="11063"/>
                    </a:lnTo>
                    <a:lnTo>
                      <a:pt x="2567" y="11063"/>
                    </a:lnTo>
                    <a:lnTo>
                      <a:pt x="2560" y="11066"/>
                    </a:lnTo>
                    <a:lnTo>
                      <a:pt x="2553" y="11068"/>
                    </a:lnTo>
                    <a:lnTo>
                      <a:pt x="2546" y="11072"/>
                    </a:lnTo>
                    <a:lnTo>
                      <a:pt x="2531" y="11079"/>
                    </a:lnTo>
                    <a:lnTo>
                      <a:pt x="2518" y="11085"/>
                    </a:lnTo>
                    <a:lnTo>
                      <a:pt x="2514" y="11086"/>
                    </a:lnTo>
                    <a:lnTo>
                      <a:pt x="2511" y="11085"/>
                    </a:lnTo>
                    <a:lnTo>
                      <a:pt x="2507" y="11084"/>
                    </a:lnTo>
                    <a:lnTo>
                      <a:pt x="2505" y="11082"/>
                    </a:lnTo>
                    <a:lnTo>
                      <a:pt x="2500" y="11076"/>
                    </a:lnTo>
                    <a:lnTo>
                      <a:pt x="2495" y="11072"/>
                    </a:lnTo>
                    <a:lnTo>
                      <a:pt x="2493" y="11067"/>
                    </a:lnTo>
                    <a:lnTo>
                      <a:pt x="2489" y="11066"/>
                    </a:lnTo>
                    <a:lnTo>
                      <a:pt x="2487" y="11070"/>
                    </a:lnTo>
                    <a:lnTo>
                      <a:pt x="2485" y="11081"/>
                    </a:lnTo>
                    <a:lnTo>
                      <a:pt x="2479" y="11117"/>
                    </a:lnTo>
                    <a:lnTo>
                      <a:pt x="2472" y="11122"/>
                    </a:lnTo>
                    <a:lnTo>
                      <a:pt x="2468" y="11126"/>
                    </a:lnTo>
                    <a:lnTo>
                      <a:pt x="2462" y="11127"/>
                    </a:lnTo>
                    <a:lnTo>
                      <a:pt x="2458" y="11131"/>
                    </a:lnTo>
                    <a:lnTo>
                      <a:pt x="2453" y="11135"/>
                    </a:lnTo>
                    <a:lnTo>
                      <a:pt x="2448" y="11141"/>
                    </a:lnTo>
                    <a:lnTo>
                      <a:pt x="2437" y="11157"/>
                    </a:lnTo>
                    <a:lnTo>
                      <a:pt x="2428" y="11175"/>
                    </a:lnTo>
                    <a:lnTo>
                      <a:pt x="2412" y="11212"/>
                    </a:lnTo>
                    <a:lnTo>
                      <a:pt x="2401" y="11239"/>
                    </a:lnTo>
                    <a:lnTo>
                      <a:pt x="2391" y="11258"/>
                    </a:lnTo>
                    <a:lnTo>
                      <a:pt x="2382" y="11275"/>
                    </a:lnTo>
                    <a:lnTo>
                      <a:pt x="2371" y="11291"/>
                    </a:lnTo>
                    <a:lnTo>
                      <a:pt x="2359" y="11306"/>
                    </a:lnTo>
                    <a:lnTo>
                      <a:pt x="2335" y="11336"/>
                    </a:lnTo>
                    <a:lnTo>
                      <a:pt x="2311" y="11368"/>
                    </a:lnTo>
                    <a:lnTo>
                      <a:pt x="2307" y="11375"/>
                    </a:lnTo>
                    <a:lnTo>
                      <a:pt x="2304" y="11386"/>
                    </a:lnTo>
                    <a:lnTo>
                      <a:pt x="2301" y="11398"/>
                    </a:lnTo>
                    <a:lnTo>
                      <a:pt x="2299" y="11411"/>
                    </a:lnTo>
                    <a:lnTo>
                      <a:pt x="2295" y="11423"/>
                    </a:lnTo>
                    <a:lnTo>
                      <a:pt x="2292" y="11434"/>
                    </a:lnTo>
                    <a:lnTo>
                      <a:pt x="2289" y="11437"/>
                    </a:lnTo>
                    <a:lnTo>
                      <a:pt x="2286" y="11441"/>
                    </a:lnTo>
                    <a:lnTo>
                      <a:pt x="2283" y="11445"/>
                    </a:lnTo>
                    <a:lnTo>
                      <a:pt x="2280" y="11446"/>
                    </a:lnTo>
                    <a:lnTo>
                      <a:pt x="2278" y="11450"/>
                    </a:lnTo>
                    <a:lnTo>
                      <a:pt x="2278" y="11454"/>
                    </a:lnTo>
                    <a:lnTo>
                      <a:pt x="2280" y="11458"/>
                    </a:lnTo>
                    <a:lnTo>
                      <a:pt x="2282" y="11463"/>
                    </a:lnTo>
                    <a:lnTo>
                      <a:pt x="2289" y="11471"/>
                    </a:lnTo>
                    <a:lnTo>
                      <a:pt x="2298" y="11480"/>
                    </a:lnTo>
                    <a:lnTo>
                      <a:pt x="2307" y="11489"/>
                    </a:lnTo>
                    <a:lnTo>
                      <a:pt x="2317" y="11498"/>
                    </a:lnTo>
                    <a:lnTo>
                      <a:pt x="2324" y="11505"/>
                    </a:lnTo>
                    <a:lnTo>
                      <a:pt x="2329" y="11512"/>
                    </a:lnTo>
                    <a:lnTo>
                      <a:pt x="2332" y="11525"/>
                    </a:lnTo>
                    <a:lnTo>
                      <a:pt x="2334" y="11537"/>
                    </a:lnTo>
                    <a:lnTo>
                      <a:pt x="2334" y="11551"/>
                    </a:lnTo>
                    <a:lnTo>
                      <a:pt x="2332" y="11565"/>
                    </a:lnTo>
                    <a:lnTo>
                      <a:pt x="2329" y="11592"/>
                    </a:lnTo>
                    <a:lnTo>
                      <a:pt x="2328" y="11618"/>
                    </a:lnTo>
                    <a:lnTo>
                      <a:pt x="2328" y="11630"/>
                    </a:lnTo>
                    <a:lnTo>
                      <a:pt x="2325" y="11640"/>
                    </a:lnTo>
                    <a:lnTo>
                      <a:pt x="2322" y="11648"/>
                    </a:lnTo>
                    <a:lnTo>
                      <a:pt x="2316" y="11655"/>
                    </a:lnTo>
                    <a:lnTo>
                      <a:pt x="2310" y="11661"/>
                    </a:lnTo>
                    <a:lnTo>
                      <a:pt x="2301" y="11666"/>
                    </a:lnTo>
                    <a:lnTo>
                      <a:pt x="2292" y="11671"/>
                    </a:lnTo>
                    <a:lnTo>
                      <a:pt x="2283" y="11675"/>
                    </a:lnTo>
                    <a:lnTo>
                      <a:pt x="2261" y="11681"/>
                    </a:lnTo>
                    <a:lnTo>
                      <a:pt x="2241" y="11687"/>
                    </a:lnTo>
                    <a:lnTo>
                      <a:pt x="2231" y="11691"/>
                    </a:lnTo>
                    <a:lnTo>
                      <a:pt x="2222" y="11696"/>
                    </a:lnTo>
                    <a:lnTo>
                      <a:pt x="2212" y="11701"/>
                    </a:lnTo>
                    <a:lnTo>
                      <a:pt x="2205" y="11708"/>
                    </a:lnTo>
                    <a:lnTo>
                      <a:pt x="2194" y="11717"/>
                    </a:lnTo>
                    <a:lnTo>
                      <a:pt x="2182" y="11726"/>
                    </a:lnTo>
                    <a:lnTo>
                      <a:pt x="2169" y="11735"/>
                    </a:lnTo>
                    <a:lnTo>
                      <a:pt x="2154" y="11743"/>
                    </a:lnTo>
                    <a:lnTo>
                      <a:pt x="2140" y="11750"/>
                    </a:lnTo>
                    <a:lnTo>
                      <a:pt x="2125" y="11756"/>
                    </a:lnTo>
                    <a:lnTo>
                      <a:pt x="2111" y="11761"/>
                    </a:lnTo>
                    <a:lnTo>
                      <a:pt x="2098" y="11765"/>
                    </a:lnTo>
                    <a:lnTo>
                      <a:pt x="2081" y="11771"/>
                    </a:lnTo>
                    <a:lnTo>
                      <a:pt x="2064" y="11777"/>
                    </a:lnTo>
                    <a:lnTo>
                      <a:pt x="2050" y="11784"/>
                    </a:lnTo>
                    <a:lnTo>
                      <a:pt x="2034" y="11792"/>
                    </a:lnTo>
                    <a:lnTo>
                      <a:pt x="2020" y="11800"/>
                    </a:lnTo>
                    <a:lnTo>
                      <a:pt x="2003" y="11806"/>
                    </a:lnTo>
                    <a:lnTo>
                      <a:pt x="1986" y="11812"/>
                    </a:lnTo>
                    <a:lnTo>
                      <a:pt x="1965" y="11815"/>
                    </a:lnTo>
                    <a:lnTo>
                      <a:pt x="1929" y="11819"/>
                    </a:lnTo>
                    <a:lnTo>
                      <a:pt x="1892" y="11821"/>
                    </a:lnTo>
                    <a:lnTo>
                      <a:pt x="1855" y="11823"/>
                    </a:lnTo>
                    <a:lnTo>
                      <a:pt x="1817" y="11821"/>
                    </a:lnTo>
                    <a:lnTo>
                      <a:pt x="1795" y="11820"/>
                    </a:lnTo>
                    <a:lnTo>
                      <a:pt x="1768" y="11818"/>
                    </a:lnTo>
                    <a:lnTo>
                      <a:pt x="1754" y="11817"/>
                    </a:lnTo>
                    <a:lnTo>
                      <a:pt x="1739" y="11814"/>
                    </a:lnTo>
                    <a:lnTo>
                      <a:pt x="1725" y="11811"/>
                    </a:lnTo>
                    <a:lnTo>
                      <a:pt x="1710" y="11807"/>
                    </a:lnTo>
                    <a:lnTo>
                      <a:pt x="1697" y="11802"/>
                    </a:lnTo>
                    <a:lnTo>
                      <a:pt x="1684" y="11797"/>
                    </a:lnTo>
                    <a:lnTo>
                      <a:pt x="1672" y="11790"/>
                    </a:lnTo>
                    <a:lnTo>
                      <a:pt x="1661" y="11783"/>
                    </a:lnTo>
                    <a:lnTo>
                      <a:pt x="1651" y="11774"/>
                    </a:lnTo>
                    <a:lnTo>
                      <a:pt x="1645" y="11766"/>
                    </a:lnTo>
                    <a:lnTo>
                      <a:pt x="1642" y="11760"/>
                    </a:lnTo>
                    <a:lnTo>
                      <a:pt x="1639" y="11755"/>
                    </a:lnTo>
                    <a:lnTo>
                      <a:pt x="1638" y="11749"/>
                    </a:lnTo>
                    <a:lnTo>
                      <a:pt x="1637" y="11743"/>
                    </a:lnTo>
                    <a:lnTo>
                      <a:pt x="1637" y="11731"/>
                    </a:lnTo>
                    <a:lnTo>
                      <a:pt x="1639" y="11718"/>
                    </a:lnTo>
                    <a:lnTo>
                      <a:pt x="1643" y="11705"/>
                    </a:lnTo>
                    <a:lnTo>
                      <a:pt x="1648" y="11693"/>
                    </a:lnTo>
                    <a:lnTo>
                      <a:pt x="1653" y="11681"/>
                    </a:lnTo>
                    <a:lnTo>
                      <a:pt x="1656" y="11670"/>
                    </a:lnTo>
                    <a:lnTo>
                      <a:pt x="1659" y="11661"/>
                    </a:lnTo>
                    <a:lnTo>
                      <a:pt x="1660" y="11655"/>
                    </a:lnTo>
                    <a:lnTo>
                      <a:pt x="1659" y="11654"/>
                    </a:lnTo>
                    <a:lnTo>
                      <a:pt x="1657" y="11654"/>
                    </a:lnTo>
                    <a:lnTo>
                      <a:pt x="1643" y="11648"/>
                    </a:lnTo>
                    <a:lnTo>
                      <a:pt x="1613" y="11634"/>
                    </a:lnTo>
                    <a:lnTo>
                      <a:pt x="1595" y="11625"/>
                    </a:lnTo>
                    <a:lnTo>
                      <a:pt x="1579" y="11617"/>
                    </a:lnTo>
                    <a:lnTo>
                      <a:pt x="1566" y="11610"/>
                    </a:lnTo>
                    <a:lnTo>
                      <a:pt x="1559" y="11604"/>
                    </a:lnTo>
                    <a:lnTo>
                      <a:pt x="1549" y="11593"/>
                    </a:lnTo>
                    <a:lnTo>
                      <a:pt x="1541" y="11582"/>
                    </a:lnTo>
                    <a:lnTo>
                      <a:pt x="1533" y="11570"/>
                    </a:lnTo>
                    <a:lnTo>
                      <a:pt x="1526" y="11557"/>
                    </a:lnTo>
                    <a:lnTo>
                      <a:pt x="1514" y="11531"/>
                    </a:lnTo>
                    <a:lnTo>
                      <a:pt x="1502" y="11506"/>
                    </a:lnTo>
                    <a:lnTo>
                      <a:pt x="1497" y="11499"/>
                    </a:lnTo>
                    <a:lnTo>
                      <a:pt x="1492" y="11493"/>
                    </a:lnTo>
                    <a:lnTo>
                      <a:pt x="1486" y="11486"/>
                    </a:lnTo>
                    <a:lnTo>
                      <a:pt x="1480" y="11480"/>
                    </a:lnTo>
                    <a:lnTo>
                      <a:pt x="1473" y="11474"/>
                    </a:lnTo>
                    <a:lnTo>
                      <a:pt x="1467" y="11466"/>
                    </a:lnTo>
                    <a:lnTo>
                      <a:pt x="1461" y="11460"/>
                    </a:lnTo>
                    <a:lnTo>
                      <a:pt x="1456" y="11452"/>
                    </a:lnTo>
                    <a:lnTo>
                      <a:pt x="1450" y="11439"/>
                    </a:lnTo>
                    <a:lnTo>
                      <a:pt x="1447" y="11428"/>
                    </a:lnTo>
                    <a:lnTo>
                      <a:pt x="1444" y="11418"/>
                    </a:lnTo>
                    <a:lnTo>
                      <a:pt x="1443" y="11410"/>
                    </a:lnTo>
                    <a:lnTo>
                      <a:pt x="1441" y="11407"/>
                    </a:lnTo>
                    <a:lnTo>
                      <a:pt x="1439" y="11405"/>
                    </a:lnTo>
                    <a:lnTo>
                      <a:pt x="1436" y="11403"/>
                    </a:lnTo>
                    <a:lnTo>
                      <a:pt x="1433" y="11403"/>
                    </a:lnTo>
                    <a:lnTo>
                      <a:pt x="1429" y="11403"/>
                    </a:lnTo>
                    <a:lnTo>
                      <a:pt x="1424" y="11403"/>
                    </a:lnTo>
                    <a:lnTo>
                      <a:pt x="1417" y="11405"/>
                    </a:lnTo>
                    <a:lnTo>
                      <a:pt x="1408" y="11407"/>
                    </a:lnTo>
                    <a:lnTo>
                      <a:pt x="1400" y="11411"/>
                    </a:lnTo>
                    <a:lnTo>
                      <a:pt x="1390" y="11412"/>
                    </a:lnTo>
                    <a:lnTo>
                      <a:pt x="1381" y="11412"/>
                    </a:lnTo>
                    <a:lnTo>
                      <a:pt x="1372" y="11412"/>
                    </a:lnTo>
                    <a:lnTo>
                      <a:pt x="1364" y="11410"/>
                    </a:lnTo>
                    <a:lnTo>
                      <a:pt x="1355" y="11407"/>
                    </a:lnTo>
                    <a:lnTo>
                      <a:pt x="1347" y="11405"/>
                    </a:lnTo>
                    <a:lnTo>
                      <a:pt x="1338" y="11401"/>
                    </a:lnTo>
                    <a:lnTo>
                      <a:pt x="1323" y="11392"/>
                    </a:lnTo>
                    <a:lnTo>
                      <a:pt x="1308" y="11380"/>
                    </a:lnTo>
                    <a:lnTo>
                      <a:pt x="1295" y="11368"/>
                    </a:lnTo>
                    <a:lnTo>
                      <a:pt x="1283" y="11354"/>
                    </a:lnTo>
                    <a:lnTo>
                      <a:pt x="1261" y="11328"/>
                    </a:lnTo>
                    <a:lnTo>
                      <a:pt x="1242" y="11305"/>
                    </a:lnTo>
                    <a:lnTo>
                      <a:pt x="1240" y="11299"/>
                    </a:lnTo>
                    <a:lnTo>
                      <a:pt x="1239" y="11294"/>
                    </a:lnTo>
                    <a:lnTo>
                      <a:pt x="1239" y="11289"/>
                    </a:lnTo>
                    <a:lnTo>
                      <a:pt x="1240" y="11285"/>
                    </a:lnTo>
                    <a:lnTo>
                      <a:pt x="1245" y="11280"/>
                    </a:lnTo>
                    <a:lnTo>
                      <a:pt x="1251" y="11275"/>
                    </a:lnTo>
                    <a:lnTo>
                      <a:pt x="1259" y="11270"/>
                    </a:lnTo>
                    <a:lnTo>
                      <a:pt x="1271" y="11265"/>
                    </a:lnTo>
                    <a:lnTo>
                      <a:pt x="1290" y="11250"/>
                    </a:lnTo>
                    <a:lnTo>
                      <a:pt x="1306" y="11237"/>
                    </a:lnTo>
                    <a:lnTo>
                      <a:pt x="1307" y="11224"/>
                    </a:lnTo>
                    <a:lnTo>
                      <a:pt x="1308" y="11216"/>
                    </a:lnTo>
                    <a:lnTo>
                      <a:pt x="1307" y="11209"/>
                    </a:lnTo>
                    <a:lnTo>
                      <a:pt x="1305" y="11205"/>
                    </a:lnTo>
                    <a:lnTo>
                      <a:pt x="1302" y="11204"/>
                    </a:lnTo>
                    <a:lnTo>
                      <a:pt x="1300" y="11203"/>
                    </a:lnTo>
                    <a:lnTo>
                      <a:pt x="1296" y="11203"/>
                    </a:lnTo>
                    <a:lnTo>
                      <a:pt x="1293" y="11203"/>
                    </a:lnTo>
                    <a:lnTo>
                      <a:pt x="1282" y="11204"/>
                    </a:lnTo>
                    <a:lnTo>
                      <a:pt x="1267" y="11208"/>
                    </a:lnTo>
                    <a:lnTo>
                      <a:pt x="1243" y="11217"/>
                    </a:lnTo>
                    <a:lnTo>
                      <a:pt x="1216" y="11228"/>
                    </a:lnTo>
                    <a:lnTo>
                      <a:pt x="1202" y="11233"/>
                    </a:lnTo>
                    <a:lnTo>
                      <a:pt x="1188" y="11235"/>
                    </a:lnTo>
                    <a:lnTo>
                      <a:pt x="1182" y="11237"/>
                    </a:lnTo>
                    <a:lnTo>
                      <a:pt x="1176" y="11237"/>
                    </a:lnTo>
                    <a:lnTo>
                      <a:pt x="1170" y="11235"/>
                    </a:lnTo>
                    <a:lnTo>
                      <a:pt x="1165" y="11234"/>
                    </a:lnTo>
                    <a:lnTo>
                      <a:pt x="1158" y="11230"/>
                    </a:lnTo>
                    <a:lnTo>
                      <a:pt x="1153" y="11226"/>
                    </a:lnTo>
                    <a:lnTo>
                      <a:pt x="1147" y="11220"/>
                    </a:lnTo>
                    <a:lnTo>
                      <a:pt x="1143" y="11214"/>
                    </a:lnTo>
                    <a:lnTo>
                      <a:pt x="1139" y="11208"/>
                    </a:lnTo>
                    <a:lnTo>
                      <a:pt x="1134" y="11202"/>
                    </a:lnTo>
                    <a:lnTo>
                      <a:pt x="1129" y="11197"/>
                    </a:lnTo>
                    <a:lnTo>
                      <a:pt x="1123" y="11193"/>
                    </a:lnTo>
                    <a:lnTo>
                      <a:pt x="1123" y="11191"/>
                    </a:lnTo>
                    <a:lnTo>
                      <a:pt x="1122" y="11188"/>
                    </a:lnTo>
                    <a:lnTo>
                      <a:pt x="1136" y="11182"/>
                    </a:lnTo>
                    <a:lnTo>
                      <a:pt x="1148" y="11178"/>
                    </a:lnTo>
                    <a:lnTo>
                      <a:pt x="1160" y="11173"/>
                    </a:lnTo>
                    <a:lnTo>
                      <a:pt x="1171" y="11167"/>
                    </a:lnTo>
                    <a:lnTo>
                      <a:pt x="1193" y="11152"/>
                    </a:lnTo>
                    <a:lnTo>
                      <a:pt x="1217" y="11134"/>
                    </a:lnTo>
                    <a:lnTo>
                      <a:pt x="1239" y="11117"/>
                    </a:lnTo>
                    <a:lnTo>
                      <a:pt x="1269" y="11092"/>
                    </a:lnTo>
                    <a:lnTo>
                      <a:pt x="1283" y="11078"/>
                    </a:lnTo>
                    <a:lnTo>
                      <a:pt x="1294" y="11064"/>
                    </a:lnTo>
                    <a:lnTo>
                      <a:pt x="1297" y="11058"/>
                    </a:lnTo>
                    <a:lnTo>
                      <a:pt x="1301" y="11052"/>
                    </a:lnTo>
                    <a:lnTo>
                      <a:pt x="1302" y="11048"/>
                    </a:lnTo>
                    <a:lnTo>
                      <a:pt x="1301" y="11043"/>
                    </a:lnTo>
                    <a:lnTo>
                      <a:pt x="1297" y="11026"/>
                    </a:lnTo>
                    <a:lnTo>
                      <a:pt x="1294" y="11008"/>
                    </a:lnTo>
                    <a:lnTo>
                      <a:pt x="1291" y="10991"/>
                    </a:lnTo>
                    <a:lnTo>
                      <a:pt x="1290" y="10973"/>
                    </a:lnTo>
                    <a:lnTo>
                      <a:pt x="1289" y="10948"/>
                    </a:lnTo>
                    <a:lnTo>
                      <a:pt x="1287" y="10927"/>
                    </a:lnTo>
                    <a:lnTo>
                      <a:pt x="1284" y="10918"/>
                    </a:lnTo>
                    <a:lnTo>
                      <a:pt x="1279" y="10909"/>
                    </a:lnTo>
                    <a:lnTo>
                      <a:pt x="1276" y="10904"/>
                    </a:lnTo>
                    <a:lnTo>
                      <a:pt x="1271" y="10901"/>
                    </a:lnTo>
                    <a:lnTo>
                      <a:pt x="1265" y="10897"/>
                    </a:lnTo>
                    <a:lnTo>
                      <a:pt x="1259" y="10892"/>
                    </a:lnTo>
                    <a:lnTo>
                      <a:pt x="1252" y="10889"/>
                    </a:lnTo>
                    <a:lnTo>
                      <a:pt x="1246" y="10883"/>
                    </a:lnTo>
                    <a:lnTo>
                      <a:pt x="1240" y="10878"/>
                    </a:lnTo>
                    <a:lnTo>
                      <a:pt x="1236" y="10872"/>
                    </a:lnTo>
                    <a:lnTo>
                      <a:pt x="1229" y="10860"/>
                    </a:lnTo>
                    <a:lnTo>
                      <a:pt x="1223" y="10845"/>
                    </a:lnTo>
                    <a:lnTo>
                      <a:pt x="1216" y="10831"/>
                    </a:lnTo>
                    <a:lnTo>
                      <a:pt x="1207" y="10815"/>
                    </a:lnTo>
                    <a:lnTo>
                      <a:pt x="1206" y="10810"/>
                    </a:lnTo>
                    <a:lnTo>
                      <a:pt x="1206" y="10807"/>
                    </a:lnTo>
                    <a:lnTo>
                      <a:pt x="1206" y="10804"/>
                    </a:lnTo>
                    <a:lnTo>
                      <a:pt x="1206" y="10801"/>
                    </a:lnTo>
                    <a:lnTo>
                      <a:pt x="1208" y="10798"/>
                    </a:lnTo>
                    <a:lnTo>
                      <a:pt x="1211" y="10797"/>
                    </a:lnTo>
                    <a:lnTo>
                      <a:pt x="1214" y="10796"/>
                    </a:lnTo>
                    <a:lnTo>
                      <a:pt x="1219" y="10795"/>
                    </a:lnTo>
                    <a:lnTo>
                      <a:pt x="1239" y="10797"/>
                    </a:lnTo>
                    <a:lnTo>
                      <a:pt x="1260" y="10800"/>
                    </a:lnTo>
                    <a:lnTo>
                      <a:pt x="1272" y="10800"/>
                    </a:lnTo>
                    <a:lnTo>
                      <a:pt x="1282" y="10798"/>
                    </a:lnTo>
                    <a:lnTo>
                      <a:pt x="1287" y="10798"/>
                    </a:lnTo>
                    <a:lnTo>
                      <a:pt x="1291" y="10796"/>
                    </a:lnTo>
                    <a:lnTo>
                      <a:pt x="1295" y="10795"/>
                    </a:lnTo>
                    <a:lnTo>
                      <a:pt x="1299" y="10792"/>
                    </a:lnTo>
                    <a:lnTo>
                      <a:pt x="1294" y="10785"/>
                    </a:lnTo>
                    <a:lnTo>
                      <a:pt x="1287" y="10776"/>
                    </a:lnTo>
                    <a:lnTo>
                      <a:pt x="1275" y="10765"/>
                    </a:lnTo>
                    <a:lnTo>
                      <a:pt x="1263" y="10754"/>
                    </a:lnTo>
                    <a:lnTo>
                      <a:pt x="1236" y="10732"/>
                    </a:lnTo>
                    <a:lnTo>
                      <a:pt x="1217" y="10718"/>
                    </a:lnTo>
                    <a:lnTo>
                      <a:pt x="1207" y="10701"/>
                    </a:lnTo>
                    <a:lnTo>
                      <a:pt x="1195" y="10679"/>
                    </a:lnTo>
                    <a:lnTo>
                      <a:pt x="1188" y="10668"/>
                    </a:lnTo>
                    <a:lnTo>
                      <a:pt x="1182" y="10661"/>
                    </a:lnTo>
                    <a:lnTo>
                      <a:pt x="1178" y="10658"/>
                    </a:lnTo>
                    <a:lnTo>
                      <a:pt x="1174" y="10656"/>
                    </a:lnTo>
                    <a:lnTo>
                      <a:pt x="1170" y="10656"/>
                    </a:lnTo>
                    <a:lnTo>
                      <a:pt x="1166" y="10658"/>
                    </a:lnTo>
                    <a:lnTo>
                      <a:pt x="1161" y="10660"/>
                    </a:lnTo>
                    <a:lnTo>
                      <a:pt x="1157" y="10665"/>
                    </a:lnTo>
                    <a:lnTo>
                      <a:pt x="1152" y="10670"/>
                    </a:lnTo>
                    <a:lnTo>
                      <a:pt x="1148" y="10675"/>
                    </a:lnTo>
                    <a:lnTo>
                      <a:pt x="1142" y="10687"/>
                    </a:lnTo>
                    <a:lnTo>
                      <a:pt x="1137" y="10700"/>
                    </a:lnTo>
                    <a:lnTo>
                      <a:pt x="1135" y="10714"/>
                    </a:lnTo>
                    <a:lnTo>
                      <a:pt x="1133" y="10729"/>
                    </a:lnTo>
                    <a:lnTo>
                      <a:pt x="1131" y="10742"/>
                    </a:lnTo>
                    <a:lnTo>
                      <a:pt x="1131" y="10754"/>
                    </a:lnTo>
                    <a:lnTo>
                      <a:pt x="1121" y="10752"/>
                    </a:lnTo>
                    <a:lnTo>
                      <a:pt x="1105" y="10746"/>
                    </a:lnTo>
                    <a:lnTo>
                      <a:pt x="1088" y="10739"/>
                    </a:lnTo>
                    <a:lnTo>
                      <a:pt x="1074" y="10736"/>
                    </a:lnTo>
                    <a:lnTo>
                      <a:pt x="1065" y="10733"/>
                    </a:lnTo>
                    <a:lnTo>
                      <a:pt x="1058" y="10732"/>
                    </a:lnTo>
                    <a:lnTo>
                      <a:pt x="1052" y="10729"/>
                    </a:lnTo>
                    <a:lnTo>
                      <a:pt x="1047" y="10725"/>
                    </a:lnTo>
                    <a:lnTo>
                      <a:pt x="1044" y="10720"/>
                    </a:lnTo>
                    <a:lnTo>
                      <a:pt x="1041" y="10715"/>
                    </a:lnTo>
                    <a:lnTo>
                      <a:pt x="1040" y="10708"/>
                    </a:lnTo>
                    <a:lnTo>
                      <a:pt x="1040" y="10700"/>
                    </a:lnTo>
                    <a:lnTo>
                      <a:pt x="1042" y="10673"/>
                    </a:lnTo>
                    <a:lnTo>
                      <a:pt x="1042" y="10631"/>
                    </a:lnTo>
                    <a:lnTo>
                      <a:pt x="1041" y="10611"/>
                    </a:lnTo>
                    <a:lnTo>
                      <a:pt x="1039" y="10591"/>
                    </a:lnTo>
                    <a:lnTo>
                      <a:pt x="1038" y="10584"/>
                    </a:lnTo>
                    <a:lnTo>
                      <a:pt x="1036" y="10577"/>
                    </a:lnTo>
                    <a:lnTo>
                      <a:pt x="1034" y="10572"/>
                    </a:lnTo>
                    <a:lnTo>
                      <a:pt x="1032" y="10569"/>
                    </a:lnTo>
                    <a:lnTo>
                      <a:pt x="1025" y="10566"/>
                    </a:lnTo>
                    <a:lnTo>
                      <a:pt x="1016" y="10563"/>
                    </a:lnTo>
                    <a:lnTo>
                      <a:pt x="1004" y="10561"/>
                    </a:lnTo>
                    <a:lnTo>
                      <a:pt x="991" y="10560"/>
                    </a:lnTo>
                    <a:lnTo>
                      <a:pt x="965" y="10558"/>
                    </a:lnTo>
                    <a:lnTo>
                      <a:pt x="945" y="10554"/>
                    </a:lnTo>
                    <a:lnTo>
                      <a:pt x="939" y="10552"/>
                    </a:lnTo>
                    <a:lnTo>
                      <a:pt x="934" y="10549"/>
                    </a:lnTo>
                    <a:lnTo>
                      <a:pt x="930" y="10546"/>
                    </a:lnTo>
                    <a:lnTo>
                      <a:pt x="927" y="10541"/>
                    </a:lnTo>
                    <a:lnTo>
                      <a:pt x="922" y="10529"/>
                    </a:lnTo>
                    <a:lnTo>
                      <a:pt x="920" y="10517"/>
                    </a:lnTo>
                    <a:lnTo>
                      <a:pt x="916" y="10489"/>
                    </a:lnTo>
                    <a:lnTo>
                      <a:pt x="911" y="10466"/>
                    </a:lnTo>
                    <a:lnTo>
                      <a:pt x="910" y="10463"/>
                    </a:lnTo>
                    <a:lnTo>
                      <a:pt x="910" y="10459"/>
                    </a:lnTo>
                    <a:lnTo>
                      <a:pt x="911" y="10457"/>
                    </a:lnTo>
                    <a:lnTo>
                      <a:pt x="912" y="10454"/>
                    </a:lnTo>
                    <a:lnTo>
                      <a:pt x="916" y="10451"/>
                    </a:lnTo>
                    <a:lnTo>
                      <a:pt x="923" y="10447"/>
                    </a:lnTo>
                    <a:lnTo>
                      <a:pt x="938" y="10443"/>
                    </a:lnTo>
                    <a:lnTo>
                      <a:pt x="951" y="10439"/>
                    </a:lnTo>
                    <a:lnTo>
                      <a:pt x="963" y="10431"/>
                    </a:lnTo>
                    <a:lnTo>
                      <a:pt x="971" y="10424"/>
                    </a:lnTo>
                    <a:lnTo>
                      <a:pt x="977" y="10417"/>
                    </a:lnTo>
                    <a:lnTo>
                      <a:pt x="981" y="10409"/>
                    </a:lnTo>
                    <a:lnTo>
                      <a:pt x="981" y="10400"/>
                    </a:lnTo>
                    <a:lnTo>
                      <a:pt x="980" y="10393"/>
                    </a:lnTo>
                    <a:lnTo>
                      <a:pt x="977" y="10384"/>
                    </a:lnTo>
                    <a:lnTo>
                      <a:pt x="971" y="10377"/>
                    </a:lnTo>
                    <a:lnTo>
                      <a:pt x="965" y="10370"/>
                    </a:lnTo>
                    <a:lnTo>
                      <a:pt x="958" y="10363"/>
                    </a:lnTo>
                    <a:lnTo>
                      <a:pt x="948" y="10357"/>
                    </a:lnTo>
                    <a:lnTo>
                      <a:pt x="939" y="10352"/>
                    </a:lnTo>
                    <a:lnTo>
                      <a:pt x="929" y="10348"/>
                    </a:lnTo>
                    <a:lnTo>
                      <a:pt x="918" y="10345"/>
                    </a:lnTo>
                    <a:lnTo>
                      <a:pt x="909" y="10342"/>
                    </a:lnTo>
                    <a:lnTo>
                      <a:pt x="898" y="10342"/>
                    </a:lnTo>
                    <a:lnTo>
                      <a:pt x="886" y="10344"/>
                    </a:lnTo>
                    <a:lnTo>
                      <a:pt x="874" y="10347"/>
                    </a:lnTo>
                    <a:lnTo>
                      <a:pt x="863" y="10352"/>
                    </a:lnTo>
                    <a:lnTo>
                      <a:pt x="851" y="10358"/>
                    </a:lnTo>
                    <a:lnTo>
                      <a:pt x="841" y="10364"/>
                    </a:lnTo>
                    <a:lnTo>
                      <a:pt x="831" y="10369"/>
                    </a:lnTo>
                    <a:lnTo>
                      <a:pt x="820" y="10372"/>
                    </a:lnTo>
                    <a:lnTo>
                      <a:pt x="809" y="10374"/>
                    </a:lnTo>
                    <a:lnTo>
                      <a:pt x="808" y="10372"/>
                    </a:lnTo>
                    <a:lnTo>
                      <a:pt x="805" y="10371"/>
                    </a:lnTo>
                    <a:lnTo>
                      <a:pt x="804" y="10352"/>
                    </a:lnTo>
                    <a:lnTo>
                      <a:pt x="800" y="10333"/>
                    </a:lnTo>
                    <a:lnTo>
                      <a:pt x="796" y="10312"/>
                    </a:lnTo>
                    <a:lnTo>
                      <a:pt x="793" y="10293"/>
                    </a:lnTo>
                    <a:lnTo>
                      <a:pt x="794" y="10269"/>
                    </a:lnTo>
                    <a:lnTo>
                      <a:pt x="799" y="10235"/>
                    </a:lnTo>
                    <a:lnTo>
                      <a:pt x="802" y="10220"/>
                    </a:lnTo>
                    <a:lnTo>
                      <a:pt x="804" y="10208"/>
                    </a:lnTo>
                    <a:lnTo>
                      <a:pt x="805" y="10203"/>
                    </a:lnTo>
                    <a:lnTo>
                      <a:pt x="806" y="10200"/>
                    </a:lnTo>
                    <a:lnTo>
                      <a:pt x="808" y="10199"/>
                    </a:lnTo>
                    <a:lnTo>
                      <a:pt x="808" y="10200"/>
                    </a:lnTo>
                    <a:lnTo>
                      <a:pt x="810" y="10200"/>
                    </a:lnTo>
                    <a:lnTo>
                      <a:pt x="812" y="10202"/>
                    </a:lnTo>
                    <a:lnTo>
                      <a:pt x="814" y="10205"/>
                    </a:lnTo>
                    <a:lnTo>
                      <a:pt x="816" y="10209"/>
                    </a:lnTo>
                    <a:lnTo>
                      <a:pt x="820" y="10217"/>
                    </a:lnTo>
                    <a:lnTo>
                      <a:pt x="823" y="10227"/>
                    </a:lnTo>
                    <a:lnTo>
                      <a:pt x="829" y="10247"/>
                    </a:lnTo>
                    <a:lnTo>
                      <a:pt x="833" y="10261"/>
                    </a:lnTo>
                    <a:lnTo>
                      <a:pt x="852" y="10259"/>
                    </a:lnTo>
                    <a:lnTo>
                      <a:pt x="870" y="10257"/>
                    </a:lnTo>
                    <a:lnTo>
                      <a:pt x="888" y="10253"/>
                    </a:lnTo>
                    <a:lnTo>
                      <a:pt x="905" y="10248"/>
                    </a:lnTo>
                    <a:lnTo>
                      <a:pt x="939" y="10236"/>
                    </a:lnTo>
                    <a:lnTo>
                      <a:pt x="975" y="10227"/>
                    </a:lnTo>
                    <a:lnTo>
                      <a:pt x="974" y="10224"/>
                    </a:lnTo>
                    <a:lnTo>
                      <a:pt x="971" y="10223"/>
                    </a:lnTo>
                    <a:lnTo>
                      <a:pt x="967" y="10221"/>
                    </a:lnTo>
                    <a:lnTo>
                      <a:pt x="962" y="10220"/>
                    </a:lnTo>
                    <a:lnTo>
                      <a:pt x="948" y="10216"/>
                    </a:lnTo>
                    <a:lnTo>
                      <a:pt x="933" y="10212"/>
                    </a:lnTo>
                    <a:lnTo>
                      <a:pt x="918" y="10208"/>
                    </a:lnTo>
                    <a:lnTo>
                      <a:pt x="904" y="10203"/>
                    </a:lnTo>
                    <a:lnTo>
                      <a:pt x="898" y="10200"/>
                    </a:lnTo>
                    <a:lnTo>
                      <a:pt x="893" y="10197"/>
                    </a:lnTo>
                    <a:lnTo>
                      <a:pt x="891" y="10194"/>
                    </a:lnTo>
                    <a:lnTo>
                      <a:pt x="888" y="10191"/>
                    </a:lnTo>
                    <a:lnTo>
                      <a:pt x="885" y="10187"/>
                    </a:lnTo>
                    <a:lnTo>
                      <a:pt x="880" y="10184"/>
                    </a:lnTo>
                    <a:lnTo>
                      <a:pt x="875" y="10177"/>
                    </a:lnTo>
                    <a:lnTo>
                      <a:pt x="865" y="10170"/>
                    </a:lnTo>
                    <a:lnTo>
                      <a:pt x="856" y="10163"/>
                    </a:lnTo>
                    <a:lnTo>
                      <a:pt x="849" y="10158"/>
                    </a:lnTo>
                    <a:lnTo>
                      <a:pt x="844" y="10149"/>
                    </a:lnTo>
                    <a:lnTo>
                      <a:pt x="837" y="10132"/>
                    </a:lnTo>
                    <a:lnTo>
                      <a:pt x="831" y="10115"/>
                    </a:lnTo>
                    <a:lnTo>
                      <a:pt x="828" y="10104"/>
                    </a:lnTo>
                    <a:lnTo>
                      <a:pt x="951" y="10100"/>
                    </a:lnTo>
                    <a:lnTo>
                      <a:pt x="961" y="10098"/>
                    </a:lnTo>
                    <a:lnTo>
                      <a:pt x="974" y="10096"/>
                    </a:lnTo>
                    <a:lnTo>
                      <a:pt x="988" y="10091"/>
                    </a:lnTo>
                    <a:lnTo>
                      <a:pt x="1003" y="10085"/>
                    </a:lnTo>
                    <a:lnTo>
                      <a:pt x="1016" y="10079"/>
                    </a:lnTo>
                    <a:lnTo>
                      <a:pt x="1025" y="10074"/>
                    </a:lnTo>
                    <a:lnTo>
                      <a:pt x="1033" y="10070"/>
                    </a:lnTo>
                    <a:lnTo>
                      <a:pt x="1033" y="10068"/>
                    </a:lnTo>
                    <a:lnTo>
                      <a:pt x="1032" y="10058"/>
                    </a:lnTo>
                    <a:lnTo>
                      <a:pt x="1025" y="10045"/>
                    </a:lnTo>
                    <a:lnTo>
                      <a:pt x="1018" y="10031"/>
                    </a:lnTo>
                    <a:lnTo>
                      <a:pt x="1010" y="10014"/>
                    </a:lnTo>
                    <a:lnTo>
                      <a:pt x="993" y="9983"/>
                    </a:lnTo>
                    <a:lnTo>
                      <a:pt x="980" y="9958"/>
                    </a:lnTo>
                    <a:lnTo>
                      <a:pt x="977" y="9949"/>
                    </a:lnTo>
                    <a:lnTo>
                      <a:pt x="975" y="9939"/>
                    </a:lnTo>
                    <a:lnTo>
                      <a:pt x="974" y="9931"/>
                    </a:lnTo>
                    <a:lnTo>
                      <a:pt x="973" y="9921"/>
                    </a:lnTo>
                    <a:lnTo>
                      <a:pt x="974" y="9913"/>
                    </a:lnTo>
                    <a:lnTo>
                      <a:pt x="975" y="9904"/>
                    </a:lnTo>
                    <a:lnTo>
                      <a:pt x="976" y="9896"/>
                    </a:lnTo>
                    <a:lnTo>
                      <a:pt x="979" y="9886"/>
                    </a:lnTo>
                    <a:lnTo>
                      <a:pt x="985" y="9869"/>
                    </a:lnTo>
                    <a:lnTo>
                      <a:pt x="992" y="9854"/>
                    </a:lnTo>
                    <a:lnTo>
                      <a:pt x="1000" y="9837"/>
                    </a:lnTo>
                    <a:lnTo>
                      <a:pt x="1010" y="9821"/>
                    </a:lnTo>
                    <a:lnTo>
                      <a:pt x="1033" y="9784"/>
                    </a:lnTo>
                    <a:lnTo>
                      <a:pt x="1058" y="9748"/>
                    </a:lnTo>
                    <a:lnTo>
                      <a:pt x="1086" y="9711"/>
                    </a:lnTo>
                    <a:lnTo>
                      <a:pt x="1112" y="9674"/>
                    </a:lnTo>
                    <a:lnTo>
                      <a:pt x="1139" y="9637"/>
                    </a:lnTo>
                    <a:lnTo>
                      <a:pt x="1164" y="9600"/>
                    </a:lnTo>
                    <a:lnTo>
                      <a:pt x="1176" y="9582"/>
                    </a:lnTo>
                    <a:lnTo>
                      <a:pt x="1187" y="9563"/>
                    </a:lnTo>
                    <a:lnTo>
                      <a:pt x="1196" y="9543"/>
                    </a:lnTo>
                    <a:lnTo>
                      <a:pt x="1205" y="9524"/>
                    </a:lnTo>
                    <a:lnTo>
                      <a:pt x="1213" y="9519"/>
                    </a:lnTo>
                    <a:lnTo>
                      <a:pt x="1222" y="9514"/>
                    </a:lnTo>
                    <a:lnTo>
                      <a:pt x="1229" y="9507"/>
                    </a:lnTo>
                    <a:lnTo>
                      <a:pt x="1236" y="9500"/>
                    </a:lnTo>
                    <a:lnTo>
                      <a:pt x="1251" y="9486"/>
                    </a:lnTo>
                    <a:lnTo>
                      <a:pt x="1264" y="9471"/>
                    </a:lnTo>
                    <a:lnTo>
                      <a:pt x="1266" y="9469"/>
                    </a:lnTo>
                    <a:lnTo>
                      <a:pt x="1269" y="9467"/>
                    </a:lnTo>
                    <a:lnTo>
                      <a:pt x="1272" y="9466"/>
                    </a:lnTo>
                    <a:lnTo>
                      <a:pt x="1276" y="9465"/>
                    </a:lnTo>
                    <a:lnTo>
                      <a:pt x="1283" y="9466"/>
                    </a:lnTo>
                    <a:lnTo>
                      <a:pt x="1291" y="9467"/>
                    </a:lnTo>
                    <a:lnTo>
                      <a:pt x="1300" y="9470"/>
                    </a:lnTo>
                    <a:lnTo>
                      <a:pt x="1308" y="9471"/>
                    </a:lnTo>
                    <a:lnTo>
                      <a:pt x="1318" y="9472"/>
                    </a:lnTo>
                    <a:lnTo>
                      <a:pt x="1326" y="9471"/>
                    </a:lnTo>
                    <a:lnTo>
                      <a:pt x="1336" y="9467"/>
                    </a:lnTo>
                    <a:lnTo>
                      <a:pt x="1344" y="9464"/>
                    </a:lnTo>
                    <a:lnTo>
                      <a:pt x="1353" y="9460"/>
                    </a:lnTo>
                    <a:lnTo>
                      <a:pt x="1361" y="9455"/>
                    </a:lnTo>
                    <a:lnTo>
                      <a:pt x="1368" y="9451"/>
                    </a:lnTo>
                    <a:lnTo>
                      <a:pt x="1375" y="9446"/>
                    </a:lnTo>
                    <a:lnTo>
                      <a:pt x="1381" y="9440"/>
                    </a:lnTo>
                    <a:lnTo>
                      <a:pt x="1385" y="9433"/>
                    </a:lnTo>
                    <a:lnTo>
                      <a:pt x="1390" y="9425"/>
                    </a:lnTo>
                    <a:lnTo>
                      <a:pt x="1394" y="9418"/>
                    </a:lnTo>
                    <a:lnTo>
                      <a:pt x="1397" y="9411"/>
                    </a:lnTo>
                    <a:lnTo>
                      <a:pt x="1400" y="9402"/>
                    </a:lnTo>
                    <a:lnTo>
                      <a:pt x="1402" y="9394"/>
                    </a:lnTo>
                    <a:lnTo>
                      <a:pt x="1403" y="9384"/>
                    </a:lnTo>
                    <a:lnTo>
                      <a:pt x="1405" y="9375"/>
                    </a:lnTo>
                    <a:lnTo>
                      <a:pt x="1405" y="9365"/>
                    </a:lnTo>
                    <a:lnTo>
                      <a:pt x="1397" y="9370"/>
                    </a:lnTo>
                    <a:lnTo>
                      <a:pt x="1383" y="9376"/>
                    </a:lnTo>
                    <a:lnTo>
                      <a:pt x="1376" y="9378"/>
                    </a:lnTo>
                    <a:lnTo>
                      <a:pt x="1370" y="9380"/>
                    </a:lnTo>
                    <a:lnTo>
                      <a:pt x="1367" y="9378"/>
                    </a:lnTo>
                    <a:lnTo>
                      <a:pt x="1366" y="9377"/>
                    </a:lnTo>
                    <a:lnTo>
                      <a:pt x="1365" y="9375"/>
                    </a:lnTo>
                    <a:lnTo>
                      <a:pt x="1364" y="9372"/>
                    </a:lnTo>
                    <a:lnTo>
                      <a:pt x="1365" y="9311"/>
                    </a:lnTo>
                    <a:lnTo>
                      <a:pt x="1365" y="9292"/>
                    </a:lnTo>
                    <a:lnTo>
                      <a:pt x="1365" y="9277"/>
                    </a:lnTo>
                    <a:lnTo>
                      <a:pt x="1366" y="9270"/>
                    </a:lnTo>
                    <a:lnTo>
                      <a:pt x="1366" y="9265"/>
                    </a:lnTo>
                    <a:lnTo>
                      <a:pt x="1367" y="9259"/>
                    </a:lnTo>
                    <a:lnTo>
                      <a:pt x="1370" y="9256"/>
                    </a:lnTo>
                    <a:lnTo>
                      <a:pt x="1372" y="9252"/>
                    </a:lnTo>
                    <a:lnTo>
                      <a:pt x="1376" y="9248"/>
                    </a:lnTo>
                    <a:lnTo>
                      <a:pt x="1381" y="9246"/>
                    </a:lnTo>
                    <a:lnTo>
                      <a:pt x="1385" y="9244"/>
                    </a:lnTo>
                    <a:lnTo>
                      <a:pt x="1401" y="9241"/>
                    </a:lnTo>
                    <a:lnTo>
                      <a:pt x="1423" y="9240"/>
                    </a:lnTo>
                    <a:lnTo>
                      <a:pt x="1421" y="9239"/>
                    </a:lnTo>
                    <a:lnTo>
                      <a:pt x="1419" y="9239"/>
                    </a:lnTo>
                    <a:lnTo>
                      <a:pt x="1418" y="9236"/>
                    </a:lnTo>
                    <a:lnTo>
                      <a:pt x="1415" y="9234"/>
                    </a:lnTo>
                    <a:lnTo>
                      <a:pt x="1412" y="9232"/>
                    </a:lnTo>
                    <a:lnTo>
                      <a:pt x="1408" y="9229"/>
                    </a:lnTo>
                    <a:lnTo>
                      <a:pt x="1397" y="9226"/>
                    </a:lnTo>
                    <a:lnTo>
                      <a:pt x="1387" y="9222"/>
                    </a:lnTo>
                    <a:lnTo>
                      <a:pt x="1376" y="9217"/>
                    </a:lnTo>
                    <a:lnTo>
                      <a:pt x="1366" y="9212"/>
                    </a:lnTo>
                    <a:lnTo>
                      <a:pt x="1362" y="9209"/>
                    </a:lnTo>
                    <a:lnTo>
                      <a:pt x="1360" y="9205"/>
                    </a:lnTo>
                    <a:lnTo>
                      <a:pt x="1359" y="9200"/>
                    </a:lnTo>
                    <a:lnTo>
                      <a:pt x="1359" y="9195"/>
                    </a:lnTo>
                    <a:lnTo>
                      <a:pt x="1361" y="9180"/>
                    </a:lnTo>
                    <a:lnTo>
                      <a:pt x="1366" y="9164"/>
                    </a:lnTo>
                    <a:lnTo>
                      <a:pt x="1371" y="9149"/>
                    </a:lnTo>
                    <a:lnTo>
                      <a:pt x="1377" y="9132"/>
                    </a:lnTo>
                    <a:lnTo>
                      <a:pt x="1383" y="9116"/>
                    </a:lnTo>
                    <a:lnTo>
                      <a:pt x="1388" y="9099"/>
                    </a:lnTo>
                    <a:lnTo>
                      <a:pt x="1393" y="9084"/>
                    </a:lnTo>
                    <a:lnTo>
                      <a:pt x="1395" y="9068"/>
                    </a:lnTo>
                    <a:lnTo>
                      <a:pt x="1396" y="9060"/>
                    </a:lnTo>
                    <a:lnTo>
                      <a:pt x="1397" y="9052"/>
                    </a:lnTo>
                    <a:lnTo>
                      <a:pt x="1400" y="9045"/>
                    </a:lnTo>
                    <a:lnTo>
                      <a:pt x="1402" y="9040"/>
                    </a:lnTo>
                    <a:lnTo>
                      <a:pt x="1406" y="9035"/>
                    </a:lnTo>
                    <a:lnTo>
                      <a:pt x="1409" y="9032"/>
                    </a:lnTo>
                    <a:lnTo>
                      <a:pt x="1413" y="9028"/>
                    </a:lnTo>
                    <a:lnTo>
                      <a:pt x="1418" y="9026"/>
                    </a:lnTo>
                    <a:lnTo>
                      <a:pt x="1429" y="9023"/>
                    </a:lnTo>
                    <a:lnTo>
                      <a:pt x="1441" y="9021"/>
                    </a:lnTo>
                    <a:lnTo>
                      <a:pt x="1455" y="9021"/>
                    </a:lnTo>
                    <a:lnTo>
                      <a:pt x="1471" y="9021"/>
                    </a:lnTo>
                    <a:lnTo>
                      <a:pt x="1485" y="9021"/>
                    </a:lnTo>
                    <a:lnTo>
                      <a:pt x="1500" y="9023"/>
                    </a:lnTo>
                    <a:lnTo>
                      <a:pt x="1514" y="9026"/>
                    </a:lnTo>
                    <a:lnTo>
                      <a:pt x="1529" y="9028"/>
                    </a:lnTo>
                    <a:lnTo>
                      <a:pt x="1544" y="9031"/>
                    </a:lnTo>
                    <a:lnTo>
                      <a:pt x="1559" y="9033"/>
                    </a:lnTo>
                    <a:lnTo>
                      <a:pt x="1572" y="9035"/>
                    </a:lnTo>
                    <a:lnTo>
                      <a:pt x="1585" y="9035"/>
                    </a:lnTo>
                    <a:lnTo>
                      <a:pt x="1582" y="9025"/>
                    </a:lnTo>
                    <a:lnTo>
                      <a:pt x="1577" y="9014"/>
                    </a:lnTo>
                    <a:lnTo>
                      <a:pt x="1572" y="9004"/>
                    </a:lnTo>
                    <a:lnTo>
                      <a:pt x="1566" y="8996"/>
                    </a:lnTo>
                    <a:lnTo>
                      <a:pt x="1559" y="8989"/>
                    </a:lnTo>
                    <a:lnTo>
                      <a:pt x="1551" y="8981"/>
                    </a:lnTo>
                    <a:lnTo>
                      <a:pt x="1544" y="8975"/>
                    </a:lnTo>
                    <a:lnTo>
                      <a:pt x="1535" y="8969"/>
                    </a:lnTo>
                    <a:lnTo>
                      <a:pt x="1517" y="8960"/>
                    </a:lnTo>
                    <a:lnTo>
                      <a:pt x="1496" y="8952"/>
                    </a:lnTo>
                    <a:lnTo>
                      <a:pt x="1476" y="8945"/>
                    </a:lnTo>
                    <a:lnTo>
                      <a:pt x="1454" y="8940"/>
                    </a:lnTo>
                    <a:lnTo>
                      <a:pt x="1455" y="8936"/>
                    </a:lnTo>
                    <a:lnTo>
                      <a:pt x="1456" y="8932"/>
                    </a:lnTo>
                    <a:lnTo>
                      <a:pt x="1460" y="8927"/>
                    </a:lnTo>
                    <a:lnTo>
                      <a:pt x="1464" y="8922"/>
                    </a:lnTo>
                    <a:lnTo>
                      <a:pt x="1473" y="8914"/>
                    </a:lnTo>
                    <a:lnTo>
                      <a:pt x="1485" y="8905"/>
                    </a:lnTo>
                    <a:lnTo>
                      <a:pt x="1497" y="8897"/>
                    </a:lnTo>
                    <a:lnTo>
                      <a:pt x="1509" y="8889"/>
                    </a:lnTo>
                    <a:lnTo>
                      <a:pt x="1519" y="8880"/>
                    </a:lnTo>
                    <a:lnTo>
                      <a:pt x="1525" y="8871"/>
                    </a:lnTo>
                    <a:lnTo>
                      <a:pt x="1535" y="8857"/>
                    </a:lnTo>
                    <a:lnTo>
                      <a:pt x="1544" y="8845"/>
                    </a:lnTo>
                    <a:lnTo>
                      <a:pt x="1554" y="8837"/>
                    </a:lnTo>
                    <a:lnTo>
                      <a:pt x="1565" y="8830"/>
                    </a:lnTo>
                    <a:lnTo>
                      <a:pt x="1589" y="8818"/>
                    </a:lnTo>
                    <a:lnTo>
                      <a:pt x="1618" y="8804"/>
                    </a:lnTo>
                    <a:lnTo>
                      <a:pt x="1631" y="8802"/>
                    </a:lnTo>
                    <a:lnTo>
                      <a:pt x="1644" y="8801"/>
                    </a:lnTo>
                    <a:lnTo>
                      <a:pt x="1656" y="8800"/>
                    </a:lnTo>
                    <a:lnTo>
                      <a:pt x="1667" y="8801"/>
                    </a:lnTo>
                    <a:lnTo>
                      <a:pt x="1678" y="8802"/>
                    </a:lnTo>
                    <a:lnTo>
                      <a:pt x="1689" y="8803"/>
                    </a:lnTo>
                    <a:lnTo>
                      <a:pt x="1699" y="8807"/>
                    </a:lnTo>
                    <a:lnTo>
                      <a:pt x="1709" y="8809"/>
                    </a:lnTo>
                    <a:lnTo>
                      <a:pt x="1730" y="8816"/>
                    </a:lnTo>
                    <a:lnTo>
                      <a:pt x="1750" y="8824"/>
                    </a:lnTo>
                    <a:lnTo>
                      <a:pt x="1773" y="8831"/>
                    </a:lnTo>
                    <a:lnTo>
                      <a:pt x="1796" y="8837"/>
                    </a:lnTo>
                    <a:lnTo>
                      <a:pt x="1807" y="8840"/>
                    </a:lnTo>
                    <a:lnTo>
                      <a:pt x="1815" y="8845"/>
                    </a:lnTo>
                    <a:lnTo>
                      <a:pt x="1822" y="8851"/>
                    </a:lnTo>
                    <a:lnTo>
                      <a:pt x="1827" y="8857"/>
                    </a:lnTo>
                    <a:lnTo>
                      <a:pt x="1832" y="8866"/>
                    </a:lnTo>
                    <a:lnTo>
                      <a:pt x="1837" y="8874"/>
                    </a:lnTo>
                    <a:lnTo>
                      <a:pt x="1840" y="8884"/>
                    </a:lnTo>
                    <a:lnTo>
                      <a:pt x="1843" y="8892"/>
                    </a:lnTo>
                    <a:lnTo>
                      <a:pt x="1849" y="8910"/>
                    </a:lnTo>
                    <a:lnTo>
                      <a:pt x="1855" y="8927"/>
                    </a:lnTo>
                    <a:lnTo>
                      <a:pt x="1858" y="8934"/>
                    </a:lnTo>
                    <a:lnTo>
                      <a:pt x="1863" y="8940"/>
                    </a:lnTo>
                    <a:lnTo>
                      <a:pt x="1869" y="8944"/>
                    </a:lnTo>
                    <a:lnTo>
                      <a:pt x="1875" y="8948"/>
                    </a:lnTo>
                    <a:lnTo>
                      <a:pt x="1897" y="8951"/>
                    </a:lnTo>
                    <a:lnTo>
                      <a:pt x="1909" y="8954"/>
                    </a:lnTo>
                    <a:lnTo>
                      <a:pt x="1915" y="8957"/>
                    </a:lnTo>
                    <a:lnTo>
                      <a:pt x="1920" y="8963"/>
                    </a:lnTo>
                    <a:lnTo>
                      <a:pt x="1926" y="8972"/>
                    </a:lnTo>
                    <a:lnTo>
                      <a:pt x="1934" y="8986"/>
                    </a:lnTo>
                    <a:lnTo>
                      <a:pt x="1955" y="8989"/>
                    </a:lnTo>
                    <a:lnTo>
                      <a:pt x="1975" y="8990"/>
                    </a:lnTo>
                    <a:lnTo>
                      <a:pt x="1993" y="8991"/>
                    </a:lnTo>
                    <a:lnTo>
                      <a:pt x="2011" y="8990"/>
                    </a:lnTo>
                    <a:lnTo>
                      <a:pt x="2028" y="8989"/>
                    </a:lnTo>
                    <a:lnTo>
                      <a:pt x="2044" y="8986"/>
                    </a:lnTo>
                    <a:lnTo>
                      <a:pt x="2059" y="8982"/>
                    </a:lnTo>
                    <a:lnTo>
                      <a:pt x="2075" y="8978"/>
                    </a:lnTo>
                    <a:lnTo>
                      <a:pt x="2089" y="8972"/>
                    </a:lnTo>
                    <a:lnTo>
                      <a:pt x="2104" y="8964"/>
                    </a:lnTo>
                    <a:lnTo>
                      <a:pt x="2118" y="8956"/>
                    </a:lnTo>
                    <a:lnTo>
                      <a:pt x="2132" y="8946"/>
                    </a:lnTo>
                    <a:lnTo>
                      <a:pt x="2146" y="8936"/>
                    </a:lnTo>
                    <a:lnTo>
                      <a:pt x="2160" y="8924"/>
                    </a:lnTo>
                    <a:lnTo>
                      <a:pt x="2175" y="8909"/>
                    </a:lnTo>
                    <a:lnTo>
                      <a:pt x="2189" y="8895"/>
                    </a:lnTo>
                    <a:lnTo>
                      <a:pt x="2205" y="8875"/>
                    </a:lnTo>
                    <a:lnTo>
                      <a:pt x="2212" y="8863"/>
                    </a:lnTo>
                    <a:lnTo>
                      <a:pt x="2217" y="8859"/>
                    </a:lnTo>
                    <a:lnTo>
                      <a:pt x="2223" y="8854"/>
                    </a:lnTo>
                    <a:lnTo>
                      <a:pt x="2231" y="8849"/>
                    </a:lnTo>
                    <a:lnTo>
                      <a:pt x="2245" y="8843"/>
                    </a:lnTo>
                    <a:lnTo>
                      <a:pt x="2249" y="8834"/>
                    </a:lnTo>
                    <a:lnTo>
                      <a:pt x="2257" y="8824"/>
                    </a:lnTo>
                    <a:lnTo>
                      <a:pt x="2268" y="8810"/>
                    </a:lnTo>
                    <a:lnTo>
                      <a:pt x="2280" y="8796"/>
                    </a:lnTo>
                    <a:lnTo>
                      <a:pt x="2304" y="8768"/>
                    </a:lnTo>
                    <a:lnTo>
                      <a:pt x="2320" y="8749"/>
                    </a:lnTo>
                    <a:lnTo>
                      <a:pt x="2331" y="8736"/>
                    </a:lnTo>
                    <a:lnTo>
                      <a:pt x="2340" y="8724"/>
                    </a:lnTo>
                    <a:lnTo>
                      <a:pt x="2348" y="8711"/>
                    </a:lnTo>
                    <a:lnTo>
                      <a:pt x="2354" y="8697"/>
                    </a:lnTo>
                    <a:lnTo>
                      <a:pt x="2367" y="8670"/>
                    </a:lnTo>
                    <a:lnTo>
                      <a:pt x="2378" y="8640"/>
                    </a:lnTo>
                    <a:lnTo>
                      <a:pt x="2389" y="8625"/>
                    </a:lnTo>
                    <a:lnTo>
                      <a:pt x="2400" y="8614"/>
                    </a:lnTo>
                    <a:lnTo>
                      <a:pt x="2411" y="8605"/>
                    </a:lnTo>
                    <a:lnTo>
                      <a:pt x="2420" y="8595"/>
                    </a:lnTo>
                    <a:lnTo>
                      <a:pt x="2425" y="8590"/>
                    </a:lnTo>
                    <a:lnTo>
                      <a:pt x="2430" y="8585"/>
                    </a:lnTo>
                    <a:lnTo>
                      <a:pt x="2434" y="8579"/>
                    </a:lnTo>
                    <a:lnTo>
                      <a:pt x="2436" y="8573"/>
                    </a:lnTo>
                    <a:lnTo>
                      <a:pt x="2438" y="8566"/>
                    </a:lnTo>
                    <a:lnTo>
                      <a:pt x="2441" y="8559"/>
                    </a:lnTo>
                    <a:lnTo>
                      <a:pt x="2442" y="8549"/>
                    </a:lnTo>
                    <a:lnTo>
                      <a:pt x="2442" y="8538"/>
                    </a:lnTo>
                    <a:lnTo>
                      <a:pt x="2448" y="8540"/>
                    </a:lnTo>
                    <a:lnTo>
                      <a:pt x="2454" y="8542"/>
                    </a:lnTo>
                    <a:lnTo>
                      <a:pt x="2462" y="8546"/>
                    </a:lnTo>
                    <a:lnTo>
                      <a:pt x="2471" y="8552"/>
                    </a:lnTo>
                    <a:lnTo>
                      <a:pt x="2481" y="8558"/>
                    </a:lnTo>
                    <a:lnTo>
                      <a:pt x="2490" y="8564"/>
                    </a:lnTo>
                    <a:lnTo>
                      <a:pt x="2499" y="8572"/>
                    </a:lnTo>
                    <a:lnTo>
                      <a:pt x="2507" y="8579"/>
                    </a:lnTo>
                    <a:lnTo>
                      <a:pt x="2514" y="8588"/>
                    </a:lnTo>
                    <a:lnTo>
                      <a:pt x="2520" y="8596"/>
                    </a:lnTo>
                    <a:lnTo>
                      <a:pt x="2525" y="8603"/>
                    </a:lnTo>
                    <a:lnTo>
                      <a:pt x="2527" y="8612"/>
                    </a:lnTo>
                    <a:lnTo>
                      <a:pt x="2527" y="8615"/>
                    </a:lnTo>
                    <a:lnTo>
                      <a:pt x="2527" y="8619"/>
                    </a:lnTo>
                    <a:lnTo>
                      <a:pt x="2526" y="8621"/>
                    </a:lnTo>
                    <a:lnTo>
                      <a:pt x="2525" y="8625"/>
                    </a:lnTo>
                    <a:lnTo>
                      <a:pt x="2523" y="8627"/>
                    </a:lnTo>
                    <a:lnTo>
                      <a:pt x="2519" y="8630"/>
                    </a:lnTo>
                    <a:lnTo>
                      <a:pt x="2515" y="8632"/>
                    </a:lnTo>
                    <a:lnTo>
                      <a:pt x="2511" y="8635"/>
                    </a:lnTo>
                    <a:lnTo>
                      <a:pt x="2511" y="8636"/>
                    </a:lnTo>
                    <a:lnTo>
                      <a:pt x="2513" y="8637"/>
                    </a:lnTo>
                    <a:lnTo>
                      <a:pt x="2515" y="8638"/>
                    </a:lnTo>
                    <a:lnTo>
                      <a:pt x="2518" y="8638"/>
                    </a:lnTo>
                    <a:lnTo>
                      <a:pt x="2526" y="8640"/>
                    </a:lnTo>
                    <a:lnTo>
                      <a:pt x="2536" y="8640"/>
                    </a:lnTo>
                    <a:lnTo>
                      <a:pt x="2555" y="8637"/>
                    </a:lnTo>
                    <a:lnTo>
                      <a:pt x="2567" y="8636"/>
                    </a:lnTo>
                    <a:lnTo>
                      <a:pt x="2641" y="8620"/>
                    </a:lnTo>
                    <a:lnTo>
                      <a:pt x="2820" y="8594"/>
                    </a:lnTo>
                    <a:lnTo>
                      <a:pt x="2830" y="8593"/>
                    </a:lnTo>
                    <a:lnTo>
                      <a:pt x="2839" y="8590"/>
                    </a:lnTo>
                    <a:lnTo>
                      <a:pt x="2848" y="8587"/>
                    </a:lnTo>
                    <a:lnTo>
                      <a:pt x="2856" y="8584"/>
                    </a:lnTo>
                    <a:lnTo>
                      <a:pt x="2870" y="8576"/>
                    </a:lnTo>
                    <a:lnTo>
                      <a:pt x="2884" y="8566"/>
                    </a:lnTo>
                    <a:lnTo>
                      <a:pt x="2896" y="8554"/>
                    </a:lnTo>
                    <a:lnTo>
                      <a:pt x="2907" y="8543"/>
                    </a:lnTo>
                    <a:lnTo>
                      <a:pt x="2916" y="8530"/>
                    </a:lnTo>
                    <a:lnTo>
                      <a:pt x="2925" y="8518"/>
                    </a:lnTo>
                    <a:lnTo>
                      <a:pt x="2940" y="8493"/>
                    </a:lnTo>
                    <a:lnTo>
                      <a:pt x="2956" y="8471"/>
                    </a:lnTo>
                    <a:lnTo>
                      <a:pt x="2964" y="8461"/>
                    </a:lnTo>
                    <a:lnTo>
                      <a:pt x="2973" y="8454"/>
                    </a:lnTo>
                    <a:lnTo>
                      <a:pt x="2978" y="8451"/>
                    </a:lnTo>
                    <a:lnTo>
                      <a:pt x="2982" y="8448"/>
                    </a:lnTo>
                    <a:lnTo>
                      <a:pt x="2987" y="8447"/>
                    </a:lnTo>
                    <a:lnTo>
                      <a:pt x="2992" y="8446"/>
                    </a:lnTo>
                    <a:lnTo>
                      <a:pt x="2996" y="8434"/>
                    </a:lnTo>
                    <a:lnTo>
                      <a:pt x="3003" y="8422"/>
                    </a:lnTo>
                    <a:lnTo>
                      <a:pt x="3011" y="8408"/>
                    </a:lnTo>
                    <a:lnTo>
                      <a:pt x="3021" y="8395"/>
                    </a:lnTo>
                    <a:lnTo>
                      <a:pt x="3032" y="8382"/>
                    </a:lnTo>
                    <a:lnTo>
                      <a:pt x="3040" y="8368"/>
                    </a:lnTo>
                    <a:lnTo>
                      <a:pt x="3049" y="8354"/>
                    </a:lnTo>
                    <a:lnTo>
                      <a:pt x="3053" y="8341"/>
                    </a:lnTo>
                    <a:lnTo>
                      <a:pt x="3057" y="8328"/>
                    </a:lnTo>
                    <a:lnTo>
                      <a:pt x="3059" y="8313"/>
                    </a:lnTo>
                    <a:lnTo>
                      <a:pt x="3061" y="8299"/>
                    </a:lnTo>
                    <a:lnTo>
                      <a:pt x="3061" y="8285"/>
                    </a:lnTo>
                    <a:lnTo>
                      <a:pt x="3059" y="8269"/>
                    </a:lnTo>
                    <a:lnTo>
                      <a:pt x="3057" y="8254"/>
                    </a:lnTo>
                    <a:lnTo>
                      <a:pt x="3053" y="8241"/>
                    </a:lnTo>
                    <a:lnTo>
                      <a:pt x="3049" y="8228"/>
                    </a:lnTo>
                    <a:lnTo>
                      <a:pt x="3039" y="8207"/>
                    </a:lnTo>
                    <a:lnTo>
                      <a:pt x="3032" y="8188"/>
                    </a:lnTo>
                    <a:lnTo>
                      <a:pt x="3025" y="8169"/>
                    </a:lnTo>
                    <a:lnTo>
                      <a:pt x="3018" y="8151"/>
                    </a:lnTo>
                    <a:lnTo>
                      <a:pt x="3008" y="8114"/>
                    </a:lnTo>
                    <a:lnTo>
                      <a:pt x="2999" y="8078"/>
                    </a:lnTo>
                    <a:lnTo>
                      <a:pt x="2992" y="8040"/>
                    </a:lnTo>
                    <a:lnTo>
                      <a:pt x="2986" y="8003"/>
                    </a:lnTo>
                    <a:lnTo>
                      <a:pt x="2980" y="7963"/>
                    </a:lnTo>
                    <a:lnTo>
                      <a:pt x="2973" y="7921"/>
                    </a:lnTo>
                    <a:lnTo>
                      <a:pt x="2963" y="7901"/>
                    </a:lnTo>
                    <a:lnTo>
                      <a:pt x="2951" y="7881"/>
                    </a:lnTo>
                    <a:lnTo>
                      <a:pt x="2938" y="7862"/>
                    </a:lnTo>
                    <a:lnTo>
                      <a:pt x="2923" y="7844"/>
                    </a:lnTo>
                    <a:lnTo>
                      <a:pt x="2909" y="7826"/>
                    </a:lnTo>
                    <a:lnTo>
                      <a:pt x="2896" y="7807"/>
                    </a:lnTo>
                    <a:lnTo>
                      <a:pt x="2882" y="7787"/>
                    </a:lnTo>
                    <a:lnTo>
                      <a:pt x="2872" y="7767"/>
                    </a:lnTo>
                    <a:lnTo>
                      <a:pt x="2866" y="7757"/>
                    </a:lnTo>
                    <a:lnTo>
                      <a:pt x="2861" y="7749"/>
                    </a:lnTo>
                    <a:lnTo>
                      <a:pt x="2855" y="7741"/>
                    </a:lnTo>
                    <a:lnTo>
                      <a:pt x="2848" y="7735"/>
                    </a:lnTo>
                    <a:lnTo>
                      <a:pt x="2842" y="7729"/>
                    </a:lnTo>
                    <a:lnTo>
                      <a:pt x="2834" y="7723"/>
                    </a:lnTo>
                    <a:lnTo>
                      <a:pt x="2827" y="7718"/>
                    </a:lnTo>
                    <a:lnTo>
                      <a:pt x="2820" y="7714"/>
                    </a:lnTo>
                    <a:lnTo>
                      <a:pt x="2811" y="7710"/>
                    </a:lnTo>
                    <a:lnTo>
                      <a:pt x="2803" y="7708"/>
                    </a:lnTo>
                    <a:lnTo>
                      <a:pt x="2795" y="7706"/>
                    </a:lnTo>
                    <a:lnTo>
                      <a:pt x="2786" y="7704"/>
                    </a:lnTo>
                    <a:lnTo>
                      <a:pt x="2768" y="7702"/>
                    </a:lnTo>
                    <a:lnTo>
                      <a:pt x="2748" y="7702"/>
                    </a:lnTo>
                    <a:lnTo>
                      <a:pt x="2748" y="7700"/>
                    </a:lnTo>
                    <a:lnTo>
                      <a:pt x="2749" y="7698"/>
                    </a:lnTo>
                    <a:lnTo>
                      <a:pt x="2751" y="7691"/>
                    </a:lnTo>
                    <a:lnTo>
                      <a:pt x="2757" y="7679"/>
                    </a:lnTo>
                    <a:lnTo>
                      <a:pt x="2765" y="7664"/>
                    </a:lnTo>
                    <a:lnTo>
                      <a:pt x="2773" y="7645"/>
                    </a:lnTo>
                    <a:lnTo>
                      <a:pt x="2791" y="7614"/>
                    </a:lnTo>
                    <a:lnTo>
                      <a:pt x="2799" y="7601"/>
                    </a:lnTo>
                    <a:lnTo>
                      <a:pt x="2830" y="7611"/>
                    </a:lnTo>
                    <a:lnTo>
                      <a:pt x="2880" y="7627"/>
                    </a:lnTo>
                    <a:lnTo>
                      <a:pt x="2892" y="7630"/>
                    </a:lnTo>
                    <a:lnTo>
                      <a:pt x="2905" y="7632"/>
                    </a:lnTo>
                    <a:lnTo>
                      <a:pt x="2916" y="7633"/>
                    </a:lnTo>
                    <a:lnTo>
                      <a:pt x="2927" y="7632"/>
                    </a:lnTo>
                    <a:lnTo>
                      <a:pt x="2932" y="7631"/>
                    </a:lnTo>
                    <a:lnTo>
                      <a:pt x="2935" y="7630"/>
                    </a:lnTo>
                    <a:lnTo>
                      <a:pt x="2939" y="7627"/>
                    </a:lnTo>
                    <a:lnTo>
                      <a:pt x="2941" y="7625"/>
                    </a:lnTo>
                    <a:lnTo>
                      <a:pt x="2944" y="7621"/>
                    </a:lnTo>
                    <a:lnTo>
                      <a:pt x="2946" y="7618"/>
                    </a:lnTo>
                    <a:lnTo>
                      <a:pt x="2947" y="7613"/>
                    </a:lnTo>
                    <a:lnTo>
                      <a:pt x="2947" y="7607"/>
                    </a:lnTo>
                    <a:lnTo>
                      <a:pt x="2949" y="7597"/>
                    </a:lnTo>
                    <a:lnTo>
                      <a:pt x="2951" y="7590"/>
                    </a:lnTo>
                    <a:lnTo>
                      <a:pt x="2956" y="7584"/>
                    </a:lnTo>
                    <a:lnTo>
                      <a:pt x="2962" y="7581"/>
                    </a:lnTo>
                    <a:lnTo>
                      <a:pt x="2979" y="7574"/>
                    </a:lnTo>
                    <a:lnTo>
                      <a:pt x="2999" y="7567"/>
                    </a:lnTo>
                    <a:lnTo>
                      <a:pt x="3005" y="7565"/>
                    </a:lnTo>
                    <a:lnTo>
                      <a:pt x="3011" y="7561"/>
                    </a:lnTo>
                    <a:lnTo>
                      <a:pt x="3017" y="7555"/>
                    </a:lnTo>
                    <a:lnTo>
                      <a:pt x="3022" y="7550"/>
                    </a:lnTo>
                    <a:lnTo>
                      <a:pt x="3032" y="7537"/>
                    </a:lnTo>
                    <a:lnTo>
                      <a:pt x="3039" y="7522"/>
                    </a:lnTo>
                    <a:lnTo>
                      <a:pt x="3045" y="7506"/>
                    </a:lnTo>
                    <a:lnTo>
                      <a:pt x="3050" y="7489"/>
                    </a:lnTo>
                    <a:lnTo>
                      <a:pt x="3053" y="7475"/>
                    </a:lnTo>
                    <a:lnTo>
                      <a:pt x="3053" y="7460"/>
                    </a:lnTo>
                    <a:lnTo>
                      <a:pt x="3053" y="7449"/>
                    </a:lnTo>
                    <a:lnTo>
                      <a:pt x="3051" y="7437"/>
                    </a:lnTo>
                    <a:lnTo>
                      <a:pt x="3049" y="7426"/>
                    </a:lnTo>
                    <a:lnTo>
                      <a:pt x="3046" y="7417"/>
                    </a:lnTo>
                    <a:lnTo>
                      <a:pt x="3038" y="7396"/>
                    </a:lnTo>
                    <a:lnTo>
                      <a:pt x="3028" y="7378"/>
                    </a:lnTo>
                    <a:lnTo>
                      <a:pt x="3018" y="7359"/>
                    </a:lnTo>
                    <a:lnTo>
                      <a:pt x="3010" y="7341"/>
                    </a:lnTo>
                    <a:lnTo>
                      <a:pt x="3006" y="7333"/>
                    </a:lnTo>
                    <a:lnTo>
                      <a:pt x="3004" y="7323"/>
                    </a:lnTo>
                    <a:lnTo>
                      <a:pt x="3003" y="7313"/>
                    </a:lnTo>
                    <a:lnTo>
                      <a:pt x="3002" y="7304"/>
                    </a:lnTo>
                    <a:lnTo>
                      <a:pt x="2990" y="7304"/>
                    </a:lnTo>
                    <a:lnTo>
                      <a:pt x="2979" y="7303"/>
                    </a:lnTo>
                    <a:lnTo>
                      <a:pt x="2968" y="7300"/>
                    </a:lnTo>
                    <a:lnTo>
                      <a:pt x="2960" y="7298"/>
                    </a:lnTo>
                    <a:lnTo>
                      <a:pt x="2950" y="7293"/>
                    </a:lnTo>
                    <a:lnTo>
                      <a:pt x="2943" y="7287"/>
                    </a:lnTo>
                    <a:lnTo>
                      <a:pt x="2934" y="7280"/>
                    </a:lnTo>
                    <a:lnTo>
                      <a:pt x="2927" y="7271"/>
                    </a:lnTo>
                    <a:lnTo>
                      <a:pt x="2916" y="7250"/>
                    </a:lnTo>
                    <a:lnTo>
                      <a:pt x="2904" y="7227"/>
                    </a:lnTo>
                    <a:lnTo>
                      <a:pt x="2901" y="7222"/>
                    </a:lnTo>
                    <a:lnTo>
                      <a:pt x="2898" y="7218"/>
                    </a:lnTo>
                    <a:lnTo>
                      <a:pt x="2895" y="7216"/>
                    </a:lnTo>
                    <a:lnTo>
                      <a:pt x="2891" y="7215"/>
                    </a:lnTo>
                    <a:lnTo>
                      <a:pt x="2887" y="7215"/>
                    </a:lnTo>
                    <a:lnTo>
                      <a:pt x="2884" y="7216"/>
                    </a:lnTo>
                    <a:lnTo>
                      <a:pt x="2880" y="7221"/>
                    </a:lnTo>
                    <a:lnTo>
                      <a:pt x="2875" y="7227"/>
                    </a:lnTo>
                    <a:lnTo>
                      <a:pt x="2851" y="7270"/>
                    </a:lnTo>
                    <a:lnTo>
                      <a:pt x="2822" y="7318"/>
                    </a:lnTo>
                    <a:lnTo>
                      <a:pt x="2814" y="7329"/>
                    </a:lnTo>
                    <a:lnTo>
                      <a:pt x="2805" y="7340"/>
                    </a:lnTo>
                    <a:lnTo>
                      <a:pt x="2796" y="7348"/>
                    </a:lnTo>
                    <a:lnTo>
                      <a:pt x="2786" y="7357"/>
                    </a:lnTo>
                    <a:lnTo>
                      <a:pt x="2775" y="7363"/>
                    </a:lnTo>
                    <a:lnTo>
                      <a:pt x="2765" y="7367"/>
                    </a:lnTo>
                    <a:lnTo>
                      <a:pt x="2754" y="7370"/>
                    </a:lnTo>
                    <a:lnTo>
                      <a:pt x="2742" y="7370"/>
                    </a:lnTo>
                    <a:lnTo>
                      <a:pt x="2709" y="7361"/>
                    </a:lnTo>
                    <a:lnTo>
                      <a:pt x="2677" y="7353"/>
                    </a:lnTo>
                    <a:lnTo>
                      <a:pt x="2668" y="7352"/>
                    </a:lnTo>
                    <a:lnTo>
                      <a:pt x="2660" y="7352"/>
                    </a:lnTo>
                    <a:lnTo>
                      <a:pt x="2651" y="7353"/>
                    </a:lnTo>
                    <a:lnTo>
                      <a:pt x="2643" y="7354"/>
                    </a:lnTo>
                    <a:lnTo>
                      <a:pt x="2633" y="7358"/>
                    </a:lnTo>
                    <a:lnTo>
                      <a:pt x="2625" y="7363"/>
                    </a:lnTo>
                    <a:lnTo>
                      <a:pt x="2617" y="7369"/>
                    </a:lnTo>
                    <a:lnTo>
                      <a:pt x="2607" y="7377"/>
                    </a:lnTo>
                    <a:lnTo>
                      <a:pt x="2596" y="7389"/>
                    </a:lnTo>
                    <a:lnTo>
                      <a:pt x="2580" y="7408"/>
                    </a:lnTo>
                    <a:lnTo>
                      <a:pt x="2572" y="7418"/>
                    </a:lnTo>
                    <a:lnTo>
                      <a:pt x="2565" y="7426"/>
                    </a:lnTo>
                    <a:lnTo>
                      <a:pt x="2559" y="7431"/>
                    </a:lnTo>
                    <a:lnTo>
                      <a:pt x="2555" y="7434"/>
                    </a:lnTo>
                    <a:lnTo>
                      <a:pt x="2538" y="7436"/>
                    </a:lnTo>
                    <a:lnTo>
                      <a:pt x="2520" y="7438"/>
                    </a:lnTo>
                    <a:lnTo>
                      <a:pt x="2512" y="7441"/>
                    </a:lnTo>
                    <a:lnTo>
                      <a:pt x="2503" y="7443"/>
                    </a:lnTo>
                    <a:lnTo>
                      <a:pt x="2495" y="7446"/>
                    </a:lnTo>
                    <a:lnTo>
                      <a:pt x="2488" y="7451"/>
                    </a:lnTo>
                    <a:lnTo>
                      <a:pt x="2479" y="7457"/>
                    </a:lnTo>
                    <a:lnTo>
                      <a:pt x="2471" y="7464"/>
                    </a:lnTo>
                    <a:lnTo>
                      <a:pt x="2464" y="7471"/>
                    </a:lnTo>
                    <a:lnTo>
                      <a:pt x="2458" y="7479"/>
                    </a:lnTo>
                    <a:lnTo>
                      <a:pt x="2446" y="7496"/>
                    </a:lnTo>
                    <a:lnTo>
                      <a:pt x="2432" y="7514"/>
                    </a:lnTo>
                    <a:lnTo>
                      <a:pt x="2424" y="7526"/>
                    </a:lnTo>
                    <a:lnTo>
                      <a:pt x="2416" y="7537"/>
                    </a:lnTo>
                    <a:lnTo>
                      <a:pt x="2406" y="7547"/>
                    </a:lnTo>
                    <a:lnTo>
                      <a:pt x="2397" y="7554"/>
                    </a:lnTo>
                    <a:lnTo>
                      <a:pt x="2387" y="7561"/>
                    </a:lnTo>
                    <a:lnTo>
                      <a:pt x="2376" y="7568"/>
                    </a:lnTo>
                    <a:lnTo>
                      <a:pt x="2364" y="7573"/>
                    </a:lnTo>
                    <a:lnTo>
                      <a:pt x="2351" y="7578"/>
                    </a:lnTo>
                    <a:lnTo>
                      <a:pt x="2343" y="7582"/>
                    </a:lnTo>
                    <a:lnTo>
                      <a:pt x="2337" y="7587"/>
                    </a:lnTo>
                    <a:lnTo>
                      <a:pt x="2331" y="7591"/>
                    </a:lnTo>
                    <a:lnTo>
                      <a:pt x="2326" y="7597"/>
                    </a:lnTo>
                    <a:lnTo>
                      <a:pt x="2319" y="7612"/>
                    </a:lnTo>
                    <a:lnTo>
                      <a:pt x="2314" y="7626"/>
                    </a:lnTo>
                    <a:lnTo>
                      <a:pt x="2310" y="7641"/>
                    </a:lnTo>
                    <a:lnTo>
                      <a:pt x="2301" y="7661"/>
                    </a:lnTo>
                    <a:lnTo>
                      <a:pt x="2290" y="7685"/>
                    </a:lnTo>
                    <a:lnTo>
                      <a:pt x="2277" y="7712"/>
                    </a:lnTo>
                    <a:lnTo>
                      <a:pt x="2264" y="7737"/>
                    </a:lnTo>
                    <a:lnTo>
                      <a:pt x="2249" y="7757"/>
                    </a:lnTo>
                    <a:lnTo>
                      <a:pt x="2243" y="7766"/>
                    </a:lnTo>
                    <a:lnTo>
                      <a:pt x="2237" y="7773"/>
                    </a:lnTo>
                    <a:lnTo>
                      <a:pt x="2231" y="7777"/>
                    </a:lnTo>
                    <a:lnTo>
                      <a:pt x="2225" y="7778"/>
                    </a:lnTo>
                    <a:lnTo>
                      <a:pt x="2225" y="7777"/>
                    </a:lnTo>
                    <a:lnTo>
                      <a:pt x="2224" y="7765"/>
                    </a:lnTo>
                    <a:lnTo>
                      <a:pt x="2221" y="7751"/>
                    </a:lnTo>
                    <a:lnTo>
                      <a:pt x="2217" y="7737"/>
                    </a:lnTo>
                    <a:lnTo>
                      <a:pt x="2211" y="7723"/>
                    </a:lnTo>
                    <a:lnTo>
                      <a:pt x="2206" y="7708"/>
                    </a:lnTo>
                    <a:lnTo>
                      <a:pt x="2201" y="7694"/>
                    </a:lnTo>
                    <a:lnTo>
                      <a:pt x="2198" y="7680"/>
                    </a:lnTo>
                    <a:lnTo>
                      <a:pt x="2195" y="7667"/>
                    </a:lnTo>
                    <a:lnTo>
                      <a:pt x="2194" y="7658"/>
                    </a:lnTo>
                    <a:lnTo>
                      <a:pt x="2192" y="7648"/>
                    </a:lnTo>
                    <a:lnTo>
                      <a:pt x="2189" y="7639"/>
                    </a:lnTo>
                    <a:lnTo>
                      <a:pt x="2186" y="7631"/>
                    </a:lnTo>
                    <a:lnTo>
                      <a:pt x="2178" y="7617"/>
                    </a:lnTo>
                    <a:lnTo>
                      <a:pt x="2169" y="7602"/>
                    </a:lnTo>
                    <a:lnTo>
                      <a:pt x="2146" y="7577"/>
                    </a:lnTo>
                    <a:lnTo>
                      <a:pt x="2121" y="7552"/>
                    </a:lnTo>
                    <a:lnTo>
                      <a:pt x="2113" y="7543"/>
                    </a:lnTo>
                    <a:lnTo>
                      <a:pt x="2107" y="7532"/>
                    </a:lnTo>
                    <a:lnTo>
                      <a:pt x="2103" y="7522"/>
                    </a:lnTo>
                    <a:lnTo>
                      <a:pt x="2099" y="7511"/>
                    </a:lnTo>
                    <a:lnTo>
                      <a:pt x="2095" y="7500"/>
                    </a:lnTo>
                    <a:lnTo>
                      <a:pt x="2091" y="7490"/>
                    </a:lnTo>
                    <a:lnTo>
                      <a:pt x="2086" y="7481"/>
                    </a:lnTo>
                    <a:lnTo>
                      <a:pt x="2081" y="7473"/>
                    </a:lnTo>
                    <a:lnTo>
                      <a:pt x="2077" y="7473"/>
                    </a:lnTo>
                    <a:lnTo>
                      <a:pt x="2070" y="7477"/>
                    </a:lnTo>
                    <a:lnTo>
                      <a:pt x="2061" y="7482"/>
                    </a:lnTo>
                    <a:lnTo>
                      <a:pt x="2050" y="7488"/>
                    </a:lnTo>
                    <a:lnTo>
                      <a:pt x="2029" y="7500"/>
                    </a:lnTo>
                    <a:lnTo>
                      <a:pt x="2015" y="7507"/>
                    </a:lnTo>
                    <a:lnTo>
                      <a:pt x="2002" y="7514"/>
                    </a:lnTo>
                    <a:lnTo>
                      <a:pt x="1986" y="7520"/>
                    </a:lnTo>
                    <a:lnTo>
                      <a:pt x="1971" y="7525"/>
                    </a:lnTo>
                    <a:lnTo>
                      <a:pt x="1957" y="7529"/>
                    </a:lnTo>
                    <a:lnTo>
                      <a:pt x="1958" y="7537"/>
                    </a:lnTo>
                    <a:lnTo>
                      <a:pt x="1961" y="7546"/>
                    </a:lnTo>
                    <a:lnTo>
                      <a:pt x="1963" y="7552"/>
                    </a:lnTo>
                    <a:lnTo>
                      <a:pt x="1968" y="7559"/>
                    </a:lnTo>
                    <a:lnTo>
                      <a:pt x="1973" y="7564"/>
                    </a:lnTo>
                    <a:lnTo>
                      <a:pt x="1979" y="7568"/>
                    </a:lnTo>
                    <a:lnTo>
                      <a:pt x="1985" y="7573"/>
                    </a:lnTo>
                    <a:lnTo>
                      <a:pt x="1992" y="7577"/>
                    </a:lnTo>
                    <a:lnTo>
                      <a:pt x="2021" y="7591"/>
                    </a:lnTo>
                    <a:lnTo>
                      <a:pt x="2046" y="7606"/>
                    </a:lnTo>
                    <a:lnTo>
                      <a:pt x="2056" y="7612"/>
                    </a:lnTo>
                    <a:lnTo>
                      <a:pt x="2073" y="7621"/>
                    </a:lnTo>
                    <a:lnTo>
                      <a:pt x="2089" y="7631"/>
                    </a:lnTo>
                    <a:lnTo>
                      <a:pt x="2097" y="7636"/>
                    </a:lnTo>
                    <a:lnTo>
                      <a:pt x="2103" y="7637"/>
                    </a:lnTo>
                    <a:lnTo>
                      <a:pt x="2109" y="7638"/>
                    </a:lnTo>
                    <a:lnTo>
                      <a:pt x="2107" y="7647"/>
                    </a:lnTo>
                    <a:lnTo>
                      <a:pt x="2104" y="7655"/>
                    </a:lnTo>
                    <a:lnTo>
                      <a:pt x="2099" y="7664"/>
                    </a:lnTo>
                    <a:lnTo>
                      <a:pt x="2092" y="7673"/>
                    </a:lnTo>
                    <a:lnTo>
                      <a:pt x="2086" y="7682"/>
                    </a:lnTo>
                    <a:lnTo>
                      <a:pt x="2080" y="7691"/>
                    </a:lnTo>
                    <a:lnTo>
                      <a:pt x="2075" y="7702"/>
                    </a:lnTo>
                    <a:lnTo>
                      <a:pt x="2073" y="7712"/>
                    </a:lnTo>
                    <a:lnTo>
                      <a:pt x="2073" y="7715"/>
                    </a:lnTo>
                    <a:lnTo>
                      <a:pt x="2070" y="7716"/>
                    </a:lnTo>
                    <a:lnTo>
                      <a:pt x="2069" y="7716"/>
                    </a:lnTo>
                    <a:lnTo>
                      <a:pt x="2067" y="7715"/>
                    </a:lnTo>
                    <a:lnTo>
                      <a:pt x="2062" y="7712"/>
                    </a:lnTo>
                    <a:lnTo>
                      <a:pt x="2058" y="7709"/>
                    </a:lnTo>
                    <a:lnTo>
                      <a:pt x="2056" y="7700"/>
                    </a:lnTo>
                    <a:lnTo>
                      <a:pt x="2051" y="7691"/>
                    </a:lnTo>
                    <a:lnTo>
                      <a:pt x="2046" y="7683"/>
                    </a:lnTo>
                    <a:lnTo>
                      <a:pt x="2040" y="7674"/>
                    </a:lnTo>
                    <a:lnTo>
                      <a:pt x="2034" y="7667"/>
                    </a:lnTo>
                    <a:lnTo>
                      <a:pt x="2027" y="7660"/>
                    </a:lnTo>
                    <a:lnTo>
                      <a:pt x="2018" y="7653"/>
                    </a:lnTo>
                    <a:lnTo>
                      <a:pt x="2010" y="7647"/>
                    </a:lnTo>
                    <a:lnTo>
                      <a:pt x="1976" y="7624"/>
                    </a:lnTo>
                    <a:lnTo>
                      <a:pt x="1944" y="7602"/>
                    </a:lnTo>
                    <a:lnTo>
                      <a:pt x="1925" y="7589"/>
                    </a:lnTo>
                    <a:lnTo>
                      <a:pt x="1904" y="7577"/>
                    </a:lnTo>
                    <a:lnTo>
                      <a:pt x="1882" y="7566"/>
                    </a:lnTo>
                    <a:lnTo>
                      <a:pt x="1860" y="7558"/>
                    </a:lnTo>
                    <a:lnTo>
                      <a:pt x="1847" y="7554"/>
                    </a:lnTo>
                    <a:lnTo>
                      <a:pt x="1837" y="7552"/>
                    </a:lnTo>
                    <a:lnTo>
                      <a:pt x="1825" y="7550"/>
                    </a:lnTo>
                    <a:lnTo>
                      <a:pt x="1814" y="7550"/>
                    </a:lnTo>
                    <a:lnTo>
                      <a:pt x="1802" y="7550"/>
                    </a:lnTo>
                    <a:lnTo>
                      <a:pt x="1791" y="7553"/>
                    </a:lnTo>
                    <a:lnTo>
                      <a:pt x="1780" y="7556"/>
                    </a:lnTo>
                    <a:lnTo>
                      <a:pt x="1769" y="7560"/>
                    </a:lnTo>
                    <a:lnTo>
                      <a:pt x="1754" y="7567"/>
                    </a:lnTo>
                    <a:lnTo>
                      <a:pt x="1737" y="7574"/>
                    </a:lnTo>
                    <a:lnTo>
                      <a:pt x="1720" y="7579"/>
                    </a:lnTo>
                    <a:lnTo>
                      <a:pt x="1702" y="7583"/>
                    </a:lnTo>
                    <a:lnTo>
                      <a:pt x="1693" y="7584"/>
                    </a:lnTo>
                    <a:lnTo>
                      <a:pt x="1684" y="7585"/>
                    </a:lnTo>
                    <a:lnTo>
                      <a:pt x="1675" y="7585"/>
                    </a:lnTo>
                    <a:lnTo>
                      <a:pt x="1667" y="7584"/>
                    </a:lnTo>
                    <a:lnTo>
                      <a:pt x="1659" y="7583"/>
                    </a:lnTo>
                    <a:lnTo>
                      <a:pt x="1650" y="7581"/>
                    </a:lnTo>
                    <a:lnTo>
                      <a:pt x="1642" y="7577"/>
                    </a:lnTo>
                    <a:lnTo>
                      <a:pt x="1633" y="7573"/>
                    </a:lnTo>
                    <a:lnTo>
                      <a:pt x="1624" y="7573"/>
                    </a:lnTo>
                    <a:lnTo>
                      <a:pt x="1613" y="7574"/>
                    </a:lnTo>
                    <a:lnTo>
                      <a:pt x="1602" y="7576"/>
                    </a:lnTo>
                    <a:lnTo>
                      <a:pt x="1591" y="7578"/>
                    </a:lnTo>
                    <a:lnTo>
                      <a:pt x="1571" y="7584"/>
                    </a:lnTo>
                    <a:lnTo>
                      <a:pt x="1551" y="7593"/>
                    </a:lnTo>
                    <a:lnTo>
                      <a:pt x="1531" y="7601"/>
                    </a:lnTo>
                    <a:lnTo>
                      <a:pt x="1512" y="7612"/>
                    </a:lnTo>
                    <a:lnTo>
                      <a:pt x="1491" y="7623"/>
                    </a:lnTo>
                    <a:lnTo>
                      <a:pt x="1472" y="7633"/>
                    </a:lnTo>
                    <a:lnTo>
                      <a:pt x="1453" y="7644"/>
                    </a:lnTo>
                    <a:lnTo>
                      <a:pt x="1433" y="7654"/>
                    </a:lnTo>
                    <a:lnTo>
                      <a:pt x="1414" y="7664"/>
                    </a:lnTo>
                    <a:lnTo>
                      <a:pt x="1395" y="7671"/>
                    </a:lnTo>
                    <a:lnTo>
                      <a:pt x="1377" y="7677"/>
                    </a:lnTo>
                    <a:lnTo>
                      <a:pt x="1358" y="7682"/>
                    </a:lnTo>
                    <a:lnTo>
                      <a:pt x="1348" y="7683"/>
                    </a:lnTo>
                    <a:lnTo>
                      <a:pt x="1338" y="7683"/>
                    </a:lnTo>
                    <a:lnTo>
                      <a:pt x="1329" y="7683"/>
                    </a:lnTo>
                    <a:lnTo>
                      <a:pt x="1318" y="7682"/>
                    </a:lnTo>
                    <a:lnTo>
                      <a:pt x="1276" y="7674"/>
                    </a:lnTo>
                    <a:lnTo>
                      <a:pt x="1232" y="7665"/>
                    </a:lnTo>
                    <a:lnTo>
                      <a:pt x="1187" y="7654"/>
                    </a:lnTo>
                    <a:lnTo>
                      <a:pt x="1142" y="7642"/>
                    </a:lnTo>
                    <a:lnTo>
                      <a:pt x="1098" y="7629"/>
                    </a:lnTo>
                    <a:lnTo>
                      <a:pt x="1053" y="7615"/>
                    </a:lnTo>
                    <a:lnTo>
                      <a:pt x="1010" y="7602"/>
                    </a:lnTo>
                    <a:lnTo>
                      <a:pt x="968" y="7588"/>
                    </a:lnTo>
                    <a:lnTo>
                      <a:pt x="942" y="7581"/>
                    </a:lnTo>
                    <a:lnTo>
                      <a:pt x="912" y="7574"/>
                    </a:lnTo>
                    <a:lnTo>
                      <a:pt x="882" y="7568"/>
                    </a:lnTo>
                    <a:lnTo>
                      <a:pt x="851" y="7561"/>
                    </a:lnTo>
                    <a:lnTo>
                      <a:pt x="835" y="7558"/>
                    </a:lnTo>
                    <a:lnTo>
                      <a:pt x="820" y="7553"/>
                    </a:lnTo>
                    <a:lnTo>
                      <a:pt x="805" y="7548"/>
                    </a:lnTo>
                    <a:lnTo>
                      <a:pt x="792" y="7542"/>
                    </a:lnTo>
                    <a:lnTo>
                      <a:pt x="779" y="7535"/>
                    </a:lnTo>
                    <a:lnTo>
                      <a:pt x="768" y="7526"/>
                    </a:lnTo>
                    <a:lnTo>
                      <a:pt x="757" y="7517"/>
                    </a:lnTo>
                    <a:lnTo>
                      <a:pt x="749" y="7506"/>
                    </a:lnTo>
                    <a:lnTo>
                      <a:pt x="743" y="7503"/>
                    </a:lnTo>
                    <a:lnTo>
                      <a:pt x="737" y="7497"/>
                    </a:lnTo>
                    <a:lnTo>
                      <a:pt x="731" y="7491"/>
                    </a:lnTo>
                    <a:lnTo>
                      <a:pt x="725" y="7487"/>
                    </a:lnTo>
                    <a:lnTo>
                      <a:pt x="717" y="7476"/>
                    </a:lnTo>
                    <a:lnTo>
                      <a:pt x="709" y="7461"/>
                    </a:lnTo>
                    <a:lnTo>
                      <a:pt x="702" y="7447"/>
                    </a:lnTo>
                    <a:lnTo>
                      <a:pt x="697" y="7431"/>
                    </a:lnTo>
                    <a:lnTo>
                      <a:pt x="692" y="7414"/>
                    </a:lnTo>
                    <a:lnTo>
                      <a:pt x="689" y="7399"/>
                    </a:lnTo>
                    <a:lnTo>
                      <a:pt x="686" y="7383"/>
                    </a:lnTo>
                    <a:lnTo>
                      <a:pt x="685" y="7369"/>
                    </a:lnTo>
                    <a:lnTo>
                      <a:pt x="685" y="7359"/>
                    </a:lnTo>
                    <a:lnTo>
                      <a:pt x="687" y="7352"/>
                    </a:lnTo>
                    <a:lnTo>
                      <a:pt x="690" y="7345"/>
                    </a:lnTo>
                    <a:lnTo>
                      <a:pt x="693" y="7339"/>
                    </a:lnTo>
                    <a:lnTo>
                      <a:pt x="701" y="7329"/>
                    </a:lnTo>
                    <a:lnTo>
                      <a:pt x="709" y="7321"/>
                    </a:lnTo>
                    <a:lnTo>
                      <a:pt x="711" y="7316"/>
                    </a:lnTo>
                    <a:lnTo>
                      <a:pt x="715" y="7311"/>
                    </a:lnTo>
                    <a:lnTo>
                      <a:pt x="717" y="7307"/>
                    </a:lnTo>
                    <a:lnTo>
                      <a:pt x="717" y="7303"/>
                    </a:lnTo>
                    <a:lnTo>
                      <a:pt x="717" y="7296"/>
                    </a:lnTo>
                    <a:lnTo>
                      <a:pt x="716" y="7290"/>
                    </a:lnTo>
                    <a:lnTo>
                      <a:pt x="713" y="7283"/>
                    </a:lnTo>
                    <a:lnTo>
                      <a:pt x="708" y="7276"/>
                    </a:lnTo>
                    <a:lnTo>
                      <a:pt x="697" y="7258"/>
                    </a:lnTo>
                    <a:lnTo>
                      <a:pt x="687" y="7238"/>
                    </a:lnTo>
                    <a:lnTo>
                      <a:pt x="682" y="7228"/>
                    </a:lnTo>
                    <a:lnTo>
                      <a:pt x="678" y="7218"/>
                    </a:lnTo>
                    <a:lnTo>
                      <a:pt x="672" y="7210"/>
                    </a:lnTo>
                    <a:lnTo>
                      <a:pt x="666" y="7200"/>
                    </a:lnTo>
                    <a:lnTo>
                      <a:pt x="657" y="7192"/>
                    </a:lnTo>
                    <a:lnTo>
                      <a:pt x="645" y="7183"/>
                    </a:lnTo>
                    <a:lnTo>
                      <a:pt x="634" y="7176"/>
                    </a:lnTo>
                    <a:lnTo>
                      <a:pt x="622" y="7169"/>
                    </a:lnTo>
                    <a:lnTo>
                      <a:pt x="611" y="7162"/>
                    </a:lnTo>
                    <a:lnTo>
                      <a:pt x="602" y="7152"/>
                    </a:lnTo>
                    <a:lnTo>
                      <a:pt x="598" y="7147"/>
                    </a:lnTo>
                    <a:lnTo>
                      <a:pt x="596" y="7142"/>
                    </a:lnTo>
                    <a:lnTo>
                      <a:pt x="595" y="7136"/>
                    </a:lnTo>
                    <a:lnTo>
                      <a:pt x="593" y="7129"/>
                    </a:lnTo>
                    <a:lnTo>
                      <a:pt x="592" y="7120"/>
                    </a:lnTo>
                    <a:lnTo>
                      <a:pt x="590" y="7110"/>
                    </a:lnTo>
                    <a:lnTo>
                      <a:pt x="586" y="7102"/>
                    </a:lnTo>
                    <a:lnTo>
                      <a:pt x="581" y="7094"/>
                    </a:lnTo>
                    <a:lnTo>
                      <a:pt x="575" y="7088"/>
                    </a:lnTo>
                    <a:lnTo>
                      <a:pt x="569" y="7081"/>
                    </a:lnTo>
                    <a:lnTo>
                      <a:pt x="562" y="7076"/>
                    </a:lnTo>
                    <a:lnTo>
                      <a:pt x="555" y="7070"/>
                    </a:lnTo>
                    <a:lnTo>
                      <a:pt x="539" y="7059"/>
                    </a:lnTo>
                    <a:lnTo>
                      <a:pt x="525" y="7049"/>
                    </a:lnTo>
                    <a:lnTo>
                      <a:pt x="519" y="7044"/>
                    </a:lnTo>
                    <a:lnTo>
                      <a:pt x="513" y="7038"/>
                    </a:lnTo>
                    <a:lnTo>
                      <a:pt x="509" y="7031"/>
                    </a:lnTo>
                    <a:lnTo>
                      <a:pt x="506" y="7023"/>
                    </a:lnTo>
                    <a:lnTo>
                      <a:pt x="521" y="7026"/>
                    </a:lnTo>
                    <a:lnTo>
                      <a:pt x="538" y="7029"/>
                    </a:lnTo>
                    <a:lnTo>
                      <a:pt x="557" y="7035"/>
                    </a:lnTo>
                    <a:lnTo>
                      <a:pt x="577" y="7040"/>
                    </a:lnTo>
                    <a:lnTo>
                      <a:pt x="586" y="7043"/>
                    </a:lnTo>
                    <a:lnTo>
                      <a:pt x="596" y="7045"/>
                    </a:lnTo>
                    <a:lnTo>
                      <a:pt x="605" y="7045"/>
                    </a:lnTo>
                    <a:lnTo>
                      <a:pt x="615" y="7045"/>
                    </a:lnTo>
                    <a:lnTo>
                      <a:pt x="624" y="7044"/>
                    </a:lnTo>
                    <a:lnTo>
                      <a:pt x="632" y="7041"/>
                    </a:lnTo>
                    <a:lnTo>
                      <a:pt x="639" y="7037"/>
                    </a:lnTo>
                    <a:lnTo>
                      <a:pt x="646" y="7031"/>
                    </a:lnTo>
                    <a:lnTo>
                      <a:pt x="654" y="7023"/>
                    </a:lnTo>
                    <a:lnTo>
                      <a:pt x="660" y="7016"/>
                    </a:lnTo>
                    <a:lnTo>
                      <a:pt x="664" y="7008"/>
                    </a:lnTo>
                    <a:lnTo>
                      <a:pt x="668" y="7000"/>
                    </a:lnTo>
                    <a:lnTo>
                      <a:pt x="675" y="6984"/>
                    </a:lnTo>
                    <a:lnTo>
                      <a:pt x="680" y="6967"/>
                    </a:lnTo>
                    <a:lnTo>
                      <a:pt x="685" y="6950"/>
                    </a:lnTo>
                    <a:lnTo>
                      <a:pt x="690" y="6933"/>
                    </a:lnTo>
                    <a:lnTo>
                      <a:pt x="697" y="6916"/>
                    </a:lnTo>
                    <a:lnTo>
                      <a:pt x="705" y="6901"/>
                    </a:lnTo>
                    <a:lnTo>
                      <a:pt x="716" y="6890"/>
                    </a:lnTo>
                    <a:lnTo>
                      <a:pt x="731" y="6878"/>
                    </a:lnTo>
                    <a:lnTo>
                      <a:pt x="734" y="6874"/>
                    </a:lnTo>
                    <a:lnTo>
                      <a:pt x="735" y="6870"/>
                    </a:lnTo>
                    <a:lnTo>
                      <a:pt x="737" y="6867"/>
                    </a:lnTo>
                    <a:lnTo>
                      <a:pt x="737" y="6863"/>
                    </a:lnTo>
                    <a:lnTo>
                      <a:pt x="735" y="6860"/>
                    </a:lnTo>
                    <a:lnTo>
                      <a:pt x="733" y="6855"/>
                    </a:lnTo>
                    <a:lnTo>
                      <a:pt x="728" y="6851"/>
                    </a:lnTo>
                    <a:lnTo>
                      <a:pt x="722" y="6846"/>
                    </a:lnTo>
                    <a:lnTo>
                      <a:pt x="709" y="6838"/>
                    </a:lnTo>
                    <a:lnTo>
                      <a:pt x="696" y="6832"/>
                    </a:lnTo>
                    <a:lnTo>
                      <a:pt x="682" y="6827"/>
                    </a:lnTo>
                    <a:lnTo>
                      <a:pt x="669" y="6822"/>
                    </a:lnTo>
                    <a:lnTo>
                      <a:pt x="642" y="6815"/>
                    </a:lnTo>
                    <a:lnTo>
                      <a:pt x="613" y="6807"/>
                    </a:lnTo>
                    <a:lnTo>
                      <a:pt x="583" y="6802"/>
                    </a:lnTo>
                    <a:lnTo>
                      <a:pt x="556" y="6798"/>
                    </a:lnTo>
                    <a:lnTo>
                      <a:pt x="544" y="6795"/>
                    </a:lnTo>
                    <a:lnTo>
                      <a:pt x="531" y="6791"/>
                    </a:lnTo>
                    <a:lnTo>
                      <a:pt x="518" y="6786"/>
                    </a:lnTo>
                    <a:lnTo>
                      <a:pt x="502" y="6779"/>
                    </a:lnTo>
                    <a:lnTo>
                      <a:pt x="495" y="6777"/>
                    </a:lnTo>
                    <a:lnTo>
                      <a:pt x="488" y="6773"/>
                    </a:lnTo>
                    <a:lnTo>
                      <a:pt x="479" y="6772"/>
                    </a:lnTo>
                    <a:lnTo>
                      <a:pt x="469" y="6769"/>
                    </a:lnTo>
                    <a:lnTo>
                      <a:pt x="451" y="6767"/>
                    </a:lnTo>
                    <a:lnTo>
                      <a:pt x="433" y="6766"/>
                    </a:lnTo>
                    <a:lnTo>
                      <a:pt x="414" y="6765"/>
                    </a:lnTo>
                    <a:lnTo>
                      <a:pt x="395" y="6763"/>
                    </a:lnTo>
                    <a:lnTo>
                      <a:pt x="377" y="6762"/>
                    </a:lnTo>
                    <a:lnTo>
                      <a:pt x="360" y="6759"/>
                    </a:lnTo>
                    <a:lnTo>
                      <a:pt x="343" y="6755"/>
                    </a:lnTo>
                    <a:lnTo>
                      <a:pt x="326" y="6749"/>
                    </a:lnTo>
                    <a:lnTo>
                      <a:pt x="311" y="6744"/>
                    </a:lnTo>
                    <a:lnTo>
                      <a:pt x="296" y="6737"/>
                    </a:lnTo>
                    <a:lnTo>
                      <a:pt x="282" y="6730"/>
                    </a:lnTo>
                    <a:lnTo>
                      <a:pt x="267" y="6722"/>
                    </a:lnTo>
                    <a:lnTo>
                      <a:pt x="254" y="6714"/>
                    </a:lnTo>
                    <a:lnTo>
                      <a:pt x="242" y="6706"/>
                    </a:lnTo>
                    <a:lnTo>
                      <a:pt x="217" y="6688"/>
                    </a:lnTo>
                    <a:lnTo>
                      <a:pt x="191" y="6668"/>
                    </a:lnTo>
                    <a:lnTo>
                      <a:pt x="165" y="6649"/>
                    </a:lnTo>
                    <a:lnTo>
                      <a:pt x="137" y="6627"/>
                    </a:lnTo>
                    <a:lnTo>
                      <a:pt x="123" y="6619"/>
                    </a:lnTo>
                    <a:lnTo>
                      <a:pt x="108" y="6612"/>
                    </a:lnTo>
                    <a:lnTo>
                      <a:pt x="92" y="6606"/>
                    </a:lnTo>
                    <a:lnTo>
                      <a:pt x="76" y="6600"/>
                    </a:lnTo>
                    <a:lnTo>
                      <a:pt x="59" y="6595"/>
                    </a:lnTo>
                    <a:lnTo>
                      <a:pt x="43" y="6589"/>
                    </a:lnTo>
                    <a:lnTo>
                      <a:pt x="28" y="6583"/>
                    </a:lnTo>
                    <a:lnTo>
                      <a:pt x="13" y="6576"/>
                    </a:lnTo>
                    <a:lnTo>
                      <a:pt x="6" y="6540"/>
                    </a:lnTo>
                    <a:lnTo>
                      <a:pt x="0" y="6505"/>
                    </a:lnTo>
                    <a:lnTo>
                      <a:pt x="0" y="6496"/>
                    </a:lnTo>
                    <a:lnTo>
                      <a:pt x="1" y="6488"/>
                    </a:lnTo>
                    <a:lnTo>
                      <a:pt x="4" y="6479"/>
                    </a:lnTo>
                    <a:lnTo>
                      <a:pt x="6" y="6472"/>
                    </a:lnTo>
                    <a:lnTo>
                      <a:pt x="11" y="6464"/>
                    </a:lnTo>
                    <a:lnTo>
                      <a:pt x="17" y="6457"/>
                    </a:lnTo>
                    <a:lnTo>
                      <a:pt x="24" y="6449"/>
                    </a:lnTo>
                    <a:lnTo>
                      <a:pt x="34" y="6442"/>
                    </a:lnTo>
                    <a:lnTo>
                      <a:pt x="54" y="6430"/>
                    </a:lnTo>
                    <a:lnTo>
                      <a:pt x="77" y="6418"/>
                    </a:lnTo>
                    <a:lnTo>
                      <a:pt x="100" y="6408"/>
                    </a:lnTo>
                    <a:lnTo>
                      <a:pt x="124" y="6398"/>
                    </a:lnTo>
                    <a:lnTo>
                      <a:pt x="147" y="6388"/>
                    </a:lnTo>
                    <a:lnTo>
                      <a:pt x="170" y="6377"/>
                    </a:lnTo>
                    <a:lnTo>
                      <a:pt x="190" y="6365"/>
                    </a:lnTo>
                    <a:lnTo>
                      <a:pt x="208" y="6353"/>
                    </a:lnTo>
                    <a:lnTo>
                      <a:pt x="533" y="6088"/>
                    </a:lnTo>
                    <a:lnTo>
                      <a:pt x="554" y="6076"/>
                    </a:lnTo>
                    <a:lnTo>
                      <a:pt x="575" y="6062"/>
                    </a:lnTo>
                    <a:lnTo>
                      <a:pt x="597" y="6046"/>
                    </a:lnTo>
                    <a:lnTo>
                      <a:pt x="618" y="6029"/>
                    </a:lnTo>
                    <a:lnTo>
                      <a:pt x="660" y="5997"/>
                    </a:lnTo>
                    <a:lnTo>
                      <a:pt x="699" y="5967"/>
                    </a:lnTo>
                    <a:lnTo>
                      <a:pt x="716" y="5957"/>
                    </a:lnTo>
                    <a:lnTo>
                      <a:pt x="732" y="5949"/>
                    </a:lnTo>
                    <a:lnTo>
                      <a:pt x="749" y="5941"/>
                    </a:lnTo>
                    <a:lnTo>
                      <a:pt x="766" y="5935"/>
                    </a:lnTo>
                    <a:lnTo>
                      <a:pt x="782" y="5929"/>
                    </a:lnTo>
                    <a:lnTo>
                      <a:pt x="798" y="5923"/>
                    </a:lnTo>
                    <a:lnTo>
                      <a:pt x="814" y="5916"/>
                    </a:lnTo>
                    <a:lnTo>
                      <a:pt x="827" y="5907"/>
                    </a:lnTo>
                    <a:lnTo>
                      <a:pt x="838" y="5898"/>
                    </a:lnTo>
                    <a:lnTo>
                      <a:pt x="847" y="5887"/>
                    </a:lnTo>
                    <a:lnTo>
                      <a:pt x="857" y="5875"/>
                    </a:lnTo>
                    <a:lnTo>
                      <a:pt x="867" y="5864"/>
                    </a:lnTo>
                    <a:lnTo>
                      <a:pt x="877" y="5852"/>
                    </a:lnTo>
                    <a:lnTo>
                      <a:pt x="888" y="5844"/>
                    </a:lnTo>
                    <a:lnTo>
                      <a:pt x="894" y="5839"/>
                    </a:lnTo>
                    <a:lnTo>
                      <a:pt x="902" y="5836"/>
                    </a:lnTo>
                    <a:lnTo>
                      <a:pt x="908" y="5833"/>
                    </a:lnTo>
                    <a:lnTo>
                      <a:pt x="915" y="5832"/>
                    </a:lnTo>
                    <a:lnTo>
                      <a:pt x="923" y="5822"/>
                    </a:lnTo>
                    <a:lnTo>
                      <a:pt x="932" y="5813"/>
                    </a:lnTo>
                    <a:lnTo>
                      <a:pt x="942" y="5804"/>
                    </a:lnTo>
                    <a:lnTo>
                      <a:pt x="954" y="5796"/>
                    </a:lnTo>
                    <a:lnTo>
                      <a:pt x="981" y="5780"/>
                    </a:lnTo>
                    <a:lnTo>
                      <a:pt x="1009" y="5765"/>
                    </a:lnTo>
                    <a:lnTo>
                      <a:pt x="1038" y="5751"/>
                    </a:lnTo>
                    <a:lnTo>
                      <a:pt x="1066" y="5738"/>
                    </a:lnTo>
                    <a:lnTo>
                      <a:pt x="1093" y="5726"/>
                    </a:lnTo>
                    <a:lnTo>
                      <a:pt x="1116" y="5715"/>
                    </a:lnTo>
                    <a:lnTo>
                      <a:pt x="1141" y="5703"/>
                    </a:lnTo>
                    <a:lnTo>
                      <a:pt x="1171" y="5690"/>
                    </a:lnTo>
                    <a:lnTo>
                      <a:pt x="1204" y="5678"/>
                    </a:lnTo>
                    <a:lnTo>
                      <a:pt x="1237" y="5665"/>
                    </a:lnTo>
                    <a:lnTo>
                      <a:pt x="1270" y="5650"/>
                    </a:lnTo>
                    <a:lnTo>
                      <a:pt x="1300" y="5635"/>
                    </a:lnTo>
                    <a:lnTo>
                      <a:pt x="1313" y="5627"/>
                    </a:lnTo>
                    <a:lnTo>
                      <a:pt x="1325" y="5619"/>
                    </a:lnTo>
                    <a:lnTo>
                      <a:pt x="1337" y="5610"/>
                    </a:lnTo>
                    <a:lnTo>
                      <a:pt x="1346" y="5601"/>
                    </a:lnTo>
                    <a:lnTo>
                      <a:pt x="1388" y="5585"/>
                    </a:lnTo>
                    <a:lnTo>
                      <a:pt x="1436" y="5567"/>
                    </a:lnTo>
                    <a:lnTo>
                      <a:pt x="1462" y="5559"/>
                    </a:lnTo>
                    <a:lnTo>
                      <a:pt x="1490" y="5550"/>
                    </a:lnTo>
                    <a:lnTo>
                      <a:pt x="1518" y="5542"/>
                    </a:lnTo>
                    <a:lnTo>
                      <a:pt x="1545" y="5535"/>
                    </a:lnTo>
                    <a:lnTo>
                      <a:pt x="1573" y="5529"/>
                    </a:lnTo>
                    <a:lnTo>
                      <a:pt x="1601" y="5524"/>
                    </a:lnTo>
                    <a:lnTo>
                      <a:pt x="1628" y="5520"/>
                    </a:lnTo>
                    <a:lnTo>
                      <a:pt x="1655" y="5520"/>
                    </a:lnTo>
                    <a:lnTo>
                      <a:pt x="1668" y="5520"/>
                    </a:lnTo>
                    <a:lnTo>
                      <a:pt x="1680" y="5520"/>
                    </a:lnTo>
                    <a:lnTo>
                      <a:pt x="1692" y="5523"/>
                    </a:lnTo>
                    <a:lnTo>
                      <a:pt x="1704" y="5524"/>
                    </a:lnTo>
                    <a:lnTo>
                      <a:pt x="1716" y="5527"/>
                    </a:lnTo>
                    <a:lnTo>
                      <a:pt x="1727" y="5531"/>
                    </a:lnTo>
                    <a:lnTo>
                      <a:pt x="1737" y="5535"/>
                    </a:lnTo>
                    <a:lnTo>
                      <a:pt x="1748" y="5539"/>
                    </a:lnTo>
                    <a:lnTo>
                      <a:pt x="1763" y="5552"/>
                    </a:lnTo>
                    <a:lnTo>
                      <a:pt x="1779" y="5565"/>
                    </a:lnTo>
                    <a:lnTo>
                      <a:pt x="1786" y="5572"/>
                    </a:lnTo>
                    <a:lnTo>
                      <a:pt x="1795" y="5578"/>
                    </a:lnTo>
                    <a:lnTo>
                      <a:pt x="1803" y="5583"/>
                    </a:lnTo>
                    <a:lnTo>
                      <a:pt x="1813" y="5586"/>
                    </a:lnTo>
                    <a:lnTo>
                      <a:pt x="1810" y="5604"/>
                    </a:lnTo>
                    <a:lnTo>
                      <a:pt x="1807" y="5621"/>
                    </a:lnTo>
                    <a:lnTo>
                      <a:pt x="1802" y="5637"/>
                    </a:lnTo>
                    <a:lnTo>
                      <a:pt x="1796" y="5653"/>
                    </a:lnTo>
                    <a:lnTo>
                      <a:pt x="1790" y="5667"/>
                    </a:lnTo>
                    <a:lnTo>
                      <a:pt x="1784" y="5683"/>
                    </a:lnTo>
                    <a:lnTo>
                      <a:pt x="1778" y="5697"/>
                    </a:lnTo>
                    <a:lnTo>
                      <a:pt x="1774" y="5714"/>
                    </a:lnTo>
                    <a:lnTo>
                      <a:pt x="1772" y="5733"/>
                    </a:lnTo>
                    <a:lnTo>
                      <a:pt x="1770" y="5750"/>
                    </a:lnTo>
                    <a:lnTo>
                      <a:pt x="1770" y="5767"/>
                    </a:lnTo>
                    <a:lnTo>
                      <a:pt x="1772" y="5783"/>
                    </a:lnTo>
                    <a:lnTo>
                      <a:pt x="1776" y="5813"/>
                    </a:lnTo>
                    <a:lnTo>
                      <a:pt x="1778" y="5848"/>
                    </a:lnTo>
                    <a:lnTo>
                      <a:pt x="1778" y="5855"/>
                    </a:lnTo>
                    <a:lnTo>
                      <a:pt x="1775" y="5862"/>
                    </a:lnTo>
                    <a:lnTo>
                      <a:pt x="1773" y="5868"/>
                    </a:lnTo>
                    <a:lnTo>
                      <a:pt x="1770" y="5874"/>
                    </a:lnTo>
                    <a:lnTo>
                      <a:pt x="1762" y="5885"/>
                    </a:lnTo>
                    <a:lnTo>
                      <a:pt x="1752" y="5893"/>
                    </a:lnTo>
                    <a:lnTo>
                      <a:pt x="1743" y="5902"/>
                    </a:lnTo>
                    <a:lnTo>
                      <a:pt x="1733" y="5909"/>
                    </a:lnTo>
                    <a:lnTo>
                      <a:pt x="1730" y="5913"/>
                    </a:lnTo>
                    <a:lnTo>
                      <a:pt x="1727" y="5916"/>
                    </a:lnTo>
                    <a:lnTo>
                      <a:pt x="1725" y="5920"/>
                    </a:lnTo>
                    <a:lnTo>
                      <a:pt x="1724" y="5923"/>
                    </a:lnTo>
                    <a:lnTo>
                      <a:pt x="1722" y="5923"/>
                    </a:lnTo>
                    <a:lnTo>
                      <a:pt x="1721" y="5925"/>
                    </a:lnTo>
                    <a:lnTo>
                      <a:pt x="1721" y="5926"/>
                    </a:lnTo>
                    <a:lnTo>
                      <a:pt x="1722" y="5928"/>
                    </a:lnTo>
                    <a:lnTo>
                      <a:pt x="1724" y="5929"/>
                    </a:lnTo>
                    <a:lnTo>
                      <a:pt x="1725" y="5931"/>
                    </a:lnTo>
                    <a:lnTo>
                      <a:pt x="1730" y="5934"/>
                    </a:lnTo>
                    <a:lnTo>
                      <a:pt x="1740" y="5938"/>
                    </a:lnTo>
                    <a:lnTo>
                      <a:pt x="1746" y="5941"/>
                    </a:lnTo>
                    <a:lnTo>
                      <a:pt x="1752" y="5945"/>
                    </a:lnTo>
                    <a:lnTo>
                      <a:pt x="1757" y="5949"/>
                    </a:lnTo>
                    <a:lnTo>
                      <a:pt x="1760" y="5953"/>
                    </a:lnTo>
                    <a:lnTo>
                      <a:pt x="1780" y="6004"/>
                    </a:lnTo>
                    <a:lnTo>
                      <a:pt x="1789" y="6022"/>
                    </a:lnTo>
                    <a:lnTo>
                      <a:pt x="1799" y="6045"/>
                    </a:lnTo>
                    <a:lnTo>
                      <a:pt x="1807" y="6055"/>
                    </a:lnTo>
                    <a:lnTo>
                      <a:pt x="1814" y="6064"/>
                    </a:lnTo>
                    <a:lnTo>
                      <a:pt x="1819" y="6068"/>
                    </a:lnTo>
                    <a:lnTo>
                      <a:pt x="1822" y="6070"/>
                    </a:lnTo>
                    <a:lnTo>
                      <a:pt x="1827" y="6073"/>
                    </a:lnTo>
                    <a:lnTo>
                      <a:pt x="1831" y="6074"/>
                    </a:lnTo>
                    <a:lnTo>
                      <a:pt x="1845" y="6075"/>
                    </a:lnTo>
                    <a:lnTo>
                      <a:pt x="1858" y="6074"/>
                    </a:lnTo>
                    <a:lnTo>
                      <a:pt x="1872" y="6071"/>
                    </a:lnTo>
                    <a:lnTo>
                      <a:pt x="1884" y="6068"/>
                    </a:lnTo>
                    <a:lnTo>
                      <a:pt x="1908" y="6059"/>
                    </a:lnTo>
                    <a:lnTo>
                      <a:pt x="1931" y="6050"/>
                    </a:lnTo>
                    <a:lnTo>
                      <a:pt x="1943" y="6045"/>
                    </a:lnTo>
                    <a:lnTo>
                      <a:pt x="1955" y="6041"/>
                    </a:lnTo>
                    <a:lnTo>
                      <a:pt x="1967" y="6039"/>
                    </a:lnTo>
                    <a:lnTo>
                      <a:pt x="1980" y="6039"/>
                    </a:lnTo>
                    <a:lnTo>
                      <a:pt x="1992" y="6040"/>
                    </a:lnTo>
                    <a:lnTo>
                      <a:pt x="2006" y="6044"/>
                    </a:lnTo>
                    <a:lnTo>
                      <a:pt x="2020" y="6051"/>
                    </a:lnTo>
                    <a:lnTo>
                      <a:pt x="2035" y="6059"/>
                    </a:lnTo>
                    <a:lnTo>
                      <a:pt x="2040" y="6063"/>
                    </a:lnTo>
                    <a:lnTo>
                      <a:pt x="2047" y="6067"/>
                    </a:lnTo>
                    <a:lnTo>
                      <a:pt x="2054" y="6068"/>
                    </a:lnTo>
                    <a:lnTo>
                      <a:pt x="2062" y="6070"/>
                    </a:lnTo>
                    <a:lnTo>
                      <a:pt x="2077" y="6071"/>
                    </a:lnTo>
                    <a:lnTo>
                      <a:pt x="2094" y="6071"/>
                    </a:lnTo>
                    <a:lnTo>
                      <a:pt x="2111" y="6069"/>
                    </a:lnTo>
                    <a:lnTo>
                      <a:pt x="2127" y="6067"/>
                    </a:lnTo>
                    <a:lnTo>
                      <a:pt x="2142" y="6062"/>
                    </a:lnTo>
                    <a:lnTo>
                      <a:pt x="2154" y="6057"/>
                    </a:lnTo>
                    <a:lnTo>
                      <a:pt x="2182" y="6051"/>
                    </a:lnTo>
                    <a:lnTo>
                      <a:pt x="2200" y="6049"/>
                    </a:lnTo>
                    <a:lnTo>
                      <a:pt x="2207" y="6049"/>
                    </a:lnTo>
                    <a:lnTo>
                      <a:pt x="2213" y="6049"/>
                    </a:lnTo>
                    <a:lnTo>
                      <a:pt x="2218" y="6050"/>
                    </a:lnTo>
                    <a:lnTo>
                      <a:pt x="2223" y="6052"/>
                    </a:lnTo>
                    <a:lnTo>
                      <a:pt x="2239" y="6069"/>
                    </a:lnTo>
                    <a:lnTo>
                      <a:pt x="2265" y="6099"/>
                    </a:lnTo>
                    <a:lnTo>
                      <a:pt x="2271" y="6104"/>
                    </a:lnTo>
                    <a:lnTo>
                      <a:pt x="2278" y="6106"/>
                    </a:lnTo>
                    <a:lnTo>
                      <a:pt x="2284" y="6108"/>
                    </a:lnTo>
                    <a:lnTo>
                      <a:pt x="2292" y="6108"/>
                    </a:lnTo>
                    <a:lnTo>
                      <a:pt x="2306" y="6104"/>
                    </a:lnTo>
                    <a:lnTo>
                      <a:pt x="2320" y="6098"/>
                    </a:lnTo>
                    <a:lnTo>
                      <a:pt x="2334" y="6092"/>
                    </a:lnTo>
                    <a:lnTo>
                      <a:pt x="2347" y="6087"/>
                    </a:lnTo>
                    <a:lnTo>
                      <a:pt x="2352" y="6087"/>
                    </a:lnTo>
                    <a:lnTo>
                      <a:pt x="2357" y="6088"/>
                    </a:lnTo>
                    <a:lnTo>
                      <a:pt x="2360" y="6091"/>
                    </a:lnTo>
                    <a:lnTo>
                      <a:pt x="2364" y="6095"/>
                    </a:lnTo>
                    <a:lnTo>
                      <a:pt x="2371" y="6098"/>
                    </a:lnTo>
                    <a:lnTo>
                      <a:pt x="2375" y="6100"/>
                    </a:lnTo>
                    <a:lnTo>
                      <a:pt x="2377" y="6103"/>
                    </a:lnTo>
                    <a:lnTo>
                      <a:pt x="2378" y="6105"/>
                    </a:lnTo>
                    <a:lnTo>
                      <a:pt x="2381" y="6106"/>
                    </a:lnTo>
                    <a:lnTo>
                      <a:pt x="2385" y="6105"/>
                    </a:lnTo>
                    <a:lnTo>
                      <a:pt x="2393" y="6101"/>
                    </a:lnTo>
                    <a:lnTo>
                      <a:pt x="2405" y="6094"/>
                    </a:lnTo>
                    <a:lnTo>
                      <a:pt x="2425" y="6083"/>
                    </a:lnTo>
                    <a:lnTo>
                      <a:pt x="2446" y="6074"/>
                    </a:lnTo>
                    <a:lnTo>
                      <a:pt x="2466" y="6067"/>
                    </a:lnTo>
                    <a:lnTo>
                      <a:pt x="2488" y="6059"/>
                    </a:lnTo>
                    <a:lnTo>
                      <a:pt x="2495" y="6058"/>
                    </a:lnTo>
                    <a:lnTo>
                      <a:pt x="2502" y="6059"/>
                    </a:lnTo>
                    <a:lnTo>
                      <a:pt x="2508" y="6061"/>
                    </a:lnTo>
                    <a:lnTo>
                      <a:pt x="2515" y="6063"/>
                    </a:lnTo>
                    <a:lnTo>
                      <a:pt x="2527" y="6069"/>
                    </a:lnTo>
                    <a:lnTo>
                      <a:pt x="2539" y="6079"/>
                    </a:lnTo>
                    <a:lnTo>
                      <a:pt x="2552" y="6088"/>
                    </a:lnTo>
                    <a:lnTo>
                      <a:pt x="2562" y="6099"/>
                    </a:lnTo>
                    <a:lnTo>
                      <a:pt x="2574" y="6108"/>
                    </a:lnTo>
                    <a:lnTo>
                      <a:pt x="2586" y="6115"/>
                    </a:lnTo>
                    <a:lnTo>
                      <a:pt x="2591" y="6116"/>
                    </a:lnTo>
                    <a:lnTo>
                      <a:pt x="2596" y="6116"/>
                    </a:lnTo>
                    <a:lnTo>
                      <a:pt x="2601" y="6114"/>
                    </a:lnTo>
                    <a:lnTo>
                      <a:pt x="2606" y="6111"/>
                    </a:lnTo>
                    <a:lnTo>
                      <a:pt x="2617" y="6101"/>
                    </a:lnTo>
                    <a:lnTo>
                      <a:pt x="2629" y="6088"/>
                    </a:lnTo>
                    <a:lnTo>
                      <a:pt x="2641" y="6071"/>
                    </a:lnTo>
                    <a:lnTo>
                      <a:pt x="2653" y="6052"/>
                    </a:lnTo>
                    <a:lnTo>
                      <a:pt x="2665" y="6030"/>
                    </a:lnTo>
                    <a:lnTo>
                      <a:pt x="2677" y="6009"/>
                    </a:lnTo>
                    <a:lnTo>
                      <a:pt x="2701" y="5964"/>
                    </a:lnTo>
                    <a:lnTo>
                      <a:pt x="2721" y="5925"/>
                    </a:lnTo>
                    <a:lnTo>
                      <a:pt x="2731" y="5908"/>
                    </a:lnTo>
                    <a:lnTo>
                      <a:pt x="2738" y="5896"/>
                    </a:lnTo>
                    <a:lnTo>
                      <a:pt x="2744" y="5886"/>
                    </a:lnTo>
                    <a:lnTo>
                      <a:pt x="2749" y="5882"/>
                    </a:lnTo>
                    <a:lnTo>
                      <a:pt x="2749" y="5881"/>
                    </a:lnTo>
                    <a:lnTo>
                      <a:pt x="2749" y="5880"/>
                    </a:lnTo>
                    <a:lnTo>
                      <a:pt x="2750" y="5879"/>
                    </a:lnTo>
                    <a:lnTo>
                      <a:pt x="2751" y="5879"/>
                    </a:lnTo>
                    <a:lnTo>
                      <a:pt x="2760" y="5878"/>
                    </a:lnTo>
                    <a:lnTo>
                      <a:pt x="2777" y="5878"/>
                    </a:lnTo>
                    <a:lnTo>
                      <a:pt x="2796" y="5879"/>
                    </a:lnTo>
                    <a:lnTo>
                      <a:pt x="2809" y="5880"/>
                    </a:lnTo>
                    <a:lnTo>
                      <a:pt x="2816" y="5895"/>
                    </a:lnTo>
                    <a:lnTo>
                      <a:pt x="2824" y="5908"/>
                    </a:lnTo>
                    <a:lnTo>
                      <a:pt x="2836" y="5910"/>
                    </a:lnTo>
                    <a:lnTo>
                      <a:pt x="2846" y="5913"/>
                    </a:lnTo>
                    <a:lnTo>
                      <a:pt x="2857" y="5913"/>
                    </a:lnTo>
                    <a:lnTo>
                      <a:pt x="2867" y="5914"/>
                    </a:lnTo>
                    <a:lnTo>
                      <a:pt x="2886" y="5913"/>
                    </a:lnTo>
                    <a:lnTo>
                      <a:pt x="2909" y="5913"/>
                    </a:lnTo>
                    <a:lnTo>
                      <a:pt x="2910" y="5910"/>
                    </a:lnTo>
                    <a:lnTo>
                      <a:pt x="2911" y="5909"/>
                    </a:lnTo>
                    <a:lnTo>
                      <a:pt x="2914" y="5909"/>
                    </a:lnTo>
                    <a:lnTo>
                      <a:pt x="2915" y="5909"/>
                    </a:lnTo>
                    <a:lnTo>
                      <a:pt x="2919" y="5911"/>
                    </a:lnTo>
                    <a:lnTo>
                      <a:pt x="2921" y="5913"/>
                    </a:lnTo>
                    <a:lnTo>
                      <a:pt x="2923" y="5922"/>
                    </a:lnTo>
                    <a:lnTo>
                      <a:pt x="2927" y="5932"/>
                    </a:lnTo>
                    <a:lnTo>
                      <a:pt x="2931" y="5943"/>
                    </a:lnTo>
                    <a:lnTo>
                      <a:pt x="2933" y="5952"/>
                    </a:lnTo>
                    <a:lnTo>
                      <a:pt x="2934" y="5953"/>
                    </a:lnTo>
                    <a:lnTo>
                      <a:pt x="2935" y="5956"/>
                    </a:lnTo>
                    <a:lnTo>
                      <a:pt x="2939" y="5957"/>
                    </a:lnTo>
                    <a:lnTo>
                      <a:pt x="2943" y="5957"/>
                    </a:lnTo>
                    <a:lnTo>
                      <a:pt x="2946" y="5956"/>
                    </a:lnTo>
                    <a:lnTo>
                      <a:pt x="2949" y="5956"/>
                    </a:lnTo>
                    <a:lnTo>
                      <a:pt x="2954" y="5952"/>
                    </a:lnTo>
                    <a:lnTo>
                      <a:pt x="2956" y="5946"/>
                    </a:lnTo>
                    <a:lnTo>
                      <a:pt x="2957" y="5940"/>
                    </a:lnTo>
                    <a:lnTo>
                      <a:pt x="2957" y="5932"/>
                    </a:lnTo>
                    <a:lnTo>
                      <a:pt x="2956" y="5922"/>
                    </a:lnTo>
                    <a:lnTo>
                      <a:pt x="2955" y="5914"/>
                    </a:lnTo>
                    <a:lnTo>
                      <a:pt x="2949" y="5893"/>
                    </a:lnTo>
                    <a:lnTo>
                      <a:pt x="2941" y="5874"/>
                    </a:lnTo>
                    <a:lnTo>
                      <a:pt x="2935" y="5858"/>
                    </a:lnTo>
                    <a:lnTo>
                      <a:pt x="2931" y="5848"/>
                    </a:lnTo>
                    <a:lnTo>
                      <a:pt x="2922" y="5832"/>
                    </a:lnTo>
                    <a:lnTo>
                      <a:pt x="2911" y="5817"/>
                    </a:lnTo>
                    <a:lnTo>
                      <a:pt x="2901" y="5804"/>
                    </a:lnTo>
                    <a:lnTo>
                      <a:pt x="2887" y="5791"/>
                    </a:lnTo>
                    <a:lnTo>
                      <a:pt x="2873" y="5780"/>
                    </a:lnTo>
                    <a:lnTo>
                      <a:pt x="2857" y="5769"/>
                    </a:lnTo>
                    <a:lnTo>
                      <a:pt x="2840" y="5759"/>
                    </a:lnTo>
                    <a:lnTo>
                      <a:pt x="2824" y="5750"/>
                    </a:lnTo>
                    <a:lnTo>
                      <a:pt x="2807" y="5743"/>
                    </a:lnTo>
                    <a:lnTo>
                      <a:pt x="2789" y="5737"/>
                    </a:lnTo>
                    <a:lnTo>
                      <a:pt x="2769" y="5732"/>
                    </a:lnTo>
                    <a:lnTo>
                      <a:pt x="2751" y="5728"/>
                    </a:lnTo>
                    <a:lnTo>
                      <a:pt x="2733" y="5726"/>
                    </a:lnTo>
                    <a:lnTo>
                      <a:pt x="2714" y="5726"/>
                    </a:lnTo>
                    <a:lnTo>
                      <a:pt x="2697" y="5727"/>
                    </a:lnTo>
                    <a:lnTo>
                      <a:pt x="2679" y="5731"/>
                    </a:lnTo>
                    <a:lnTo>
                      <a:pt x="2656" y="5738"/>
                    </a:lnTo>
                    <a:lnTo>
                      <a:pt x="2633" y="5746"/>
                    </a:lnTo>
                    <a:lnTo>
                      <a:pt x="2623" y="5750"/>
                    </a:lnTo>
                    <a:lnTo>
                      <a:pt x="2612" y="5754"/>
                    </a:lnTo>
                    <a:lnTo>
                      <a:pt x="2600" y="5755"/>
                    </a:lnTo>
                    <a:lnTo>
                      <a:pt x="2588" y="5756"/>
                    </a:lnTo>
                    <a:lnTo>
                      <a:pt x="2589" y="5748"/>
                    </a:lnTo>
                    <a:lnTo>
                      <a:pt x="2590" y="5738"/>
                    </a:lnTo>
                    <a:lnTo>
                      <a:pt x="2592" y="5730"/>
                    </a:lnTo>
                    <a:lnTo>
                      <a:pt x="2595" y="5720"/>
                    </a:lnTo>
                    <a:lnTo>
                      <a:pt x="2600" y="5702"/>
                    </a:lnTo>
                    <a:lnTo>
                      <a:pt x="2603" y="5683"/>
                    </a:lnTo>
                    <a:lnTo>
                      <a:pt x="2602" y="5656"/>
                    </a:lnTo>
                    <a:lnTo>
                      <a:pt x="2601" y="5630"/>
                    </a:lnTo>
                    <a:lnTo>
                      <a:pt x="2598" y="5603"/>
                    </a:lnTo>
                    <a:lnTo>
                      <a:pt x="2597" y="5578"/>
                    </a:lnTo>
                    <a:lnTo>
                      <a:pt x="2603" y="5579"/>
                    </a:lnTo>
                    <a:lnTo>
                      <a:pt x="2611" y="5582"/>
                    </a:lnTo>
                    <a:lnTo>
                      <a:pt x="2618" y="5586"/>
                    </a:lnTo>
                    <a:lnTo>
                      <a:pt x="2625" y="5592"/>
                    </a:lnTo>
                    <a:lnTo>
                      <a:pt x="2642" y="5608"/>
                    </a:lnTo>
                    <a:lnTo>
                      <a:pt x="2660" y="5626"/>
                    </a:lnTo>
                    <a:lnTo>
                      <a:pt x="2678" y="5644"/>
                    </a:lnTo>
                    <a:lnTo>
                      <a:pt x="2697" y="5660"/>
                    </a:lnTo>
                    <a:lnTo>
                      <a:pt x="2707" y="5666"/>
                    </a:lnTo>
                    <a:lnTo>
                      <a:pt x="2716" y="5671"/>
                    </a:lnTo>
                    <a:lnTo>
                      <a:pt x="2727" y="5673"/>
                    </a:lnTo>
                    <a:lnTo>
                      <a:pt x="2737" y="5674"/>
                    </a:lnTo>
                    <a:lnTo>
                      <a:pt x="2744" y="5674"/>
                    </a:lnTo>
                    <a:lnTo>
                      <a:pt x="2754" y="5673"/>
                    </a:lnTo>
                    <a:lnTo>
                      <a:pt x="2762" y="5671"/>
                    </a:lnTo>
                    <a:lnTo>
                      <a:pt x="2772" y="5668"/>
                    </a:lnTo>
                    <a:lnTo>
                      <a:pt x="2781" y="5666"/>
                    </a:lnTo>
                    <a:lnTo>
                      <a:pt x="2791" y="5661"/>
                    </a:lnTo>
                    <a:lnTo>
                      <a:pt x="2799" y="5657"/>
                    </a:lnTo>
                    <a:lnTo>
                      <a:pt x="2808" y="5651"/>
                    </a:lnTo>
                    <a:lnTo>
                      <a:pt x="2816" y="5647"/>
                    </a:lnTo>
                    <a:lnTo>
                      <a:pt x="2825" y="5641"/>
                    </a:lnTo>
                    <a:lnTo>
                      <a:pt x="2831" y="5633"/>
                    </a:lnTo>
                    <a:lnTo>
                      <a:pt x="2837" y="5626"/>
                    </a:lnTo>
                    <a:lnTo>
                      <a:pt x="2842" y="5619"/>
                    </a:lnTo>
                    <a:lnTo>
                      <a:pt x="2846" y="5610"/>
                    </a:lnTo>
                    <a:lnTo>
                      <a:pt x="2848" y="5602"/>
                    </a:lnTo>
                    <a:lnTo>
                      <a:pt x="2849" y="5594"/>
                    </a:lnTo>
                    <a:lnTo>
                      <a:pt x="2848" y="5592"/>
                    </a:lnTo>
                    <a:lnTo>
                      <a:pt x="2828" y="5591"/>
                    </a:lnTo>
                    <a:lnTo>
                      <a:pt x="2804" y="5589"/>
                    </a:lnTo>
                    <a:lnTo>
                      <a:pt x="2781" y="5584"/>
                    </a:lnTo>
                    <a:lnTo>
                      <a:pt x="2763" y="5579"/>
                    </a:lnTo>
                    <a:lnTo>
                      <a:pt x="2755" y="5574"/>
                    </a:lnTo>
                    <a:lnTo>
                      <a:pt x="2748" y="5570"/>
                    </a:lnTo>
                    <a:lnTo>
                      <a:pt x="2740" y="5562"/>
                    </a:lnTo>
                    <a:lnTo>
                      <a:pt x="2733" y="5555"/>
                    </a:lnTo>
                    <a:lnTo>
                      <a:pt x="2726" y="5548"/>
                    </a:lnTo>
                    <a:lnTo>
                      <a:pt x="2720" y="5542"/>
                    </a:lnTo>
                    <a:lnTo>
                      <a:pt x="2715" y="5538"/>
                    </a:lnTo>
                    <a:lnTo>
                      <a:pt x="2710" y="5536"/>
                    </a:lnTo>
                    <a:lnTo>
                      <a:pt x="2706" y="5530"/>
                    </a:lnTo>
                    <a:lnTo>
                      <a:pt x="2702" y="5525"/>
                    </a:lnTo>
                    <a:lnTo>
                      <a:pt x="2683" y="5501"/>
                    </a:lnTo>
                    <a:lnTo>
                      <a:pt x="2648" y="5450"/>
                    </a:lnTo>
                    <a:lnTo>
                      <a:pt x="2613" y="5397"/>
                    </a:lnTo>
                    <a:lnTo>
                      <a:pt x="2595" y="5367"/>
                    </a:lnTo>
                    <a:lnTo>
                      <a:pt x="2594" y="5359"/>
                    </a:lnTo>
                    <a:lnTo>
                      <a:pt x="2594" y="5348"/>
                    </a:lnTo>
                    <a:lnTo>
                      <a:pt x="2596" y="5336"/>
                    </a:lnTo>
                    <a:lnTo>
                      <a:pt x="2598" y="5323"/>
                    </a:lnTo>
                    <a:lnTo>
                      <a:pt x="2603" y="5308"/>
                    </a:lnTo>
                    <a:lnTo>
                      <a:pt x="2609" y="5293"/>
                    </a:lnTo>
                    <a:lnTo>
                      <a:pt x="2615" y="5277"/>
                    </a:lnTo>
                    <a:lnTo>
                      <a:pt x="2623" y="5261"/>
                    </a:lnTo>
                    <a:lnTo>
                      <a:pt x="2638" y="5229"/>
                    </a:lnTo>
                    <a:lnTo>
                      <a:pt x="2654" y="5200"/>
                    </a:lnTo>
                    <a:lnTo>
                      <a:pt x="2668" y="5175"/>
                    </a:lnTo>
                    <a:lnTo>
                      <a:pt x="2679" y="5158"/>
                    </a:lnTo>
                    <a:lnTo>
                      <a:pt x="2684" y="5151"/>
                    </a:lnTo>
                    <a:lnTo>
                      <a:pt x="2689" y="5146"/>
                    </a:lnTo>
                    <a:lnTo>
                      <a:pt x="2694" y="5142"/>
                    </a:lnTo>
                    <a:lnTo>
                      <a:pt x="2697" y="5140"/>
                    </a:lnTo>
                    <a:lnTo>
                      <a:pt x="2702" y="5139"/>
                    </a:lnTo>
                    <a:lnTo>
                      <a:pt x="2707" y="5139"/>
                    </a:lnTo>
                    <a:lnTo>
                      <a:pt x="2710" y="5140"/>
                    </a:lnTo>
                    <a:lnTo>
                      <a:pt x="2715" y="5141"/>
                    </a:lnTo>
                    <a:lnTo>
                      <a:pt x="2725" y="5144"/>
                    </a:lnTo>
                    <a:lnTo>
                      <a:pt x="2734" y="5147"/>
                    </a:lnTo>
                    <a:lnTo>
                      <a:pt x="2739" y="5148"/>
                    </a:lnTo>
                    <a:lnTo>
                      <a:pt x="2745" y="5148"/>
                    </a:lnTo>
                    <a:lnTo>
                      <a:pt x="2753" y="5148"/>
                    </a:lnTo>
                    <a:lnTo>
                      <a:pt x="2759" y="5147"/>
                    </a:lnTo>
                    <a:lnTo>
                      <a:pt x="2760" y="5138"/>
                    </a:lnTo>
                    <a:lnTo>
                      <a:pt x="2760" y="5132"/>
                    </a:lnTo>
                    <a:lnTo>
                      <a:pt x="2757" y="5124"/>
                    </a:lnTo>
                    <a:lnTo>
                      <a:pt x="2756" y="5117"/>
                    </a:lnTo>
                    <a:lnTo>
                      <a:pt x="2747" y="5116"/>
                    </a:lnTo>
                    <a:lnTo>
                      <a:pt x="2736" y="5115"/>
                    </a:lnTo>
                    <a:lnTo>
                      <a:pt x="2726" y="5113"/>
                    </a:lnTo>
                    <a:lnTo>
                      <a:pt x="2716" y="5112"/>
                    </a:lnTo>
                    <a:lnTo>
                      <a:pt x="2710" y="5110"/>
                    </a:lnTo>
                    <a:lnTo>
                      <a:pt x="2706" y="5106"/>
                    </a:lnTo>
                    <a:lnTo>
                      <a:pt x="2702" y="5101"/>
                    </a:lnTo>
                    <a:lnTo>
                      <a:pt x="2698" y="5097"/>
                    </a:lnTo>
                    <a:lnTo>
                      <a:pt x="2696" y="5091"/>
                    </a:lnTo>
                    <a:lnTo>
                      <a:pt x="2692" y="5086"/>
                    </a:lnTo>
                    <a:lnTo>
                      <a:pt x="2689" y="5081"/>
                    </a:lnTo>
                    <a:lnTo>
                      <a:pt x="2684" y="5077"/>
                    </a:lnTo>
                    <a:lnTo>
                      <a:pt x="2679" y="5075"/>
                    </a:lnTo>
                    <a:lnTo>
                      <a:pt x="2674" y="5073"/>
                    </a:lnTo>
                    <a:lnTo>
                      <a:pt x="2669" y="5073"/>
                    </a:lnTo>
                    <a:lnTo>
                      <a:pt x="2665" y="5073"/>
                    </a:lnTo>
                    <a:lnTo>
                      <a:pt x="2655" y="5071"/>
                    </a:lnTo>
                    <a:lnTo>
                      <a:pt x="2644" y="5070"/>
                    </a:lnTo>
                    <a:lnTo>
                      <a:pt x="2639" y="5064"/>
                    </a:lnTo>
                    <a:lnTo>
                      <a:pt x="2636" y="5059"/>
                    </a:lnTo>
                    <a:lnTo>
                      <a:pt x="2635" y="5058"/>
                    </a:lnTo>
                    <a:lnTo>
                      <a:pt x="2633" y="5057"/>
                    </a:lnTo>
                    <a:lnTo>
                      <a:pt x="2614" y="5055"/>
                    </a:lnTo>
                    <a:lnTo>
                      <a:pt x="2595" y="5051"/>
                    </a:lnTo>
                    <a:lnTo>
                      <a:pt x="2576" y="5050"/>
                    </a:lnTo>
                    <a:lnTo>
                      <a:pt x="2558" y="5048"/>
                    </a:lnTo>
                    <a:lnTo>
                      <a:pt x="2549" y="5050"/>
                    </a:lnTo>
                    <a:lnTo>
                      <a:pt x="2539" y="5050"/>
                    </a:lnTo>
                    <a:lnTo>
                      <a:pt x="2531" y="5052"/>
                    </a:lnTo>
                    <a:lnTo>
                      <a:pt x="2521" y="5055"/>
                    </a:lnTo>
                    <a:lnTo>
                      <a:pt x="2513" y="5057"/>
                    </a:lnTo>
                    <a:lnTo>
                      <a:pt x="2503" y="5061"/>
                    </a:lnTo>
                    <a:lnTo>
                      <a:pt x="2495" y="5065"/>
                    </a:lnTo>
                    <a:lnTo>
                      <a:pt x="2487" y="5071"/>
                    </a:lnTo>
                    <a:lnTo>
                      <a:pt x="2467" y="5085"/>
                    </a:lnTo>
                    <a:lnTo>
                      <a:pt x="2447" y="5094"/>
                    </a:lnTo>
                    <a:lnTo>
                      <a:pt x="2437" y="5098"/>
                    </a:lnTo>
                    <a:lnTo>
                      <a:pt x="2428" y="5101"/>
                    </a:lnTo>
                    <a:lnTo>
                      <a:pt x="2418" y="5104"/>
                    </a:lnTo>
                    <a:lnTo>
                      <a:pt x="2410" y="5105"/>
                    </a:lnTo>
                    <a:lnTo>
                      <a:pt x="2401" y="5105"/>
                    </a:lnTo>
                    <a:lnTo>
                      <a:pt x="2393" y="5103"/>
                    </a:lnTo>
                    <a:lnTo>
                      <a:pt x="2385" y="5100"/>
                    </a:lnTo>
                    <a:lnTo>
                      <a:pt x="2379" y="5095"/>
                    </a:lnTo>
                    <a:lnTo>
                      <a:pt x="2375" y="5089"/>
                    </a:lnTo>
                    <a:lnTo>
                      <a:pt x="2370" y="5081"/>
                    </a:lnTo>
                    <a:lnTo>
                      <a:pt x="2366" y="5070"/>
                    </a:lnTo>
                    <a:lnTo>
                      <a:pt x="2365" y="5058"/>
                    </a:lnTo>
                    <a:lnTo>
                      <a:pt x="2363" y="5051"/>
                    </a:lnTo>
                    <a:lnTo>
                      <a:pt x="2357" y="5041"/>
                    </a:lnTo>
                    <a:lnTo>
                      <a:pt x="2354" y="5038"/>
                    </a:lnTo>
                    <a:lnTo>
                      <a:pt x="2351" y="5035"/>
                    </a:lnTo>
                    <a:lnTo>
                      <a:pt x="2349" y="5034"/>
                    </a:lnTo>
                    <a:lnTo>
                      <a:pt x="2348" y="5034"/>
                    </a:lnTo>
                    <a:lnTo>
                      <a:pt x="2348" y="5035"/>
                    </a:lnTo>
                    <a:lnTo>
                      <a:pt x="2347" y="5036"/>
                    </a:lnTo>
                    <a:lnTo>
                      <a:pt x="2342" y="5036"/>
                    </a:lnTo>
                    <a:lnTo>
                      <a:pt x="2332" y="5048"/>
                    </a:lnTo>
                    <a:lnTo>
                      <a:pt x="2322" y="5062"/>
                    </a:lnTo>
                    <a:lnTo>
                      <a:pt x="2310" y="5065"/>
                    </a:lnTo>
                    <a:lnTo>
                      <a:pt x="2301" y="5067"/>
                    </a:lnTo>
                    <a:lnTo>
                      <a:pt x="2294" y="5068"/>
                    </a:lnTo>
                    <a:lnTo>
                      <a:pt x="2287" y="5068"/>
                    </a:lnTo>
                    <a:lnTo>
                      <a:pt x="2281" y="5065"/>
                    </a:lnTo>
                    <a:lnTo>
                      <a:pt x="2272" y="5063"/>
                    </a:lnTo>
                    <a:lnTo>
                      <a:pt x="2263" y="5057"/>
                    </a:lnTo>
                    <a:lnTo>
                      <a:pt x="2249" y="5051"/>
                    </a:lnTo>
                    <a:lnTo>
                      <a:pt x="2243" y="5047"/>
                    </a:lnTo>
                    <a:lnTo>
                      <a:pt x="2237" y="5046"/>
                    </a:lnTo>
                    <a:lnTo>
                      <a:pt x="2230" y="5044"/>
                    </a:lnTo>
                    <a:lnTo>
                      <a:pt x="2224" y="5044"/>
                    </a:lnTo>
                    <a:lnTo>
                      <a:pt x="2211" y="5044"/>
                    </a:lnTo>
                    <a:lnTo>
                      <a:pt x="2197" y="5046"/>
                    </a:lnTo>
                    <a:lnTo>
                      <a:pt x="2183" y="5050"/>
                    </a:lnTo>
                    <a:lnTo>
                      <a:pt x="2171" y="5055"/>
                    </a:lnTo>
                    <a:lnTo>
                      <a:pt x="2159" y="5061"/>
                    </a:lnTo>
                    <a:lnTo>
                      <a:pt x="2148" y="5068"/>
                    </a:lnTo>
                    <a:lnTo>
                      <a:pt x="2141" y="5071"/>
                    </a:lnTo>
                    <a:lnTo>
                      <a:pt x="2135" y="5073"/>
                    </a:lnTo>
                    <a:lnTo>
                      <a:pt x="2129" y="5071"/>
                    </a:lnTo>
                    <a:lnTo>
                      <a:pt x="2123" y="5069"/>
                    </a:lnTo>
                    <a:lnTo>
                      <a:pt x="2110" y="5062"/>
                    </a:lnTo>
                    <a:lnTo>
                      <a:pt x="2097" y="5055"/>
                    </a:lnTo>
                    <a:lnTo>
                      <a:pt x="1967" y="5014"/>
                    </a:lnTo>
                    <a:lnTo>
                      <a:pt x="1931" y="5004"/>
                    </a:lnTo>
                    <a:lnTo>
                      <a:pt x="1874" y="4991"/>
                    </a:lnTo>
                    <a:lnTo>
                      <a:pt x="1845" y="4982"/>
                    </a:lnTo>
                    <a:lnTo>
                      <a:pt x="1822" y="4974"/>
                    </a:lnTo>
                    <a:lnTo>
                      <a:pt x="1813" y="4970"/>
                    </a:lnTo>
                    <a:lnTo>
                      <a:pt x="1805" y="4967"/>
                    </a:lnTo>
                    <a:lnTo>
                      <a:pt x="1801" y="4963"/>
                    </a:lnTo>
                    <a:lnTo>
                      <a:pt x="1799" y="4959"/>
                    </a:lnTo>
                    <a:lnTo>
                      <a:pt x="1799" y="4938"/>
                    </a:lnTo>
                    <a:lnTo>
                      <a:pt x="1798" y="4911"/>
                    </a:lnTo>
                    <a:lnTo>
                      <a:pt x="1798" y="4898"/>
                    </a:lnTo>
                    <a:lnTo>
                      <a:pt x="1799" y="4886"/>
                    </a:lnTo>
                    <a:lnTo>
                      <a:pt x="1801" y="4875"/>
                    </a:lnTo>
                    <a:lnTo>
                      <a:pt x="1803" y="4866"/>
                    </a:lnTo>
                    <a:lnTo>
                      <a:pt x="1804" y="4858"/>
                    </a:lnTo>
                    <a:lnTo>
                      <a:pt x="1804" y="4848"/>
                    </a:lnTo>
                    <a:lnTo>
                      <a:pt x="1803" y="4834"/>
                    </a:lnTo>
                    <a:lnTo>
                      <a:pt x="1801" y="4821"/>
                    </a:lnTo>
                    <a:lnTo>
                      <a:pt x="1792" y="4789"/>
                    </a:lnTo>
                    <a:lnTo>
                      <a:pt x="1784" y="4756"/>
                    </a:lnTo>
                    <a:lnTo>
                      <a:pt x="1776" y="4724"/>
                    </a:lnTo>
                    <a:lnTo>
                      <a:pt x="1772" y="4695"/>
                    </a:lnTo>
                    <a:lnTo>
                      <a:pt x="1770" y="4684"/>
                    </a:lnTo>
                    <a:lnTo>
                      <a:pt x="1772" y="4674"/>
                    </a:lnTo>
                    <a:lnTo>
                      <a:pt x="1773" y="4671"/>
                    </a:lnTo>
                    <a:lnTo>
                      <a:pt x="1774" y="4668"/>
                    </a:lnTo>
                    <a:lnTo>
                      <a:pt x="1776" y="4666"/>
                    </a:lnTo>
                    <a:lnTo>
                      <a:pt x="1779" y="4665"/>
                    </a:lnTo>
                    <a:lnTo>
                      <a:pt x="1779" y="4657"/>
                    </a:lnTo>
                    <a:lnTo>
                      <a:pt x="1776" y="4656"/>
                    </a:lnTo>
                    <a:lnTo>
                      <a:pt x="1774" y="4654"/>
                    </a:lnTo>
                    <a:lnTo>
                      <a:pt x="1772" y="4649"/>
                    </a:lnTo>
                    <a:lnTo>
                      <a:pt x="1767" y="4644"/>
                    </a:lnTo>
                    <a:lnTo>
                      <a:pt x="1761" y="4641"/>
                    </a:lnTo>
                    <a:lnTo>
                      <a:pt x="1754" y="4636"/>
                    </a:lnTo>
                    <a:lnTo>
                      <a:pt x="1746" y="4631"/>
                    </a:lnTo>
                    <a:lnTo>
                      <a:pt x="1739" y="4626"/>
                    </a:lnTo>
                    <a:lnTo>
                      <a:pt x="1733" y="4619"/>
                    </a:lnTo>
                    <a:lnTo>
                      <a:pt x="1730" y="4610"/>
                    </a:lnTo>
                    <a:lnTo>
                      <a:pt x="1696" y="4507"/>
                    </a:lnTo>
                    <a:lnTo>
                      <a:pt x="1692" y="4495"/>
                    </a:lnTo>
                    <a:lnTo>
                      <a:pt x="1686" y="4483"/>
                    </a:lnTo>
                    <a:lnTo>
                      <a:pt x="1680" y="4471"/>
                    </a:lnTo>
                    <a:lnTo>
                      <a:pt x="1672" y="4459"/>
                    </a:lnTo>
                    <a:lnTo>
                      <a:pt x="1663" y="4447"/>
                    </a:lnTo>
                    <a:lnTo>
                      <a:pt x="1655" y="4435"/>
                    </a:lnTo>
                    <a:lnTo>
                      <a:pt x="1644" y="4424"/>
                    </a:lnTo>
                    <a:lnTo>
                      <a:pt x="1634" y="4413"/>
                    </a:lnTo>
                    <a:lnTo>
                      <a:pt x="1624" y="4402"/>
                    </a:lnTo>
                    <a:lnTo>
                      <a:pt x="1612" y="4391"/>
                    </a:lnTo>
                    <a:lnTo>
                      <a:pt x="1601" y="4382"/>
                    </a:lnTo>
                    <a:lnTo>
                      <a:pt x="1589" y="4373"/>
                    </a:lnTo>
                    <a:lnTo>
                      <a:pt x="1578" y="4365"/>
                    </a:lnTo>
                    <a:lnTo>
                      <a:pt x="1566" y="4358"/>
                    </a:lnTo>
                    <a:lnTo>
                      <a:pt x="1555" y="4352"/>
                    </a:lnTo>
                    <a:lnTo>
                      <a:pt x="1543" y="4346"/>
                    </a:lnTo>
                    <a:lnTo>
                      <a:pt x="1524" y="4337"/>
                    </a:lnTo>
                    <a:lnTo>
                      <a:pt x="1507" y="4328"/>
                    </a:lnTo>
                    <a:lnTo>
                      <a:pt x="1492" y="4319"/>
                    </a:lnTo>
                    <a:lnTo>
                      <a:pt x="1479" y="4311"/>
                    </a:lnTo>
                    <a:lnTo>
                      <a:pt x="1467" y="4300"/>
                    </a:lnTo>
                    <a:lnTo>
                      <a:pt x="1455" y="4289"/>
                    </a:lnTo>
                    <a:lnTo>
                      <a:pt x="1442" y="4275"/>
                    </a:lnTo>
                    <a:lnTo>
                      <a:pt x="1429" y="4258"/>
                    </a:lnTo>
                    <a:lnTo>
                      <a:pt x="1421" y="4246"/>
                    </a:lnTo>
                    <a:lnTo>
                      <a:pt x="1413" y="4234"/>
                    </a:lnTo>
                    <a:lnTo>
                      <a:pt x="1403" y="4222"/>
                    </a:lnTo>
                    <a:lnTo>
                      <a:pt x="1393" y="4209"/>
                    </a:lnTo>
                    <a:lnTo>
                      <a:pt x="1368" y="4182"/>
                    </a:lnTo>
                    <a:lnTo>
                      <a:pt x="1342" y="4154"/>
                    </a:lnTo>
                    <a:lnTo>
                      <a:pt x="1316" y="4128"/>
                    </a:lnTo>
                    <a:lnTo>
                      <a:pt x="1288" y="4104"/>
                    </a:lnTo>
                    <a:lnTo>
                      <a:pt x="1264" y="4081"/>
                    </a:lnTo>
                    <a:lnTo>
                      <a:pt x="1241" y="4063"/>
                    </a:lnTo>
                    <a:lnTo>
                      <a:pt x="1216" y="4044"/>
                    </a:lnTo>
                    <a:lnTo>
                      <a:pt x="1189" y="4026"/>
                    </a:lnTo>
                    <a:lnTo>
                      <a:pt x="1164" y="4009"/>
                    </a:lnTo>
                    <a:lnTo>
                      <a:pt x="1137" y="3992"/>
                    </a:lnTo>
                    <a:lnTo>
                      <a:pt x="1111" y="3976"/>
                    </a:lnTo>
                    <a:lnTo>
                      <a:pt x="1084" y="3959"/>
                    </a:lnTo>
                    <a:lnTo>
                      <a:pt x="1058" y="3943"/>
                    </a:lnTo>
                    <a:lnTo>
                      <a:pt x="1033" y="3923"/>
                    </a:lnTo>
                    <a:lnTo>
                      <a:pt x="1004" y="3904"/>
                    </a:lnTo>
                    <a:lnTo>
                      <a:pt x="965" y="3881"/>
                    </a:lnTo>
                    <a:lnTo>
                      <a:pt x="945" y="3869"/>
                    </a:lnTo>
                    <a:lnTo>
                      <a:pt x="926" y="3860"/>
                    </a:lnTo>
                    <a:lnTo>
                      <a:pt x="910" y="3851"/>
                    </a:lnTo>
                    <a:lnTo>
                      <a:pt x="897" y="3846"/>
                    </a:lnTo>
                    <a:lnTo>
                      <a:pt x="893" y="3835"/>
                    </a:lnTo>
                    <a:lnTo>
                      <a:pt x="888" y="3825"/>
                    </a:lnTo>
                    <a:lnTo>
                      <a:pt x="885" y="3814"/>
                    </a:lnTo>
                    <a:lnTo>
                      <a:pt x="879" y="3804"/>
                    </a:lnTo>
                    <a:lnTo>
                      <a:pt x="868" y="3786"/>
                    </a:lnTo>
                    <a:lnTo>
                      <a:pt x="855" y="3769"/>
                    </a:lnTo>
                    <a:lnTo>
                      <a:pt x="840" y="3754"/>
                    </a:lnTo>
                    <a:lnTo>
                      <a:pt x="825" y="3738"/>
                    </a:lnTo>
                    <a:lnTo>
                      <a:pt x="808" y="3725"/>
                    </a:lnTo>
                    <a:lnTo>
                      <a:pt x="790" y="3713"/>
                    </a:lnTo>
                    <a:lnTo>
                      <a:pt x="752" y="3689"/>
                    </a:lnTo>
                    <a:lnTo>
                      <a:pt x="714" y="3667"/>
                    </a:lnTo>
                    <a:lnTo>
                      <a:pt x="675" y="3645"/>
                    </a:lnTo>
                    <a:lnTo>
                      <a:pt x="638" y="3624"/>
                    </a:lnTo>
                    <a:lnTo>
                      <a:pt x="628" y="3619"/>
                    </a:lnTo>
                    <a:lnTo>
                      <a:pt x="618" y="3615"/>
                    </a:lnTo>
                    <a:lnTo>
                      <a:pt x="607" y="3613"/>
                    </a:lnTo>
                    <a:lnTo>
                      <a:pt x="595" y="3612"/>
                    </a:lnTo>
                    <a:lnTo>
                      <a:pt x="569" y="3612"/>
                    </a:lnTo>
                    <a:lnTo>
                      <a:pt x="548" y="3612"/>
                    </a:lnTo>
                    <a:lnTo>
                      <a:pt x="550" y="3609"/>
                    </a:lnTo>
                    <a:lnTo>
                      <a:pt x="554" y="3606"/>
                    </a:lnTo>
                    <a:lnTo>
                      <a:pt x="561" y="3602"/>
                    </a:lnTo>
                    <a:lnTo>
                      <a:pt x="569" y="3597"/>
                    </a:lnTo>
                    <a:lnTo>
                      <a:pt x="590" y="3588"/>
                    </a:lnTo>
                    <a:lnTo>
                      <a:pt x="615" y="3577"/>
                    </a:lnTo>
                    <a:lnTo>
                      <a:pt x="663" y="3556"/>
                    </a:lnTo>
                    <a:lnTo>
                      <a:pt x="696" y="3541"/>
                    </a:lnTo>
                    <a:lnTo>
                      <a:pt x="704" y="3535"/>
                    </a:lnTo>
                    <a:lnTo>
                      <a:pt x="711" y="3527"/>
                    </a:lnTo>
                    <a:lnTo>
                      <a:pt x="719" y="3520"/>
                    </a:lnTo>
                    <a:lnTo>
                      <a:pt x="725" y="3512"/>
                    </a:lnTo>
                    <a:lnTo>
                      <a:pt x="735" y="3494"/>
                    </a:lnTo>
                    <a:lnTo>
                      <a:pt x="744" y="3474"/>
                    </a:lnTo>
                    <a:lnTo>
                      <a:pt x="758" y="3435"/>
                    </a:lnTo>
                    <a:lnTo>
                      <a:pt x="770" y="3395"/>
                    </a:lnTo>
                    <a:lnTo>
                      <a:pt x="778" y="3376"/>
                    </a:lnTo>
                    <a:lnTo>
                      <a:pt x="782" y="3354"/>
                    </a:lnTo>
                    <a:lnTo>
                      <a:pt x="787" y="3332"/>
                    </a:lnTo>
                    <a:lnTo>
                      <a:pt x="790" y="3310"/>
                    </a:lnTo>
                    <a:lnTo>
                      <a:pt x="792" y="3285"/>
                    </a:lnTo>
                    <a:lnTo>
                      <a:pt x="794" y="3261"/>
                    </a:lnTo>
                    <a:lnTo>
                      <a:pt x="796" y="3236"/>
                    </a:lnTo>
                    <a:lnTo>
                      <a:pt x="797" y="3211"/>
                    </a:lnTo>
                    <a:lnTo>
                      <a:pt x="797" y="3162"/>
                    </a:lnTo>
                    <a:lnTo>
                      <a:pt x="796" y="3112"/>
                    </a:lnTo>
                    <a:lnTo>
                      <a:pt x="794" y="3065"/>
                    </a:lnTo>
                    <a:lnTo>
                      <a:pt x="794" y="3022"/>
                    </a:lnTo>
                    <a:lnTo>
                      <a:pt x="812" y="3022"/>
                    </a:lnTo>
                    <a:lnTo>
                      <a:pt x="831" y="3024"/>
                    </a:lnTo>
                    <a:lnTo>
                      <a:pt x="849" y="3027"/>
                    </a:lnTo>
                    <a:lnTo>
                      <a:pt x="868" y="3029"/>
                    </a:lnTo>
                    <a:lnTo>
                      <a:pt x="887" y="3033"/>
                    </a:lnTo>
                    <a:lnTo>
                      <a:pt x="906" y="3035"/>
                    </a:lnTo>
                    <a:lnTo>
                      <a:pt x="927" y="3036"/>
                    </a:lnTo>
                    <a:lnTo>
                      <a:pt x="946" y="3038"/>
                    </a:lnTo>
                    <a:lnTo>
                      <a:pt x="968" y="3039"/>
                    </a:lnTo>
                    <a:lnTo>
                      <a:pt x="993" y="3041"/>
                    </a:lnTo>
                    <a:lnTo>
                      <a:pt x="1021" y="3044"/>
                    </a:lnTo>
                    <a:lnTo>
                      <a:pt x="1050" y="3046"/>
                    </a:lnTo>
                    <a:lnTo>
                      <a:pt x="1078" y="3047"/>
                    </a:lnTo>
                    <a:lnTo>
                      <a:pt x="1105" y="3047"/>
                    </a:lnTo>
                    <a:lnTo>
                      <a:pt x="1117" y="3045"/>
                    </a:lnTo>
                    <a:lnTo>
                      <a:pt x="1128" y="3042"/>
                    </a:lnTo>
                    <a:lnTo>
                      <a:pt x="1137" y="3039"/>
                    </a:lnTo>
                    <a:lnTo>
                      <a:pt x="1146" y="3034"/>
                    </a:lnTo>
                    <a:lnTo>
                      <a:pt x="1186" y="3024"/>
                    </a:lnTo>
                    <a:lnTo>
                      <a:pt x="1225" y="3017"/>
                    </a:lnTo>
                    <a:lnTo>
                      <a:pt x="1266" y="3011"/>
                    </a:lnTo>
                    <a:lnTo>
                      <a:pt x="1307" y="3006"/>
                    </a:lnTo>
                    <a:lnTo>
                      <a:pt x="1388" y="2995"/>
                    </a:lnTo>
                    <a:lnTo>
                      <a:pt x="1468" y="2985"/>
                    </a:lnTo>
                    <a:lnTo>
                      <a:pt x="1508" y="2977"/>
                    </a:lnTo>
                    <a:lnTo>
                      <a:pt x="1547" y="2969"/>
                    </a:lnTo>
                    <a:lnTo>
                      <a:pt x="1566" y="2964"/>
                    </a:lnTo>
                    <a:lnTo>
                      <a:pt x="1585" y="2958"/>
                    </a:lnTo>
                    <a:lnTo>
                      <a:pt x="1604" y="2952"/>
                    </a:lnTo>
                    <a:lnTo>
                      <a:pt x="1622" y="2945"/>
                    </a:lnTo>
                    <a:lnTo>
                      <a:pt x="1640" y="2938"/>
                    </a:lnTo>
                    <a:lnTo>
                      <a:pt x="1657" y="2929"/>
                    </a:lnTo>
                    <a:lnTo>
                      <a:pt x="1675" y="2921"/>
                    </a:lnTo>
                    <a:lnTo>
                      <a:pt x="1692" y="2911"/>
                    </a:lnTo>
                    <a:lnTo>
                      <a:pt x="1709" y="2900"/>
                    </a:lnTo>
                    <a:lnTo>
                      <a:pt x="1725" y="2888"/>
                    </a:lnTo>
                    <a:lnTo>
                      <a:pt x="1742" y="2876"/>
                    </a:lnTo>
                    <a:lnTo>
                      <a:pt x="1756" y="2863"/>
                    </a:lnTo>
                    <a:lnTo>
                      <a:pt x="1780" y="2837"/>
                    </a:lnTo>
                    <a:lnTo>
                      <a:pt x="1808" y="2803"/>
                    </a:lnTo>
                    <a:lnTo>
                      <a:pt x="1821" y="2786"/>
                    </a:lnTo>
                    <a:lnTo>
                      <a:pt x="1834" y="2770"/>
                    </a:lnTo>
                    <a:lnTo>
                      <a:pt x="1847" y="2758"/>
                    </a:lnTo>
                    <a:lnTo>
                      <a:pt x="1858" y="2750"/>
                    </a:lnTo>
                    <a:lnTo>
                      <a:pt x="1860" y="2744"/>
                    </a:lnTo>
                    <a:lnTo>
                      <a:pt x="1863" y="2737"/>
                    </a:lnTo>
                    <a:lnTo>
                      <a:pt x="1867" y="2729"/>
                    </a:lnTo>
                    <a:lnTo>
                      <a:pt x="1872" y="2721"/>
                    </a:lnTo>
                    <a:lnTo>
                      <a:pt x="1884" y="2704"/>
                    </a:lnTo>
                    <a:lnTo>
                      <a:pt x="1897" y="2685"/>
                    </a:lnTo>
                    <a:lnTo>
                      <a:pt x="1926" y="2650"/>
                    </a:lnTo>
                    <a:lnTo>
                      <a:pt x="1946" y="2622"/>
                    </a:lnTo>
                    <a:lnTo>
                      <a:pt x="1953" y="2614"/>
                    </a:lnTo>
                    <a:lnTo>
                      <a:pt x="1959" y="2607"/>
                    </a:lnTo>
                    <a:lnTo>
                      <a:pt x="1964" y="2598"/>
                    </a:lnTo>
                    <a:lnTo>
                      <a:pt x="1970" y="2589"/>
                    </a:lnTo>
                    <a:lnTo>
                      <a:pt x="1981" y="2572"/>
                    </a:lnTo>
                    <a:lnTo>
                      <a:pt x="1993" y="2557"/>
                    </a:lnTo>
                    <a:lnTo>
                      <a:pt x="1996" y="2548"/>
                    </a:lnTo>
                    <a:lnTo>
                      <a:pt x="2000" y="2539"/>
                    </a:lnTo>
                    <a:lnTo>
                      <a:pt x="2006" y="2530"/>
                    </a:lnTo>
                    <a:lnTo>
                      <a:pt x="2012" y="2520"/>
                    </a:lnTo>
                    <a:lnTo>
                      <a:pt x="2018" y="2510"/>
                    </a:lnTo>
                    <a:lnTo>
                      <a:pt x="2023" y="2502"/>
                    </a:lnTo>
                    <a:lnTo>
                      <a:pt x="2028" y="2492"/>
                    </a:lnTo>
                    <a:lnTo>
                      <a:pt x="2030" y="2482"/>
                    </a:lnTo>
                    <a:lnTo>
                      <a:pt x="2035" y="2474"/>
                    </a:lnTo>
                    <a:lnTo>
                      <a:pt x="2040" y="2465"/>
                    </a:lnTo>
                    <a:lnTo>
                      <a:pt x="2045" y="2454"/>
                    </a:lnTo>
                    <a:lnTo>
                      <a:pt x="2048" y="2442"/>
                    </a:lnTo>
                    <a:lnTo>
                      <a:pt x="2054" y="2414"/>
                    </a:lnTo>
                    <a:lnTo>
                      <a:pt x="2058" y="2385"/>
                    </a:lnTo>
                    <a:lnTo>
                      <a:pt x="2062" y="2355"/>
                    </a:lnTo>
                    <a:lnTo>
                      <a:pt x="2063" y="2326"/>
                    </a:lnTo>
                    <a:lnTo>
                      <a:pt x="2064" y="2301"/>
                    </a:lnTo>
                    <a:lnTo>
                      <a:pt x="2064" y="2281"/>
                    </a:lnTo>
                    <a:lnTo>
                      <a:pt x="2068" y="2092"/>
                    </a:lnTo>
                    <a:lnTo>
                      <a:pt x="2075" y="2080"/>
                    </a:lnTo>
                    <a:lnTo>
                      <a:pt x="2082" y="2064"/>
                    </a:lnTo>
                    <a:lnTo>
                      <a:pt x="2089" y="2046"/>
                    </a:lnTo>
                    <a:lnTo>
                      <a:pt x="2095" y="2027"/>
                    </a:lnTo>
                    <a:lnTo>
                      <a:pt x="2100" y="2007"/>
                    </a:lnTo>
                    <a:lnTo>
                      <a:pt x="2105" y="1988"/>
                    </a:lnTo>
                    <a:lnTo>
                      <a:pt x="2109" y="1971"/>
                    </a:lnTo>
                    <a:lnTo>
                      <a:pt x="2110" y="1957"/>
                    </a:lnTo>
                    <a:lnTo>
                      <a:pt x="2113" y="1945"/>
                    </a:lnTo>
                    <a:lnTo>
                      <a:pt x="2117" y="1934"/>
                    </a:lnTo>
                    <a:lnTo>
                      <a:pt x="2122" y="1922"/>
                    </a:lnTo>
                    <a:lnTo>
                      <a:pt x="2128" y="1911"/>
                    </a:lnTo>
                    <a:lnTo>
                      <a:pt x="2140" y="1887"/>
                    </a:lnTo>
                    <a:lnTo>
                      <a:pt x="2154" y="1864"/>
                    </a:lnTo>
                    <a:lnTo>
                      <a:pt x="2184" y="1820"/>
                    </a:lnTo>
                    <a:lnTo>
                      <a:pt x="2215" y="1780"/>
                    </a:lnTo>
                    <a:lnTo>
                      <a:pt x="2230" y="1760"/>
                    </a:lnTo>
                    <a:lnTo>
                      <a:pt x="2243" y="1738"/>
                    </a:lnTo>
                    <a:lnTo>
                      <a:pt x="2255" y="1715"/>
                    </a:lnTo>
                    <a:lnTo>
                      <a:pt x="2268" y="1692"/>
                    </a:lnTo>
                    <a:lnTo>
                      <a:pt x="2278" y="1668"/>
                    </a:lnTo>
                    <a:lnTo>
                      <a:pt x="2290" y="1644"/>
                    </a:lnTo>
                    <a:lnTo>
                      <a:pt x="2301" y="1621"/>
                    </a:lnTo>
                    <a:lnTo>
                      <a:pt x="2312" y="1598"/>
                    </a:lnTo>
                    <a:lnTo>
                      <a:pt x="2323" y="1577"/>
                    </a:lnTo>
                    <a:lnTo>
                      <a:pt x="2335" y="1556"/>
                    </a:lnTo>
                    <a:lnTo>
                      <a:pt x="2348" y="1536"/>
                    </a:lnTo>
                    <a:lnTo>
                      <a:pt x="2363" y="1515"/>
                    </a:lnTo>
                    <a:lnTo>
                      <a:pt x="2377" y="1495"/>
                    </a:lnTo>
                    <a:lnTo>
                      <a:pt x="2393" y="1474"/>
                    </a:lnTo>
                    <a:lnTo>
                      <a:pt x="2408" y="1455"/>
                    </a:lnTo>
                    <a:lnTo>
                      <a:pt x="2425" y="1436"/>
                    </a:lnTo>
                    <a:lnTo>
                      <a:pt x="2442" y="1417"/>
                    </a:lnTo>
                    <a:lnTo>
                      <a:pt x="2460" y="1398"/>
                    </a:lnTo>
                    <a:lnTo>
                      <a:pt x="2478" y="1380"/>
                    </a:lnTo>
                    <a:lnTo>
                      <a:pt x="2497" y="1364"/>
                    </a:lnTo>
                    <a:lnTo>
                      <a:pt x="2515" y="1347"/>
                    </a:lnTo>
                    <a:lnTo>
                      <a:pt x="2535" y="1331"/>
                    </a:lnTo>
                    <a:lnTo>
                      <a:pt x="2554" y="1317"/>
                    </a:lnTo>
                    <a:lnTo>
                      <a:pt x="2572" y="1302"/>
                    </a:lnTo>
                    <a:lnTo>
                      <a:pt x="2576" y="1297"/>
                    </a:lnTo>
                    <a:lnTo>
                      <a:pt x="2580" y="1293"/>
                    </a:lnTo>
                    <a:lnTo>
                      <a:pt x="2589" y="1287"/>
                    </a:lnTo>
                    <a:lnTo>
                      <a:pt x="2598" y="1281"/>
                    </a:lnTo>
                    <a:lnTo>
                      <a:pt x="2607" y="1282"/>
                    </a:lnTo>
                    <a:lnTo>
                      <a:pt x="2614" y="1283"/>
                    </a:lnTo>
                    <a:lnTo>
                      <a:pt x="2623" y="1284"/>
                    </a:lnTo>
                    <a:lnTo>
                      <a:pt x="2631" y="1288"/>
                    </a:lnTo>
                    <a:lnTo>
                      <a:pt x="2649" y="1294"/>
                    </a:lnTo>
                    <a:lnTo>
                      <a:pt x="2666" y="1302"/>
                    </a:lnTo>
                    <a:lnTo>
                      <a:pt x="2685" y="1311"/>
                    </a:lnTo>
                    <a:lnTo>
                      <a:pt x="2703" y="1319"/>
                    </a:lnTo>
                    <a:lnTo>
                      <a:pt x="2721" y="1325"/>
                    </a:lnTo>
                    <a:lnTo>
                      <a:pt x="2739" y="1330"/>
                    </a:lnTo>
                    <a:lnTo>
                      <a:pt x="2756" y="1331"/>
                    </a:lnTo>
                    <a:lnTo>
                      <a:pt x="2773" y="1332"/>
                    </a:lnTo>
                    <a:lnTo>
                      <a:pt x="2791" y="1332"/>
                    </a:lnTo>
                    <a:lnTo>
                      <a:pt x="2809" y="1331"/>
                    </a:lnTo>
                    <a:lnTo>
                      <a:pt x="2827" y="1329"/>
                    </a:lnTo>
                    <a:lnTo>
                      <a:pt x="2845" y="1325"/>
                    </a:lnTo>
                    <a:lnTo>
                      <a:pt x="2863" y="1320"/>
                    </a:lnTo>
                    <a:lnTo>
                      <a:pt x="2881" y="1315"/>
                    </a:lnTo>
                    <a:lnTo>
                      <a:pt x="2899" y="1309"/>
                    </a:lnTo>
                    <a:lnTo>
                      <a:pt x="2917" y="1302"/>
                    </a:lnTo>
                    <a:lnTo>
                      <a:pt x="2934" y="1295"/>
                    </a:lnTo>
                    <a:lnTo>
                      <a:pt x="2951" y="1287"/>
                    </a:lnTo>
                    <a:lnTo>
                      <a:pt x="2967" y="1278"/>
                    </a:lnTo>
                    <a:lnTo>
                      <a:pt x="2982" y="1269"/>
                    </a:lnTo>
                    <a:lnTo>
                      <a:pt x="2996" y="1259"/>
                    </a:lnTo>
                    <a:lnTo>
                      <a:pt x="3009" y="1249"/>
                    </a:lnTo>
                    <a:lnTo>
                      <a:pt x="3045" y="1220"/>
                    </a:lnTo>
                    <a:lnTo>
                      <a:pt x="3081" y="1193"/>
                    </a:lnTo>
                    <a:lnTo>
                      <a:pt x="3117" y="1165"/>
                    </a:lnTo>
                    <a:lnTo>
                      <a:pt x="3154" y="1136"/>
                    </a:lnTo>
                    <a:lnTo>
                      <a:pt x="3171" y="1121"/>
                    </a:lnTo>
                    <a:lnTo>
                      <a:pt x="3189" y="1106"/>
                    </a:lnTo>
                    <a:lnTo>
                      <a:pt x="3206" y="1089"/>
                    </a:lnTo>
                    <a:lnTo>
                      <a:pt x="3222" y="1074"/>
                    </a:lnTo>
                    <a:lnTo>
                      <a:pt x="3238" y="1056"/>
                    </a:lnTo>
                    <a:lnTo>
                      <a:pt x="3253" y="1039"/>
                    </a:lnTo>
                    <a:lnTo>
                      <a:pt x="3266" y="1019"/>
                    </a:lnTo>
                    <a:lnTo>
                      <a:pt x="3280" y="999"/>
                    </a:lnTo>
                    <a:lnTo>
                      <a:pt x="3475" y="757"/>
                    </a:lnTo>
                    <a:lnTo>
                      <a:pt x="3490" y="740"/>
                    </a:lnTo>
                    <a:lnTo>
                      <a:pt x="3514" y="717"/>
                    </a:lnTo>
                    <a:lnTo>
                      <a:pt x="3543" y="692"/>
                    </a:lnTo>
                    <a:lnTo>
                      <a:pt x="3576" y="666"/>
                    </a:lnTo>
                    <a:lnTo>
                      <a:pt x="3593" y="652"/>
                    </a:lnTo>
                    <a:lnTo>
                      <a:pt x="3609" y="640"/>
                    </a:lnTo>
                    <a:lnTo>
                      <a:pt x="3625" y="631"/>
                    </a:lnTo>
                    <a:lnTo>
                      <a:pt x="3641" y="621"/>
                    </a:lnTo>
                    <a:lnTo>
                      <a:pt x="3655" y="614"/>
                    </a:lnTo>
                    <a:lnTo>
                      <a:pt x="3670" y="609"/>
                    </a:lnTo>
                    <a:lnTo>
                      <a:pt x="3676" y="608"/>
                    </a:lnTo>
                    <a:lnTo>
                      <a:pt x="3680" y="608"/>
                    </a:lnTo>
                    <a:lnTo>
                      <a:pt x="3686" y="607"/>
                    </a:lnTo>
                    <a:lnTo>
                      <a:pt x="3690" y="608"/>
                    </a:lnTo>
                    <a:lnTo>
                      <a:pt x="3691" y="609"/>
                    </a:lnTo>
                    <a:lnTo>
                      <a:pt x="3692" y="610"/>
                    </a:lnTo>
                    <a:lnTo>
                      <a:pt x="3697" y="626"/>
                    </a:lnTo>
                    <a:lnTo>
                      <a:pt x="3703" y="640"/>
                    </a:lnTo>
                    <a:lnTo>
                      <a:pt x="3712" y="652"/>
                    </a:lnTo>
                    <a:lnTo>
                      <a:pt x="3720" y="664"/>
                    </a:lnTo>
                    <a:lnTo>
                      <a:pt x="3730" y="674"/>
                    </a:lnTo>
                    <a:lnTo>
                      <a:pt x="3741" y="681"/>
                    </a:lnTo>
                    <a:lnTo>
                      <a:pt x="3753" y="688"/>
                    </a:lnTo>
                    <a:lnTo>
                      <a:pt x="3766" y="694"/>
                    </a:lnTo>
                    <a:lnTo>
                      <a:pt x="3779" y="699"/>
                    </a:lnTo>
                    <a:lnTo>
                      <a:pt x="3794" y="702"/>
                    </a:lnTo>
                    <a:lnTo>
                      <a:pt x="3808" y="704"/>
                    </a:lnTo>
                    <a:lnTo>
                      <a:pt x="3824" y="707"/>
                    </a:lnTo>
                    <a:lnTo>
                      <a:pt x="3840" y="707"/>
                    </a:lnTo>
                    <a:lnTo>
                      <a:pt x="3856" y="707"/>
                    </a:lnTo>
                    <a:lnTo>
                      <a:pt x="3873" y="705"/>
                    </a:lnTo>
                    <a:lnTo>
                      <a:pt x="3891" y="704"/>
                    </a:lnTo>
                    <a:lnTo>
                      <a:pt x="3926" y="699"/>
                    </a:lnTo>
                    <a:lnTo>
                      <a:pt x="3960" y="693"/>
                    </a:lnTo>
                    <a:lnTo>
                      <a:pt x="3995" y="687"/>
                    </a:lnTo>
                    <a:lnTo>
                      <a:pt x="4028" y="680"/>
                    </a:lnTo>
                    <a:lnTo>
                      <a:pt x="4060" y="674"/>
                    </a:lnTo>
                    <a:lnTo>
                      <a:pt x="4088" y="668"/>
                    </a:lnTo>
                    <a:lnTo>
                      <a:pt x="4115" y="664"/>
                    </a:lnTo>
                    <a:lnTo>
                      <a:pt x="4138" y="663"/>
                    </a:lnTo>
                    <a:lnTo>
                      <a:pt x="4150" y="661"/>
                    </a:lnTo>
                    <a:lnTo>
                      <a:pt x="4163" y="658"/>
                    </a:lnTo>
                    <a:lnTo>
                      <a:pt x="4171" y="652"/>
                    </a:lnTo>
                    <a:lnTo>
                      <a:pt x="4182" y="648"/>
                    </a:lnTo>
                    <a:lnTo>
                      <a:pt x="4194" y="644"/>
                    </a:lnTo>
                    <a:lnTo>
                      <a:pt x="4206" y="640"/>
                    </a:lnTo>
                    <a:lnTo>
                      <a:pt x="4220" y="637"/>
                    </a:lnTo>
                    <a:lnTo>
                      <a:pt x="4232" y="632"/>
                    </a:lnTo>
                    <a:lnTo>
                      <a:pt x="4242" y="627"/>
                    </a:lnTo>
                    <a:lnTo>
                      <a:pt x="4253" y="621"/>
                    </a:lnTo>
                    <a:lnTo>
                      <a:pt x="4276" y="604"/>
                    </a:lnTo>
                    <a:lnTo>
                      <a:pt x="4303" y="587"/>
                    </a:lnTo>
                    <a:lnTo>
                      <a:pt x="4316" y="579"/>
                    </a:lnTo>
                    <a:lnTo>
                      <a:pt x="4327" y="569"/>
                    </a:lnTo>
                    <a:lnTo>
                      <a:pt x="4338" y="560"/>
                    </a:lnTo>
                    <a:lnTo>
                      <a:pt x="4346" y="550"/>
                    </a:lnTo>
                    <a:lnTo>
                      <a:pt x="4356" y="545"/>
                    </a:lnTo>
                    <a:lnTo>
                      <a:pt x="4365" y="539"/>
                    </a:lnTo>
                    <a:lnTo>
                      <a:pt x="4375" y="532"/>
                    </a:lnTo>
                    <a:lnTo>
                      <a:pt x="4383" y="525"/>
                    </a:lnTo>
                    <a:lnTo>
                      <a:pt x="4399" y="509"/>
                    </a:lnTo>
                    <a:lnTo>
                      <a:pt x="4413" y="492"/>
                    </a:lnTo>
                    <a:lnTo>
                      <a:pt x="4424" y="486"/>
                    </a:lnTo>
                    <a:lnTo>
                      <a:pt x="4435" y="479"/>
                    </a:lnTo>
                    <a:lnTo>
                      <a:pt x="4446" y="471"/>
                    </a:lnTo>
                    <a:lnTo>
                      <a:pt x="4455" y="460"/>
                    </a:lnTo>
                    <a:lnTo>
                      <a:pt x="4466" y="449"/>
                    </a:lnTo>
                    <a:lnTo>
                      <a:pt x="4475" y="437"/>
                    </a:lnTo>
                    <a:lnTo>
                      <a:pt x="4484" y="425"/>
                    </a:lnTo>
                    <a:lnTo>
                      <a:pt x="4493" y="412"/>
                    </a:lnTo>
                    <a:lnTo>
                      <a:pt x="4510" y="384"/>
                    </a:lnTo>
                    <a:lnTo>
                      <a:pt x="4526" y="358"/>
                    </a:lnTo>
                    <a:lnTo>
                      <a:pt x="4541" y="332"/>
                    </a:lnTo>
                    <a:lnTo>
                      <a:pt x="4555" y="311"/>
                    </a:lnTo>
                    <a:lnTo>
                      <a:pt x="4572" y="287"/>
                    </a:lnTo>
                    <a:lnTo>
                      <a:pt x="4588" y="262"/>
                    </a:lnTo>
                    <a:lnTo>
                      <a:pt x="4602" y="236"/>
                    </a:lnTo>
                    <a:lnTo>
                      <a:pt x="4618" y="211"/>
                    </a:lnTo>
                    <a:lnTo>
                      <a:pt x="4632" y="184"/>
                    </a:lnTo>
                    <a:lnTo>
                      <a:pt x="4648" y="159"/>
                    </a:lnTo>
                    <a:lnTo>
                      <a:pt x="4665" y="136"/>
                    </a:lnTo>
                    <a:lnTo>
                      <a:pt x="4683" y="113"/>
                    </a:lnTo>
                    <a:lnTo>
                      <a:pt x="4700" y="84"/>
                    </a:lnTo>
                    <a:lnTo>
                      <a:pt x="4725" y="46"/>
                    </a:lnTo>
                    <a:lnTo>
                      <a:pt x="4738" y="29"/>
                    </a:lnTo>
                    <a:lnTo>
                      <a:pt x="4753" y="13"/>
                    </a:lnTo>
                    <a:lnTo>
                      <a:pt x="4760" y="9"/>
                    </a:lnTo>
                    <a:lnTo>
                      <a:pt x="4766" y="4"/>
                    </a:lnTo>
                    <a:lnTo>
                      <a:pt x="4772" y="1"/>
                    </a:lnTo>
                    <a:lnTo>
                      <a:pt x="4778" y="0"/>
                    </a:lnTo>
                    <a:lnTo>
                      <a:pt x="4780" y="6"/>
                    </a:lnTo>
                    <a:lnTo>
                      <a:pt x="4784" y="13"/>
                    </a:lnTo>
                    <a:lnTo>
                      <a:pt x="4788" y="19"/>
                    </a:lnTo>
                    <a:lnTo>
                      <a:pt x="4792" y="27"/>
                    </a:lnTo>
                    <a:lnTo>
                      <a:pt x="4804" y="41"/>
                    </a:lnTo>
                    <a:lnTo>
                      <a:pt x="4818" y="55"/>
                    </a:lnTo>
                    <a:lnTo>
                      <a:pt x="4833" y="68"/>
                    </a:lnTo>
                    <a:lnTo>
                      <a:pt x="4848" y="77"/>
                    </a:lnTo>
                    <a:lnTo>
                      <a:pt x="4856" y="82"/>
                    </a:lnTo>
                    <a:lnTo>
                      <a:pt x="4863" y="84"/>
                    </a:lnTo>
                    <a:lnTo>
                      <a:pt x="4869" y="87"/>
                    </a:lnTo>
                    <a:lnTo>
                      <a:pt x="4877" y="88"/>
                    </a:lnTo>
                    <a:lnTo>
                      <a:pt x="4897" y="89"/>
                    </a:lnTo>
                    <a:lnTo>
                      <a:pt x="4918" y="92"/>
                    </a:lnTo>
                    <a:lnTo>
                      <a:pt x="4928" y="93"/>
                    </a:lnTo>
                    <a:lnTo>
                      <a:pt x="4938" y="96"/>
                    </a:lnTo>
                    <a:lnTo>
                      <a:pt x="4948" y="100"/>
                    </a:lnTo>
                    <a:lnTo>
                      <a:pt x="4957" y="105"/>
                    </a:lnTo>
                    <a:lnTo>
                      <a:pt x="4968" y="114"/>
                    </a:lnTo>
                    <a:lnTo>
                      <a:pt x="4983" y="129"/>
                    </a:lnTo>
                    <a:lnTo>
                      <a:pt x="4997" y="142"/>
                    </a:lnTo>
                    <a:lnTo>
                      <a:pt x="5005" y="148"/>
                    </a:lnTo>
                    <a:lnTo>
                      <a:pt x="5007" y="163"/>
                    </a:lnTo>
                    <a:lnTo>
                      <a:pt x="5005" y="175"/>
                    </a:lnTo>
                    <a:lnTo>
                      <a:pt x="5003" y="185"/>
                    </a:lnTo>
                    <a:lnTo>
                      <a:pt x="4999" y="194"/>
                    </a:lnTo>
                    <a:lnTo>
                      <a:pt x="4996" y="203"/>
                    </a:lnTo>
                    <a:lnTo>
                      <a:pt x="4993" y="213"/>
                    </a:lnTo>
                    <a:lnTo>
                      <a:pt x="4991" y="223"/>
                    </a:lnTo>
                    <a:lnTo>
                      <a:pt x="4990" y="236"/>
                    </a:lnTo>
                    <a:lnTo>
                      <a:pt x="4995" y="235"/>
                    </a:lnTo>
                    <a:lnTo>
                      <a:pt x="5001" y="234"/>
                    </a:lnTo>
                    <a:lnTo>
                      <a:pt x="5008" y="231"/>
                    </a:lnTo>
                    <a:lnTo>
                      <a:pt x="5014" y="228"/>
                    </a:lnTo>
                    <a:lnTo>
                      <a:pt x="5027" y="219"/>
                    </a:lnTo>
                    <a:lnTo>
                      <a:pt x="5042" y="211"/>
                    </a:lnTo>
                    <a:lnTo>
                      <a:pt x="5055" y="200"/>
                    </a:lnTo>
                    <a:lnTo>
                      <a:pt x="5069" y="190"/>
                    </a:lnTo>
                    <a:lnTo>
                      <a:pt x="5081" y="183"/>
                    </a:lnTo>
                    <a:lnTo>
                      <a:pt x="5092" y="177"/>
                    </a:lnTo>
                    <a:lnTo>
                      <a:pt x="5098" y="176"/>
                    </a:lnTo>
                    <a:lnTo>
                      <a:pt x="5108" y="177"/>
                    </a:lnTo>
                    <a:lnTo>
                      <a:pt x="5119" y="179"/>
                    </a:lnTo>
                    <a:lnTo>
                      <a:pt x="5131" y="182"/>
                    </a:lnTo>
                    <a:lnTo>
                      <a:pt x="5156" y="188"/>
                    </a:lnTo>
                    <a:lnTo>
                      <a:pt x="5175" y="191"/>
                    </a:lnTo>
                    <a:lnTo>
                      <a:pt x="5182" y="193"/>
                    </a:lnTo>
                    <a:lnTo>
                      <a:pt x="5190" y="196"/>
                    </a:lnTo>
                    <a:lnTo>
                      <a:pt x="5196" y="201"/>
                    </a:lnTo>
                    <a:lnTo>
                      <a:pt x="5202" y="207"/>
                    </a:lnTo>
                    <a:lnTo>
                      <a:pt x="5208" y="214"/>
                    </a:lnTo>
                    <a:lnTo>
                      <a:pt x="5212" y="222"/>
                    </a:lnTo>
                    <a:lnTo>
                      <a:pt x="5217" y="231"/>
                    </a:lnTo>
                    <a:lnTo>
                      <a:pt x="5222" y="241"/>
                    </a:lnTo>
                    <a:lnTo>
                      <a:pt x="5229" y="260"/>
                    </a:lnTo>
                    <a:lnTo>
                      <a:pt x="5233" y="281"/>
                    </a:lnTo>
                    <a:lnTo>
                      <a:pt x="5234" y="289"/>
                    </a:lnTo>
                    <a:lnTo>
                      <a:pt x="5235" y="299"/>
                    </a:lnTo>
                    <a:lnTo>
                      <a:pt x="5235" y="307"/>
                    </a:lnTo>
                    <a:lnTo>
                      <a:pt x="5234" y="314"/>
                    </a:lnTo>
                    <a:lnTo>
                      <a:pt x="5232" y="321"/>
                    </a:lnTo>
                    <a:lnTo>
                      <a:pt x="5229" y="329"/>
                    </a:lnTo>
                    <a:lnTo>
                      <a:pt x="5226" y="336"/>
                    </a:lnTo>
                    <a:lnTo>
                      <a:pt x="5221" y="342"/>
                    </a:lnTo>
                    <a:lnTo>
                      <a:pt x="5212" y="353"/>
                    </a:lnTo>
                    <a:lnTo>
                      <a:pt x="5203" y="364"/>
                    </a:lnTo>
                    <a:lnTo>
                      <a:pt x="5192" y="373"/>
                    </a:lnTo>
                    <a:lnTo>
                      <a:pt x="5184" y="384"/>
                    </a:lnTo>
                    <a:lnTo>
                      <a:pt x="5179" y="390"/>
                    </a:lnTo>
                    <a:lnTo>
                      <a:pt x="5175" y="396"/>
                    </a:lnTo>
                    <a:lnTo>
                      <a:pt x="5173" y="403"/>
                    </a:lnTo>
                    <a:lnTo>
                      <a:pt x="5170" y="410"/>
                    </a:lnTo>
                    <a:lnTo>
                      <a:pt x="5166" y="423"/>
                    </a:lnTo>
                    <a:lnTo>
                      <a:pt x="5161" y="432"/>
                    </a:lnTo>
                    <a:lnTo>
                      <a:pt x="5154" y="441"/>
                    </a:lnTo>
                    <a:lnTo>
                      <a:pt x="5146" y="447"/>
                    </a:lnTo>
                    <a:lnTo>
                      <a:pt x="5137" y="453"/>
                    </a:lnTo>
                    <a:lnTo>
                      <a:pt x="5127" y="457"/>
                    </a:lnTo>
                    <a:lnTo>
                      <a:pt x="5116" y="462"/>
                    </a:lnTo>
                    <a:lnTo>
                      <a:pt x="5105" y="465"/>
                    </a:lnTo>
                    <a:lnTo>
                      <a:pt x="5058" y="474"/>
                    </a:lnTo>
                    <a:lnTo>
                      <a:pt x="5015" y="484"/>
                    </a:lnTo>
                    <a:lnTo>
                      <a:pt x="5009" y="486"/>
                    </a:lnTo>
                    <a:lnTo>
                      <a:pt x="5007" y="489"/>
                    </a:lnTo>
                    <a:lnTo>
                      <a:pt x="5007" y="491"/>
                    </a:lnTo>
                    <a:lnTo>
                      <a:pt x="5009" y="492"/>
                    </a:lnTo>
                    <a:lnTo>
                      <a:pt x="5018" y="497"/>
                    </a:lnTo>
                    <a:lnTo>
                      <a:pt x="5025" y="503"/>
                    </a:lnTo>
                    <a:lnTo>
                      <a:pt x="5027" y="509"/>
                    </a:lnTo>
                    <a:lnTo>
                      <a:pt x="5027" y="514"/>
                    </a:lnTo>
                    <a:lnTo>
                      <a:pt x="5027" y="520"/>
                    </a:lnTo>
                    <a:lnTo>
                      <a:pt x="5026" y="525"/>
                    </a:lnTo>
                    <a:lnTo>
                      <a:pt x="5024" y="531"/>
                    </a:lnTo>
                    <a:lnTo>
                      <a:pt x="5024" y="537"/>
                    </a:lnTo>
                    <a:lnTo>
                      <a:pt x="5024" y="542"/>
                    </a:lnTo>
                    <a:lnTo>
                      <a:pt x="5027" y="549"/>
                    </a:lnTo>
                    <a:lnTo>
                      <a:pt x="5033" y="557"/>
                    </a:lnTo>
                    <a:lnTo>
                      <a:pt x="5039" y="563"/>
                    </a:lnTo>
                    <a:lnTo>
                      <a:pt x="5044" y="566"/>
                    </a:lnTo>
                    <a:lnTo>
                      <a:pt x="5049" y="568"/>
                    </a:lnTo>
                    <a:lnTo>
                      <a:pt x="5051" y="572"/>
                    </a:lnTo>
                    <a:lnTo>
                      <a:pt x="5052" y="577"/>
                    </a:lnTo>
                    <a:lnTo>
                      <a:pt x="5054" y="586"/>
                    </a:lnTo>
                    <a:lnTo>
                      <a:pt x="5052" y="601"/>
                    </a:lnTo>
                    <a:lnTo>
                      <a:pt x="5048" y="604"/>
                    </a:lnTo>
                    <a:lnTo>
                      <a:pt x="5038" y="614"/>
                    </a:lnTo>
                    <a:lnTo>
                      <a:pt x="5033" y="620"/>
                    </a:lnTo>
                    <a:lnTo>
                      <a:pt x="5030" y="626"/>
                    </a:lnTo>
                    <a:lnTo>
                      <a:pt x="5028" y="630"/>
                    </a:lnTo>
                    <a:lnTo>
                      <a:pt x="5027" y="633"/>
                    </a:lnTo>
                    <a:lnTo>
                      <a:pt x="5027" y="636"/>
                    </a:lnTo>
                    <a:lnTo>
                      <a:pt x="5028" y="639"/>
                    </a:lnTo>
                    <a:lnTo>
                      <a:pt x="5032" y="646"/>
                    </a:lnTo>
                    <a:lnTo>
                      <a:pt x="5036" y="652"/>
                    </a:lnTo>
                    <a:lnTo>
                      <a:pt x="5042" y="657"/>
                    </a:lnTo>
                    <a:lnTo>
                      <a:pt x="5045" y="662"/>
                    </a:lnTo>
                    <a:lnTo>
                      <a:pt x="5050" y="667"/>
                    </a:lnTo>
                    <a:lnTo>
                      <a:pt x="5052" y="673"/>
                    </a:lnTo>
                    <a:lnTo>
                      <a:pt x="5052" y="681"/>
                    </a:lnTo>
                    <a:lnTo>
                      <a:pt x="5051" y="692"/>
                    </a:lnTo>
                    <a:lnTo>
                      <a:pt x="5046" y="704"/>
                    </a:lnTo>
                    <a:lnTo>
                      <a:pt x="5042" y="717"/>
                    </a:lnTo>
                    <a:lnTo>
                      <a:pt x="5039" y="725"/>
                    </a:lnTo>
                    <a:lnTo>
                      <a:pt x="5038" y="732"/>
                    </a:lnTo>
                    <a:lnTo>
                      <a:pt x="5038" y="738"/>
                    </a:lnTo>
                    <a:lnTo>
                      <a:pt x="5039" y="744"/>
                    </a:lnTo>
                    <a:lnTo>
                      <a:pt x="5043" y="747"/>
                    </a:lnTo>
                    <a:lnTo>
                      <a:pt x="5045" y="749"/>
                    </a:lnTo>
                    <a:lnTo>
                      <a:pt x="5048" y="747"/>
                    </a:lnTo>
                    <a:lnTo>
                      <a:pt x="5050" y="745"/>
                    </a:lnTo>
                    <a:lnTo>
                      <a:pt x="5055" y="734"/>
                    </a:lnTo>
                    <a:lnTo>
                      <a:pt x="5060" y="719"/>
                    </a:lnTo>
                    <a:lnTo>
                      <a:pt x="5064" y="701"/>
                    </a:lnTo>
                    <a:lnTo>
                      <a:pt x="5069" y="684"/>
                    </a:lnTo>
                    <a:lnTo>
                      <a:pt x="5072" y="676"/>
                    </a:lnTo>
                    <a:lnTo>
                      <a:pt x="5075" y="670"/>
                    </a:lnTo>
                    <a:lnTo>
                      <a:pt x="5078" y="666"/>
                    </a:lnTo>
                    <a:lnTo>
                      <a:pt x="5081" y="662"/>
                    </a:lnTo>
                    <a:lnTo>
                      <a:pt x="5086" y="660"/>
                    </a:lnTo>
                    <a:lnTo>
                      <a:pt x="5095" y="656"/>
                    </a:lnTo>
                    <a:lnTo>
                      <a:pt x="5104" y="654"/>
                    </a:lnTo>
                    <a:lnTo>
                      <a:pt x="5116" y="652"/>
                    </a:lnTo>
                    <a:lnTo>
                      <a:pt x="5143" y="650"/>
                    </a:lnTo>
                    <a:lnTo>
                      <a:pt x="5172" y="649"/>
                    </a:lnTo>
                    <a:lnTo>
                      <a:pt x="5199" y="649"/>
                    </a:lnTo>
                    <a:lnTo>
                      <a:pt x="5226" y="651"/>
                    </a:lnTo>
                    <a:lnTo>
                      <a:pt x="5238" y="652"/>
                    </a:lnTo>
                    <a:lnTo>
                      <a:pt x="5247" y="655"/>
                    </a:lnTo>
                    <a:lnTo>
                      <a:pt x="5255" y="657"/>
                    </a:lnTo>
                    <a:lnTo>
                      <a:pt x="5261" y="660"/>
                    </a:lnTo>
                    <a:lnTo>
                      <a:pt x="5271" y="670"/>
                    </a:lnTo>
                    <a:lnTo>
                      <a:pt x="5281" y="685"/>
                    </a:lnTo>
                    <a:lnTo>
                      <a:pt x="5287" y="691"/>
                    </a:lnTo>
                    <a:lnTo>
                      <a:pt x="5292" y="697"/>
                    </a:lnTo>
                    <a:lnTo>
                      <a:pt x="5298" y="701"/>
                    </a:lnTo>
                    <a:lnTo>
                      <a:pt x="5305" y="702"/>
                    </a:lnTo>
                    <a:lnTo>
                      <a:pt x="5309" y="699"/>
                    </a:lnTo>
                    <a:lnTo>
                      <a:pt x="5314" y="692"/>
                    </a:lnTo>
                    <a:lnTo>
                      <a:pt x="5320" y="682"/>
                    </a:lnTo>
                    <a:lnTo>
                      <a:pt x="5326" y="672"/>
                    </a:lnTo>
                    <a:lnTo>
                      <a:pt x="5332" y="660"/>
                    </a:lnTo>
                    <a:lnTo>
                      <a:pt x="5336" y="649"/>
                    </a:lnTo>
                    <a:lnTo>
                      <a:pt x="5340" y="639"/>
                    </a:lnTo>
                    <a:lnTo>
                      <a:pt x="5341" y="633"/>
                    </a:lnTo>
                    <a:lnTo>
                      <a:pt x="5324" y="633"/>
                    </a:lnTo>
                    <a:lnTo>
                      <a:pt x="5310" y="631"/>
                    </a:lnTo>
                    <a:lnTo>
                      <a:pt x="5298" y="628"/>
                    </a:lnTo>
                    <a:lnTo>
                      <a:pt x="5288" y="625"/>
                    </a:lnTo>
                    <a:lnTo>
                      <a:pt x="5280" y="620"/>
                    </a:lnTo>
                    <a:lnTo>
                      <a:pt x="5273" y="614"/>
                    </a:lnTo>
                    <a:lnTo>
                      <a:pt x="5268" y="608"/>
                    </a:lnTo>
                    <a:lnTo>
                      <a:pt x="5264" y="601"/>
                    </a:lnTo>
                    <a:lnTo>
                      <a:pt x="5262" y="592"/>
                    </a:lnTo>
                    <a:lnTo>
                      <a:pt x="5259" y="583"/>
                    </a:lnTo>
                    <a:lnTo>
                      <a:pt x="5259" y="572"/>
                    </a:lnTo>
                    <a:lnTo>
                      <a:pt x="5258" y="561"/>
                    </a:lnTo>
                    <a:lnTo>
                      <a:pt x="5259" y="537"/>
                    </a:lnTo>
                    <a:lnTo>
                      <a:pt x="5259" y="509"/>
                    </a:lnTo>
                    <a:lnTo>
                      <a:pt x="5261" y="502"/>
                    </a:lnTo>
                    <a:lnTo>
                      <a:pt x="5264" y="494"/>
                    </a:lnTo>
                    <a:lnTo>
                      <a:pt x="5269" y="483"/>
                    </a:lnTo>
                    <a:lnTo>
                      <a:pt x="5275" y="472"/>
                    </a:lnTo>
                    <a:lnTo>
                      <a:pt x="5283" y="460"/>
                    </a:lnTo>
                    <a:lnTo>
                      <a:pt x="5292" y="448"/>
                    </a:lnTo>
                    <a:lnTo>
                      <a:pt x="5300" y="437"/>
                    </a:lnTo>
                    <a:lnTo>
                      <a:pt x="5310" y="427"/>
                    </a:lnTo>
                    <a:lnTo>
                      <a:pt x="5320" y="419"/>
                    </a:lnTo>
                    <a:lnTo>
                      <a:pt x="5329" y="413"/>
                    </a:lnTo>
                    <a:lnTo>
                      <a:pt x="5333" y="412"/>
                    </a:lnTo>
                    <a:lnTo>
                      <a:pt x="5338" y="410"/>
                    </a:lnTo>
                    <a:lnTo>
                      <a:pt x="5341" y="409"/>
                    </a:lnTo>
                    <a:lnTo>
                      <a:pt x="5345" y="409"/>
                    </a:lnTo>
                    <a:lnTo>
                      <a:pt x="5348" y="410"/>
                    </a:lnTo>
                    <a:lnTo>
                      <a:pt x="5352" y="413"/>
                    </a:lnTo>
                    <a:lnTo>
                      <a:pt x="5354" y="417"/>
                    </a:lnTo>
                    <a:lnTo>
                      <a:pt x="5357" y="420"/>
                    </a:lnTo>
                    <a:lnTo>
                      <a:pt x="5358" y="426"/>
                    </a:lnTo>
                    <a:lnTo>
                      <a:pt x="5361" y="432"/>
                    </a:lnTo>
                    <a:lnTo>
                      <a:pt x="5361" y="441"/>
                    </a:lnTo>
                    <a:lnTo>
                      <a:pt x="5362" y="450"/>
                    </a:lnTo>
                    <a:lnTo>
                      <a:pt x="5363" y="450"/>
                    </a:lnTo>
                    <a:lnTo>
                      <a:pt x="5363" y="451"/>
                    </a:lnTo>
                    <a:lnTo>
                      <a:pt x="5373" y="451"/>
                    </a:lnTo>
                    <a:lnTo>
                      <a:pt x="5380" y="450"/>
                    </a:lnTo>
                    <a:lnTo>
                      <a:pt x="5387" y="449"/>
                    </a:lnTo>
                    <a:lnTo>
                      <a:pt x="5392" y="447"/>
                    </a:lnTo>
                    <a:lnTo>
                      <a:pt x="5397" y="444"/>
                    </a:lnTo>
                    <a:lnTo>
                      <a:pt x="5399" y="441"/>
                    </a:lnTo>
                    <a:lnTo>
                      <a:pt x="5401" y="437"/>
                    </a:lnTo>
                    <a:lnTo>
                      <a:pt x="5403" y="432"/>
                    </a:lnTo>
                    <a:lnTo>
                      <a:pt x="5403" y="429"/>
                    </a:lnTo>
                    <a:lnTo>
                      <a:pt x="5401" y="424"/>
                    </a:lnTo>
                    <a:lnTo>
                      <a:pt x="5400" y="418"/>
                    </a:lnTo>
                    <a:lnTo>
                      <a:pt x="5398" y="413"/>
                    </a:lnTo>
                    <a:lnTo>
                      <a:pt x="5392" y="401"/>
                    </a:lnTo>
                    <a:lnTo>
                      <a:pt x="5385" y="389"/>
                    </a:lnTo>
                    <a:lnTo>
                      <a:pt x="5379" y="379"/>
                    </a:lnTo>
                    <a:lnTo>
                      <a:pt x="5371" y="368"/>
                    </a:lnTo>
                    <a:lnTo>
                      <a:pt x="5364" y="355"/>
                    </a:lnTo>
                    <a:lnTo>
                      <a:pt x="5359" y="343"/>
                    </a:lnTo>
                    <a:lnTo>
                      <a:pt x="5357" y="336"/>
                    </a:lnTo>
                    <a:lnTo>
                      <a:pt x="5356" y="330"/>
                    </a:lnTo>
                    <a:lnTo>
                      <a:pt x="5357" y="324"/>
                    </a:lnTo>
                    <a:lnTo>
                      <a:pt x="5358" y="319"/>
                    </a:lnTo>
                    <a:lnTo>
                      <a:pt x="5361" y="314"/>
                    </a:lnTo>
                    <a:lnTo>
                      <a:pt x="5365" y="309"/>
                    </a:lnTo>
                    <a:lnTo>
                      <a:pt x="5371" y="306"/>
                    </a:lnTo>
                    <a:lnTo>
                      <a:pt x="5380" y="303"/>
                    </a:lnTo>
                    <a:lnTo>
                      <a:pt x="5386" y="319"/>
                    </a:lnTo>
                    <a:lnTo>
                      <a:pt x="5399" y="342"/>
                    </a:lnTo>
                    <a:lnTo>
                      <a:pt x="5406" y="354"/>
                    </a:lnTo>
                    <a:lnTo>
                      <a:pt x="5413" y="365"/>
                    </a:lnTo>
                    <a:lnTo>
                      <a:pt x="5419" y="371"/>
                    </a:lnTo>
                    <a:lnTo>
                      <a:pt x="5423" y="374"/>
                    </a:lnTo>
                    <a:lnTo>
                      <a:pt x="5422" y="353"/>
                    </a:lnTo>
                    <a:lnTo>
                      <a:pt x="5422" y="336"/>
                    </a:lnTo>
                    <a:lnTo>
                      <a:pt x="5422" y="329"/>
                    </a:lnTo>
                    <a:lnTo>
                      <a:pt x="5423" y="323"/>
                    </a:lnTo>
                    <a:lnTo>
                      <a:pt x="5423" y="318"/>
                    </a:lnTo>
                    <a:lnTo>
                      <a:pt x="5425" y="313"/>
                    </a:lnTo>
                    <a:lnTo>
                      <a:pt x="5428" y="309"/>
                    </a:lnTo>
                    <a:lnTo>
                      <a:pt x="5430" y="307"/>
                    </a:lnTo>
                    <a:lnTo>
                      <a:pt x="5435" y="305"/>
                    </a:lnTo>
                    <a:lnTo>
                      <a:pt x="5440" y="302"/>
                    </a:lnTo>
                    <a:lnTo>
                      <a:pt x="5456" y="301"/>
                    </a:lnTo>
                    <a:lnTo>
                      <a:pt x="5476" y="300"/>
                    </a:lnTo>
                    <a:lnTo>
                      <a:pt x="5489" y="307"/>
                    </a:lnTo>
                    <a:lnTo>
                      <a:pt x="5516" y="321"/>
                    </a:lnTo>
                    <a:lnTo>
                      <a:pt x="5541" y="337"/>
                    </a:lnTo>
                    <a:lnTo>
                      <a:pt x="5553" y="346"/>
                    </a:lnTo>
                    <a:lnTo>
                      <a:pt x="5570" y="365"/>
                    </a:lnTo>
                    <a:lnTo>
                      <a:pt x="5584" y="380"/>
                    </a:lnTo>
                    <a:lnTo>
                      <a:pt x="5596" y="396"/>
                    </a:lnTo>
                    <a:lnTo>
                      <a:pt x="5607" y="412"/>
                    </a:lnTo>
                    <a:lnTo>
                      <a:pt x="5611" y="420"/>
                    </a:lnTo>
                    <a:lnTo>
                      <a:pt x="5614" y="429"/>
                    </a:lnTo>
                    <a:lnTo>
                      <a:pt x="5616" y="437"/>
                    </a:lnTo>
                    <a:lnTo>
                      <a:pt x="5617" y="447"/>
                    </a:lnTo>
                    <a:lnTo>
                      <a:pt x="5617" y="456"/>
                    </a:lnTo>
                    <a:lnTo>
                      <a:pt x="5617" y="467"/>
                    </a:lnTo>
                    <a:lnTo>
                      <a:pt x="5614" y="478"/>
                    </a:lnTo>
                    <a:lnTo>
                      <a:pt x="5611" y="490"/>
                    </a:lnTo>
                    <a:lnTo>
                      <a:pt x="5608" y="506"/>
                    </a:lnTo>
                    <a:lnTo>
                      <a:pt x="5610" y="521"/>
                    </a:lnTo>
                    <a:lnTo>
                      <a:pt x="5610" y="528"/>
                    </a:lnTo>
                    <a:lnTo>
                      <a:pt x="5607" y="536"/>
                    </a:lnTo>
                    <a:lnTo>
                      <a:pt x="5606" y="539"/>
                    </a:lnTo>
                    <a:lnTo>
                      <a:pt x="5604" y="542"/>
                    </a:lnTo>
                    <a:lnTo>
                      <a:pt x="5601" y="544"/>
                    </a:lnTo>
                    <a:lnTo>
                      <a:pt x="5598" y="545"/>
                    </a:lnTo>
                    <a:lnTo>
                      <a:pt x="5593" y="549"/>
                    </a:lnTo>
                    <a:lnTo>
                      <a:pt x="5587" y="554"/>
                    </a:lnTo>
                    <a:lnTo>
                      <a:pt x="5581" y="561"/>
                    </a:lnTo>
                    <a:lnTo>
                      <a:pt x="5574" y="569"/>
                    </a:lnTo>
                    <a:lnTo>
                      <a:pt x="5568" y="578"/>
                    </a:lnTo>
                    <a:lnTo>
                      <a:pt x="5563" y="586"/>
                    </a:lnTo>
                    <a:lnTo>
                      <a:pt x="5559" y="593"/>
                    </a:lnTo>
                    <a:lnTo>
                      <a:pt x="5558" y="598"/>
                    </a:lnTo>
                    <a:lnTo>
                      <a:pt x="5577" y="596"/>
                    </a:lnTo>
                    <a:lnTo>
                      <a:pt x="5588" y="595"/>
                    </a:lnTo>
                    <a:lnTo>
                      <a:pt x="5592" y="597"/>
                    </a:lnTo>
                    <a:lnTo>
                      <a:pt x="5595" y="602"/>
                    </a:lnTo>
                    <a:lnTo>
                      <a:pt x="5598" y="610"/>
                    </a:lnTo>
                    <a:lnTo>
                      <a:pt x="5602" y="622"/>
                    </a:lnTo>
                    <a:lnTo>
                      <a:pt x="5606" y="632"/>
                    </a:lnTo>
                    <a:lnTo>
                      <a:pt x="5610" y="639"/>
                    </a:lnTo>
                    <a:lnTo>
                      <a:pt x="5614" y="645"/>
                    </a:lnTo>
                    <a:lnTo>
                      <a:pt x="5619" y="649"/>
                    </a:lnTo>
                    <a:lnTo>
                      <a:pt x="5625" y="651"/>
                    </a:lnTo>
                    <a:lnTo>
                      <a:pt x="5632" y="654"/>
                    </a:lnTo>
                    <a:lnTo>
                      <a:pt x="5639" y="654"/>
                    </a:lnTo>
                    <a:lnTo>
                      <a:pt x="5646" y="654"/>
                    </a:lnTo>
                    <a:lnTo>
                      <a:pt x="5661" y="652"/>
                    </a:lnTo>
                    <a:lnTo>
                      <a:pt x="5677" y="651"/>
                    </a:lnTo>
                    <a:lnTo>
                      <a:pt x="5685" y="651"/>
                    </a:lnTo>
                    <a:lnTo>
                      <a:pt x="5694" y="651"/>
                    </a:lnTo>
                    <a:lnTo>
                      <a:pt x="5702" y="652"/>
                    </a:lnTo>
                    <a:lnTo>
                      <a:pt x="5712" y="655"/>
                    </a:lnTo>
                    <a:lnTo>
                      <a:pt x="5722" y="660"/>
                    </a:lnTo>
                    <a:lnTo>
                      <a:pt x="5731" y="664"/>
                    </a:lnTo>
                    <a:lnTo>
                      <a:pt x="5737" y="670"/>
                    </a:lnTo>
                    <a:lnTo>
                      <a:pt x="5743" y="678"/>
                    </a:lnTo>
                    <a:lnTo>
                      <a:pt x="5753" y="691"/>
                    </a:lnTo>
                    <a:lnTo>
                      <a:pt x="5760" y="704"/>
                    </a:lnTo>
                    <a:lnTo>
                      <a:pt x="5765" y="710"/>
                    </a:lnTo>
                    <a:lnTo>
                      <a:pt x="5770" y="715"/>
                    </a:lnTo>
                    <a:lnTo>
                      <a:pt x="5775" y="719"/>
                    </a:lnTo>
                    <a:lnTo>
                      <a:pt x="5782" y="720"/>
                    </a:lnTo>
                    <a:lnTo>
                      <a:pt x="5790" y="720"/>
                    </a:lnTo>
                    <a:lnTo>
                      <a:pt x="5801" y="717"/>
                    </a:lnTo>
                    <a:lnTo>
                      <a:pt x="5813" y="714"/>
                    </a:lnTo>
                    <a:lnTo>
                      <a:pt x="5829" y="707"/>
                    </a:lnTo>
                    <a:lnTo>
                      <a:pt x="5839" y="698"/>
                    </a:lnTo>
                    <a:lnTo>
                      <a:pt x="5850" y="690"/>
                    </a:lnTo>
                    <a:lnTo>
                      <a:pt x="5859" y="679"/>
                    </a:lnTo>
                    <a:lnTo>
                      <a:pt x="5867" y="668"/>
                    </a:lnTo>
                    <a:lnTo>
                      <a:pt x="5880" y="643"/>
                    </a:lnTo>
                    <a:lnTo>
                      <a:pt x="5892" y="617"/>
                    </a:lnTo>
                    <a:lnTo>
                      <a:pt x="5900" y="596"/>
                    </a:lnTo>
                    <a:lnTo>
                      <a:pt x="5906" y="581"/>
                    </a:lnTo>
                    <a:lnTo>
                      <a:pt x="5908" y="579"/>
                    </a:lnTo>
                    <a:lnTo>
                      <a:pt x="5909" y="578"/>
                    </a:lnTo>
                    <a:lnTo>
                      <a:pt x="5913" y="575"/>
                    </a:lnTo>
                    <a:lnTo>
                      <a:pt x="5917" y="575"/>
                    </a:lnTo>
                    <a:lnTo>
                      <a:pt x="5925" y="574"/>
                    </a:lnTo>
                    <a:lnTo>
                      <a:pt x="5938" y="577"/>
                    </a:lnTo>
                    <a:lnTo>
                      <a:pt x="5956" y="578"/>
                    </a:lnTo>
                    <a:lnTo>
                      <a:pt x="5973" y="579"/>
                    </a:lnTo>
                    <a:lnTo>
                      <a:pt x="5991" y="578"/>
                    </a:lnTo>
                    <a:lnTo>
                      <a:pt x="6009" y="578"/>
                    </a:lnTo>
                    <a:lnTo>
                      <a:pt x="6026" y="577"/>
                    </a:lnTo>
                    <a:lnTo>
                      <a:pt x="6044" y="575"/>
                    </a:lnTo>
                    <a:lnTo>
                      <a:pt x="6061" y="577"/>
                    </a:lnTo>
                    <a:lnTo>
                      <a:pt x="6079" y="577"/>
                    </a:lnTo>
                    <a:lnTo>
                      <a:pt x="6087" y="578"/>
                    </a:lnTo>
                    <a:lnTo>
                      <a:pt x="6095" y="578"/>
                    </a:lnTo>
                    <a:lnTo>
                      <a:pt x="6102" y="577"/>
                    </a:lnTo>
                    <a:lnTo>
                      <a:pt x="6108" y="575"/>
                    </a:lnTo>
                    <a:lnTo>
                      <a:pt x="6119" y="571"/>
                    </a:lnTo>
                    <a:lnTo>
                      <a:pt x="6127" y="566"/>
                    </a:lnTo>
                    <a:lnTo>
                      <a:pt x="6136" y="560"/>
                    </a:lnTo>
                    <a:lnTo>
                      <a:pt x="6143" y="554"/>
                    </a:lnTo>
                    <a:lnTo>
                      <a:pt x="6152" y="549"/>
                    </a:lnTo>
                    <a:lnTo>
                      <a:pt x="6163" y="545"/>
                    </a:lnTo>
                    <a:lnTo>
                      <a:pt x="6172" y="543"/>
                    </a:lnTo>
                    <a:lnTo>
                      <a:pt x="6190" y="542"/>
                    </a:lnTo>
                    <a:lnTo>
                      <a:pt x="6208" y="542"/>
                    </a:lnTo>
                    <a:lnTo>
                      <a:pt x="6219" y="540"/>
                    </a:lnTo>
                    <a:lnTo>
                      <a:pt x="6225" y="550"/>
                    </a:lnTo>
                    <a:lnTo>
                      <a:pt x="6232" y="559"/>
                    </a:lnTo>
                    <a:lnTo>
                      <a:pt x="6249" y="560"/>
                    </a:lnTo>
                    <a:lnTo>
                      <a:pt x="6263" y="560"/>
                    </a:lnTo>
                    <a:lnTo>
                      <a:pt x="6276" y="559"/>
                    </a:lnTo>
                    <a:lnTo>
                      <a:pt x="6287" y="557"/>
                    </a:lnTo>
                    <a:lnTo>
                      <a:pt x="6293" y="559"/>
                    </a:lnTo>
                    <a:lnTo>
                      <a:pt x="6298" y="560"/>
                    </a:lnTo>
                    <a:lnTo>
                      <a:pt x="6302" y="563"/>
                    </a:lnTo>
                    <a:lnTo>
                      <a:pt x="6306" y="567"/>
                    </a:lnTo>
                    <a:lnTo>
                      <a:pt x="6310" y="572"/>
                    </a:lnTo>
                    <a:lnTo>
                      <a:pt x="6314" y="579"/>
                    </a:lnTo>
                    <a:lnTo>
                      <a:pt x="6316" y="589"/>
                    </a:lnTo>
                    <a:lnTo>
                      <a:pt x="6320" y="599"/>
                    </a:lnTo>
                    <a:lnTo>
                      <a:pt x="6322" y="609"/>
                    </a:lnTo>
                    <a:lnTo>
                      <a:pt x="6326" y="619"/>
                    </a:lnTo>
                    <a:lnTo>
                      <a:pt x="6329" y="622"/>
                    </a:lnTo>
                    <a:lnTo>
                      <a:pt x="6333" y="625"/>
                    </a:lnTo>
                    <a:lnTo>
                      <a:pt x="6339" y="626"/>
                    </a:lnTo>
                    <a:lnTo>
                      <a:pt x="6345" y="625"/>
                    </a:lnTo>
                    <a:lnTo>
                      <a:pt x="6350" y="622"/>
                    </a:lnTo>
                    <a:lnTo>
                      <a:pt x="6353" y="619"/>
                    </a:lnTo>
                    <a:lnTo>
                      <a:pt x="6356" y="614"/>
                    </a:lnTo>
                    <a:lnTo>
                      <a:pt x="6358" y="609"/>
                    </a:lnTo>
                    <a:lnTo>
                      <a:pt x="6361" y="604"/>
                    </a:lnTo>
                    <a:lnTo>
                      <a:pt x="6362" y="599"/>
                    </a:lnTo>
                    <a:lnTo>
                      <a:pt x="6364" y="596"/>
                    </a:lnTo>
                    <a:lnTo>
                      <a:pt x="6368" y="593"/>
                    </a:lnTo>
                    <a:lnTo>
                      <a:pt x="6383" y="586"/>
                    </a:lnTo>
                    <a:lnTo>
                      <a:pt x="6400" y="583"/>
                    </a:lnTo>
                    <a:lnTo>
                      <a:pt x="6416" y="580"/>
                    </a:lnTo>
                    <a:lnTo>
                      <a:pt x="6433" y="579"/>
                    </a:lnTo>
                    <a:lnTo>
                      <a:pt x="6450" y="581"/>
                    </a:lnTo>
                    <a:lnTo>
                      <a:pt x="6467" y="585"/>
                    </a:lnTo>
                    <a:lnTo>
                      <a:pt x="6474" y="589"/>
                    </a:lnTo>
                    <a:lnTo>
                      <a:pt x="6481" y="592"/>
                    </a:lnTo>
                    <a:lnTo>
                      <a:pt x="6488" y="596"/>
                    </a:lnTo>
                    <a:lnTo>
                      <a:pt x="6495" y="601"/>
                    </a:lnTo>
                    <a:lnTo>
                      <a:pt x="6524" y="615"/>
                    </a:lnTo>
                    <a:lnTo>
                      <a:pt x="6562" y="631"/>
                    </a:lnTo>
                    <a:lnTo>
                      <a:pt x="6581" y="640"/>
                    </a:lnTo>
                    <a:lnTo>
                      <a:pt x="6598" y="650"/>
                    </a:lnTo>
                    <a:lnTo>
                      <a:pt x="6604" y="655"/>
                    </a:lnTo>
                    <a:lnTo>
                      <a:pt x="6610" y="661"/>
                    </a:lnTo>
                    <a:lnTo>
                      <a:pt x="6613" y="666"/>
                    </a:lnTo>
                    <a:lnTo>
                      <a:pt x="6616" y="672"/>
                    </a:lnTo>
                    <a:lnTo>
                      <a:pt x="6618" y="673"/>
                    </a:lnTo>
                    <a:lnTo>
                      <a:pt x="6619" y="675"/>
                    </a:lnTo>
                    <a:lnTo>
                      <a:pt x="6615" y="680"/>
                    </a:lnTo>
                    <a:lnTo>
                      <a:pt x="6604" y="687"/>
                    </a:lnTo>
                    <a:lnTo>
                      <a:pt x="6592" y="693"/>
                    </a:lnTo>
                    <a:lnTo>
                      <a:pt x="6583" y="697"/>
                    </a:lnTo>
                    <a:lnTo>
                      <a:pt x="6582" y="708"/>
                    </a:lnTo>
                    <a:lnTo>
                      <a:pt x="6578" y="720"/>
                    </a:lnTo>
                    <a:lnTo>
                      <a:pt x="6572" y="732"/>
                    </a:lnTo>
                    <a:lnTo>
                      <a:pt x="6566" y="743"/>
                    </a:lnTo>
                    <a:lnTo>
                      <a:pt x="6559" y="753"/>
                    </a:lnTo>
                    <a:lnTo>
                      <a:pt x="6551" y="762"/>
                    </a:lnTo>
                    <a:lnTo>
                      <a:pt x="6546" y="765"/>
                    </a:lnTo>
                    <a:lnTo>
                      <a:pt x="6541" y="769"/>
                    </a:lnTo>
                    <a:lnTo>
                      <a:pt x="6535" y="772"/>
                    </a:lnTo>
                    <a:lnTo>
                      <a:pt x="6530" y="774"/>
                    </a:lnTo>
                    <a:lnTo>
                      <a:pt x="6529" y="788"/>
                    </a:lnTo>
                    <a:lnTo>
                      <a:pt x="6527" y="802"/>
                    </a:lnTo>
                    <a:lnTo>
                      <a:pt x="6523" y="814"/>
                    </a:lnTo>
                    <a:lnTo>
                      <a:pt x="6519" y="827"/>
                    </a:lnTo>
                    <a:lnTo>
                      <a:pt x="6515" y="839"/>
                    </a:lnTo>
                    <a:lnTo>
                      <a:pt x="6512" y="851"/>
                    </a:lnTo>
                    <a:lnTo>
                      <a:pt x="6510" y="865"/>
                    </a:lnTo>
                    <a:lnTo>
                      <a:pt x="6509" y="881"/>
                    </a:lnTo>
                    <a:lnTo>
                      <a:pt x="6510" y="893"/>
                    </a:lnTo>
                    <a:lnTo>
                      <a:pt x="6511" y="903"/>
                    </a:lnTo>
                    <a:lnTo>
                      <a:pt x="6515" y="910"/>
                    </a:lnTo>
                    <a:lnTo>
                      <a:pt x="6519" y="916"/>
                    </a:lnTo>
                    <a:lnTo>
                      <a:pt x="6524" y="921"/>
                    </a:lnTo>
                    <a:lnTo>
                      <a:pt x="6530" y="923"/>
                    </a:lnTo>
                    <a:lnTo>
                      <a:pt x="6536" y="926"/>
                    </a:lnTo>
                    <a:lnTo>
                      <a:pt x="6544" y="926"/>
                    </a:lnTo>
                    <a:lnTo>
                      <a:pt x="6558" y="927"/>
                    </a:lnTo>
                    <a:lnTo>
                      <a:pt x="6571" y="928"/>
                    </a:lnTo>
                    <a:lnTo>
                      <a:pt x="6577" y="929"/>
                    </a:lnTo>
                    <a:lnTo>
                      <a:pt x="6582" y="932"/>
                    </a:lnTo>
                    <a:lnTo>
                      <a:pt x="6587" y="935"/>
                    </a:lnTo>
                    <a:lnTo>
                      <a:pt x="6590" y="940"/>
                    </a:lnTo>
                    <a:lnTo>
                      <a:pt x="6604" y="944"/>
                    </a:lnTo>
                    <a:lnTo>
                      <a:pt x="6623" y="950"/>
                    </a:lnTo>
                    <a:lnTo>
                      <a:pt x="6633" y="953"/>
                    </a:lnTo>
                    <a:lnTo>
                      <a:pt x="6640" y="957"/>
                    </a:lnTo>
                    <a:lnTo>
                      <a:pt x="6646" y="960"/>
                    </a:lnTo>
                    <a:lnTo>
                      <a:pt x="6647" y="963"/>
                    </a:lnTo>
                    <a:lnTo>
                      <a:pt x="6628" y="964"/>
                    </a:lnTo>
                    <a:lnTo>
                      <a:pt x="6605" y="963"/>
                    </a:lnTo>
                    <a:lnTo>
                      <a:pt x="6580" y="963"/>
                    </a:lnTo>
                    <a:lnTo>
                      <a:pt x="6554" y="962"/>
                    </a:lnTo>
                    <a:lnTo>
                      <a:pt x="6541" y="962"/>
                    </a:lnTo>
                    <a:lnTo>
                      <a:pt x="6529" y="963"/>
                    </a:lnTo>
                    <a:lnTo>
                      <a:pt x="6517" y="963"/>
                    </a:lnTo>
                    <a:lnTo>
                      <a:pt x="6506" y="965"/>
                    </a:lnTo>
                    <a:lnTo>
                      <a:pt x="6497" y="968"/>
                    </a:lnTo>
                    <a:lnTo>
                      <a:pt x="6488" y="971"/>
                    </a:lnTo>
                    <a:lnTo>
                      <a:pt x="6480" y="976"/>
                    </a:lnTo>
                    <a:lnTo>
                      <a:pt x="6475" y="981"/>
                    </a:lnTo>
                    <a:lnTo>
                      <a:pt x="6471" y="986"/>
                    </a:lnTo>
                    <a:lnTo>
                      <a:pt x="6469" y="991"/>
                    </a:lnTo>
                    <a:lnTo>
                      <a:pt x="6469" y="994"/>
                    </a:lnTo>
                    <a:lnTo>
                      <a:pt x="6469" y="998"/>
                    </a:lnTo>
                    <a:lnTo>
                      <a:pt x="6470" y="1001"/>
                    </a:lnTo>
                    <a:lnTo>
                      <a:pt x="6474" y="1004"/>
                    </a:lnTo>
                    <a:lnTo>
                      <a:pt x="6476" y="1006"/>
                    </a:lnTo>
                    <a:lnTo>
                      <a:pt x="6481" y="1007"/>
                    </a:lnTo>
                    <a:lnTo>
                      <a:pt x="6492" y="1011"/>
                    </a:lnTo>
                    <a:lnTo>
                      <a:pt x="6505" y="1013"/>
                    </a:lnTo>
                    <a:lnTo>
                      <a:pt x="6521" y="1013"/>
                    </a:lnTo>
                    <a:lnTo>
                      <a:pt x="6538" y="1013"/>
                    </a:lnTo>
                    <a:lnTo>
                      <a:pt x="6574" y="1012"/>
                    </a:lnTo>
                    <a:lnTo>
                      <a:pt x="6609" y="1010"/>
                    </a:lnTo>
                    <a:lnTo>
                      <a:pt x="6637" y="1007"/>
                    </a:lnTo>
                    <a:lnTo>
                      <a:pt x="6655" y="1006"/>
                    </a:lnTo>
                    <a:lnTo>
                      <a:pt x="6665" y="1001"/>
                    </a:lnTo>
                    <a:lnTo>
                      <a:pt x="6674" y="997"/>
                    </a:lnTo>
                    <a:lnTo>
                      <a:pt x="6683" y="993"/>
                    </a:lnTo>
                    <a:lnTo>
                      <a:pt x="6693" y="989"/>
                    </a:lnTo>
                    <a:lnTo>
                      <a:pt x="6704" y="988"/>
                    </a:lnTo>
                    <a:lnTo>
                      <a:pt x="6713" y="987"/>
                    </a:lnTo>
                    <a:lnTo>
                      <a:pt x="6723" y="988"/>
                    </a:lnTo>
                    <a:lnTo>
                      <a:pt x="6731" y="991"/>
                    </a:lnTo>
                    <a:lnTo>
                      <a:pt x="6743" y="995"/>
                    </a:lnTo>
                    <a:lnTo>
                      <a:pt x="6754" y="999"/>
                    </a:lnTo>
                    <a:lnTo>
                      <a:pt x="6765" y="1000"/>
                    </a:lnTo>
                    <a:lnTo>
                      <a:pt x="6776" y="1001"/>
                    </a:lnTo>
                    <a:lnTo>
                      <a:pt x="6796" y="1000"/>
                    </a:lnTo>
                    <a:lnTo>
                      <a:pt x="6820" y="999"/>
                    </a:lnTo>
                    <a:lnTo>
                      <a:pt x="6822" y="1000"/>
                    </a:lnTo>
                    <a:lnTo>
                      <a:pt x="6819" y="1006"/>
                    </a:lnTo>
                    <a:lnTo>
                      <a:pt x="6817" y="1013"/>
                    </a:lnTo>
                    <a:lnTo>
                      <a:pt x="6812" y="1021"/>
                    </a:lnTo>
                    <a:lnTo>
                      <a:pt x="6807" y="1028"/>
                    </a:lnTo>
                    <a:lnTo>
                      <a:pt x="6794" y="1046"/>
                    </a:lnTo>
                    <a:lnTo>
                      <a:pt x="6778" y="1063"/>
                    </a:lnTo>
                    <a:lnTo>
                      <a:pt x="6761" y="1080"/>
                    </a:lnTo>
                    <a:lnTo>
                      <a:pt x="6746" y="1094"/>
                    </a:lnTo>
                    <a:lnTo>
                      <a:pt x="6737" y="1100"/>
                    </a:lnTo>
                    <a:lnTo>
                      <a:pt x="6731" y="1105"/>
                    </a:lnTo>
                    <a:lnTo>
                      <a:pt x="6724" y="1107"/>
                    </a:lnTo>
                    <a:lnTo>
                      <a:pt x="6718" y="1110"/>
                    </a:lnTo>
                    <a:lnTo>
                      <a:pt x="6719" y="1123"/>
                    </a:lnTo>
                    <a:lnTo>
                      <a:pt x="6723" y="1133"/>
                    </a:lnTo>
                    <a:lnTo>
                      <a:pt x="6728" y="1141"/>
                    </a:lnTo>
                    <a:lnTo>
                      <a:pt x="6734" y="1148"/>
                    </a:lnTo>
                    <a:lnTo>
                      <a:pt x="6742" y="1153"/>
                    </a:lnTo>
                    <a:lnTo>
                      <a:pt x="6751" y="1157"/>
                    </a:lnTo>
                    <a:lnTo>
                      <a:pt x="6760" y="1159"/>
                    </a:lnTo>
                    <a:lnTo>
                      <a:pt x="6771" y="1160"/>
                    </a:lnTo>
                    <a:lnTo>
                      <a:pt x="6820" y="1161"/>
                    </a:lnTo>
                    <a:lnTo>
                      <a:pt x="6868" y="1161"/>
                    </a:lnTo>
                    <a:lnTo>
                      <a:pt x="6909" y="1166"/>
                    </a:lnTo>
                    <a:lnTo>
                      <a:pt x="6943" y="1171"/>
                    </a:lnTo>
                    <a:lnTo>
                      <a:pt x="6958" y="1176"/>
                    </a:lnTo>
                    <a:lnTo>
                      <a:pt x="6973" y="1183"/>
                    </a:lnTo>
                    <a:lnTo>
                      <a:pt x="6989" y="1194"/>
                    </a:lnTo>
                    <a:lnTo>
                      <a:pt x="7006" y="1207"/>
                    </a:lnTo>
                    <a:lnTo>
                      <a:pt x="7023" y="1225"/>
                    </a:lnTo>
                    <a:lnTo>
                      <a:pt x="7037" y="1237"/>
                    </a:lnTo>
                    <a:lnTo>
                      <a:pt x="7041" y="1240"/>
                    </a:lnTo>
                    <a:lnTo>
                      <a:pt x="7043" y="1240"/>
                    </a:lnTo>
                    <a:lnTo>
                      <a:pt x="7047" y="1240"/>
                    </a:lnTo>
                    <a:lnTo>
                      <a:pt x="7049" y="1238"/>
                    </a:lnTo>
                    <a:lnTo>
                      <a:pt x="7053" y="1236"/>
                    </a:lnTo>
                    <a:lnTo>
                      <a:pt x="7055" y="1231"/>
                    </a:lnTo>
                    <a:lnTo>
                      <a:pt x="7057" y="1225"/>
                    </a:lnTo>
                    <a:lnTo>
                      <a:pt x="7060" y="1218"/>
                    </a:lnTo>
                    <a:lnTo>
                      <a:pt x="7065" y="1201"/>
                    </a:lnTo>
                    <a:lnTo>
                      <a:pt x="7069" y="1188"/>
                    </a:lnTo>
                    <a:lnTo>
                      <a:pt x="7077" y="1176"/>
                    </a:lnTo>
                    <a:lnTo>
                      <a:pt x="7088" y="1161"/>
                    </a:lnTo>
                    <a:lnTo>
                      <a:pt x="7091" y="1158"/>
                    </a:lnTo>
                    <a:lnTo>
                      <a:pt x="7096" y="1155"/>
                    </a:lnTo>
                    <a:lnTo>
                      <a:pt x="7101" y="1154"/>
                    </a:lnTo>
                    <a:lnTo>
                      <a:pt x="7106" y="1154"/>
                    </a:lnTo>
                    <a:lnTo>
                      <a:pt x="7115" y="1155"/>
                    </a:lnTo>
                    <a:lnTo>
                      <a:pt x="7126" y="1157"/>
                    </a:lnTo>
                    <a:lnTo>
                      <a:pt x="7130" y="1157"/>
                    </a:lnTo>
                    <a:lnTo>
                      <a:pt x="7132" y="1155"/>
                    </a:lnTo>
                    <a:lnTo>
                      <a:pt x="7133" y="1154"/>
                    </a:lnTo>
                    <a:lnTo>
                      <a:pt x="7134" y="1152"/>
                    </a:lnTo>
                    <a:lnTo>
                      <a:pt x="7136" y="1148"/>
                    </a:lnTo>
                    <a:lnTo>
                      <a:pt x="7137" y="1142"/>
                    </a:lnTo>
                    <a:lnTo>
                      <a:pt x="7138" y="1136"/>
                    </a:lnTo>
                    <a:lnTo>
                      <a:pt x="7142" y="1130"/>
                    </a:lnTo>
                    <a:lnTo>
                      <a:pt x="7144" y="1128"/>
                    </a:lnTo>
                    <a:lnTo>
                      <a:pt x="7146" y="1125"/>
                    </a:lnTo>
                    <a:lnTo>
                      <a:pt x="7150" y="1123"/>
                    </a:lnTo>
                    <a:lnTo>
                      <a:pt x="7155" y="1122"/>
                    </a:lnTo>
                    <a:lnTo>
                      <a:pt x="7173" y="1117"/>
                    </a:lnTo>
                    <a:lnTo>
                      <a:pt x="7192" y="1114"/>
                    </a:lnTo>
                    <a:lnTo>
                      <a:pt x="7211" y="1111"/>
                    </a:lnTo>
                    <a:lnTo>
                      <a:pt x="7230" y="1107"/>
                    </a:lnTo>
                    <a:lnTo>
                      <a:pt x="7228" y="1093"/>
                    </a:lnTo>
                    <a:lnTo>
                      <a:pt x="7230" y="1083"/>
                    </a:lnTo>
                    <a:lnTo>
                      <a:pt x="7232" y="1080"/>
                    </a:lnTo>
                    <a:lnTo>
                      <a:pt x="7236" y="1078"/>
                    </a:lnTo>
                    <a:lnTo>
                      <a:pt x="7242" y="1078"/>
                    </a:lnTo>
                    <a:lnTo>
                      <a:pt x="7250" y="1081"/>
                    </a:lnTo>
                    <a:lnTo>
                      <a:pt x="7261" y="1084"/>
                    </a:lnTo>
                    <a:lnTo>
                      <a:pt x="7270" y="1087"/>
                    </a:lnTo>
                    <a:lnTo>
                      <a:pt x="7280" y="1087"/>
                    </a:lnTo>
                    <a:lnTo>
                      <a:pt x="7290" y="1087"/>
                    </a:lnTo>
                    <a:lnTo>
                      <a:pt x="7309" y="1087"/>
                    </a:lnTo>
                    <a:lnTo>
                      <a:pt x="7329" y="1088"/>
                    </a:lnTo>
                    <a:lnTo>
                      <a:pt x="7329" y="1089"/>
                    </a:lnTo>
                    <a:lnTo>
                      <a:pt x="7331" y="1089"/>
                    </a:lnTo>
                    <a:lnTo>
                      <a:pt x="7333" y="1105"/>
                    </a:lnTo>
                    <a:lnTo>
                      <a:pt x="7333" y="1117"/>
                    </a:lnTo>
                    <a:lnTo>
                      <a:pt x="7331" y="1128"/>
                    </a:lnTo>
                    <a:lnTo>
                      <a:pt x="7328" y="1139"/>
                    </a:lnTo>
                    <a:lnTo>
                      <a:pt x="7325" y="1148"/>
                    </a:lnTo>
                    <a:lnTo>
                      <a:pt x="7321" y="1158"/>
                    </a:lnTo>
                    <a:lnTo>
                      <a:pt x="7319" y="1167"/>
                    </a:lnTo>
                    <a:lnTo>
                      <a:pt x="7317" y="1179"/>
                    </a:lnTo>
                    <a:lnTo>
                      <a:pt x="7319" y="1179"/>
                    </a:lnTo>
                    <a:lnTo>
                      <a:pt x="7334" y="1182"/>
                    </a:lnTo>
                    <a:lnTo>
                      <a:pt x="7350" y="1184"/>
                    </a:lnTo>
                    <a:lnTo>
                      <a:pt x="7358" y="1185"/>
                    </a:lnTo>
                    <a:lnTo>
                      <a:pt x="7366" y="1187"/>
                    </a:lnTo>
                    <a:lnTo>
                      <a:pt x="7374" y="1187"/>
                    </a:lnTo>
                    <a:lnTo>
                      <a:pt x="7381" y="1187"/>
                    </a:lnTo>
                    <a:lnTo>
                      <a:pt x="7392" y="1183"/>
                    </a:lnTo>
                    <a:lnTo>
                      <a:pt x="7400" y="1179"/>
                    </a:lnTo>
                    <a:lnTo>
                      <a:pt x="7409" y="1173"/>
                    </a:lnTo>
                    <a:lnTo>
                      <a:pt x="7417" y="1169"/>
                    </a:lnTo>
                    <a:lnTo>
                      <a:pt x="7426" y="1164"/>
                    </a:lnTo>
                    <a:lnTo>
                      <a:pt x="7435" y="1159"/>
                    </a:lnTo>
                    <a:lnTo>
                      <a:pt x="7445" y="1157"/>
                    </a:lnTo>
                    <a:lnTo>
                      <a:pt x="7457" y="1155"/>
                    </a:lnTo>
                    <a:lnTo>
                      <a:pt x="7474" y="1149"/>
                    </a:lnTo>
                    <a:lnTo>
                      <a:pt x="7489" y="1142"/>
                    </a:lnTo>
                    <a:lnTo>
                      <a:pt x="7503" y="1133"/>
                    </a:lnTo>
                    <a:lnTo>
                      <a:pt x="7515" y="1123"/>
                    </a:lnTo>
                    <a:lnTo>
                      <a:pt x="7527" y="1111"/>
                    </a:lnTo>
                    <a:lnTo>
                      <a:pt x="7538" y="1099"/>
                    </a:lnTo>
                    <a:lnTo>
                      <a:pt x="7548" y="1084"/>
                    </a:lnTo>
                    <a:lnTo>
                      <a:pt x="7559" y="1071"/>
                    </a:lnTo>
                    <a:lnTo>
                      <a:pt x="7563" y="1066"/>
                    </a:lnTo>
                    <a:lnTo>
                      <a:pt x="7567" y="1064"/>
                    </a:lnTo>
                    <a:lnTo>
                      <a:pt x="7569" y="1063"/>
                    </a:lnTo>
                    <a:lnTo>
                      <a:pt x="7573" y="1062"/>
                    </a:lnTo>
                    <a:lnTo>
                      <a:pt x="7580" y="1063"/>
                    </a:lnTo>
                    <a:lnTo>
                      <a:pt x="7587" y="1065"/>
                    </a:lnTo>
                    <a:lnTo>
                      <a:pt x="7594" y="1070"/>
                    </a:lnTo>
                    <a:lnTo>
                      <a:pt x="7601" y="1074"/>
                    </a:lnTo>
                    <a:lnTo>
                      <a:pt x="7609" y="1077"/>
                    </a:lnTo>
                    <a:lnTo>
                      <a:pt x="7617" y="1078"/>
                    </a:lnTo>
                    <a:lnTo>
                      <a:pt x="7624" y="1077"/>
                    </a:lnTo>
                    <a:lnTo>
                      <a:pt x="7632" y="1076"/>
                    </a:lnTo>
                    <a:lnTo>
                      <a:pt x="7639" y="1072"/>
                    </a:lnTo>
                    <a:lnTo>
                      <a:pt x="7645" y="1070"/>
                    </a:lnTo>
                    <a:lnTo>
                      <a:pt x="7651" y="1066"/>
                    </a:lnTo>
                    <a:lnTo>
                      <a:pt x="7657" y="1063"/>
                    </a:lnTo>
                    <a:lnTo>
                      <a:pt x="7663" y="1060"/>
                    </a:lnTo>
                    <a:lnTo>
                      <a:pt x="7671" y="1058"/>
                    </a:lnTo>
                    <a:lnTo>
                      <a:pt x="7688" y="1056"/>
                    </a:lnTo>
                    <a:lnTo>
                      <a:pt x="7713" y="1054"/>
                    </a:lnTo>
                    <a:lnTo>
                      <a:pt x="7725" y="1054"/>
                    </a:lnTo>
                    <a:lnTo>
                      <a:pt x="7736" y="1054"/>
                    </a:lnTo>
                    <a:lnTo>
                      <a:pt x="7745" y="1056"/>
                    </a:lnTo>
                    <a:lnTo>
                      <a:pt x="7751" y="1057"/>
                    </a:lnTo>
                    <a:lnTo>
                      <a:pt x="7761" y="1069"/>
                    </a:lnTo>
                    <a:lnTo>
                      <a:pt x="7772" y="1083"/>
                    </a:lnTo>
                    <a:lnTo>
                      <a:pt x="7778" y="1089"/>
                    </a:lnTo>
                    <a:lnTo>
                      <a:pt x="7786" y="1095"/>
                    </a:lnTo>
                    <a:lnTo>
                      <a:pt x="7789" y="1098"/>
                    </a:lnTo>
                    <a:lnTo>
                      <a:pt x="7793" y="1099"/>
                    </a:lnTo>
                    <a:lnTo>
                      <a:pt x="7796" y="1100"/>
                    </a:lnTo>
                    <a:lnTo>
                      <a:pt x="7801" y="1100"/>
                    </a:lnTo>
                    <a:lnTo>
                      <a:pt x="7807" y="1092"/>
                    </a:lnTo>
                    <a:lnTo>
                      <a:pt x="7814" y="1084"/>
                    </a:lnTo>
                    <a:lnTo>
                      <a:pt x="7822" y="1080"/>
                    </a:lnTo>
                    <a:lnTo>
                      <a:pt x="7829" y="1076"/>
                    </a:lnTo>
                    <a:lnTo>
                      <a:pt x="7836" y="1075"/>
                    </a:lnTo>
                    <a:lnTo>
                      <a:pt x="7845" y="1076"/>
                    </a:lnTo>
                    <a:lnTo>
                      <a:pt x="7853" y="1077"/>
                    </a:lnTo>
                    <a:lnTo>
                      <a:pt x="7860" y="1080"/>
                    </a:lnTo>
                    <a:lnTo>
                      <a:pt x="7877" y="1087"/>
                    </a:lnTo>
                    <a:lnTo>
                      <a:pt x="7893" y="1096"/>
                    </a:lnTo>
                    <a:lnTo>
                      <a:pt x="7907" y="1106"/>
                    </a:lnTo>
                    <a:lnTo>
                      <a:pt x="7919" y="1116"/>
                    </a:lnTo>
                    <a:lnTo>
                      <a:pt x="7926" y="1121"/>
                    </a:lnTo>
                    <a:lnTo>
                      <a:pt x="7932" y="1125"/>
                    </a:lnTo>
                    <a:lnTo>
                      <a:pt x="7937" y="1131"/>
                    </a:lnTo>
                    <a:lnTo>
                      <a:pt x="7941" y="1136"/>
                    </a:lnTo>
                    <a:lnTo>
                      <a:pt x="7947" y="1147"/>
                    </a:lnTo>
                    <a:lnTo>
                      <a:pt x="7952" y="1157"/>
                    </a:lnTo>
                    <a:lnTo>
                      <a:pt x="7954" y="1167"/>
                    </a:lnTo>
                    <a:lnTo>
                      <a:pt x="7958" y="1178"/>
                    </a:lnTo>
                    <a:lnTo>
                      <a:pt x="7962" y="1190"/>
                    </a:lnTo>
                    <a:lnTo>
                      <a:pt x="7968" y="1201"/>
                    </a:lnTo>
                    <a:lnTo>
                      <a:pt x="7972" y="1204"/>
                    </a:lnTo>
                    <a:lnTo>
                      <a:pt x="7975" y="1205"/>
                    </a:lnTo>
                    <a:lnTo>
                      <a:pt x="7979" y="1205"/>
                    </a:lnTo>
                    <a:lnTo>
                      <a:pt x="7984" y="1205"/>
                    </a:lnTo>
                    <a:lnTo>
                      <a:pt x="7995" y="1201"/>
                    </a:lnTo>
                    <a:lnTo>
                      <a:pt x="8008" y="1195"/>
                    </a:lnTo>
                    <a:lnTo>
                      <a:pt x="8020" y="1189"/>
                    </a:lnTo>
                    <a:lnTo>
                      <a:pt x="8033" y="1183"/>
                    </a:lnTo>
                    <a:lnTo>
                      <a:pt x="8044" y="1178"/>
                    </a:lnTo>
                    <a:lnTo>
                      <a:pt x="8053" y="1177"/>
                    </a:lnTo>
                    <a:lnTo>
                      <a:pt x="8066" y="1178"/>
                    </a:lnTo>
                    <a:lnTo>
                      <a:pt x="8080" y="1182"/>
                    </a:lnTo>
                    <a:lnTo>
                      <a:pt x="8095" y="1188"/>
                    </a:lnTo>
                    <a:lnTo>
                      <a:pt x="8108" y="1195"/>
                    </a:lnTo>
                    <a:lnTo>
                      <a:pt x="8121" y="1204"/>
                    </a:lnTo>
                    <a:lnTo>
                      <a:pt x="8133" y="1214"/>
                    </a:lnTo>
                    <a:lnTo>
                      <a:pt x="8142" y="1224"/>
                    </a:lnTo>
                    <a:lnTo>
                      <a:pt x="8149" y="1235"/>
                    </a:lnTo>
                    <a:lnTo>
                      <a:pt x="8160" y="1261"/>
                    </a:lnTo>
                    <a:lnTo>
                      <a:pt x="8173" y="1291"/>
                    </a:lnTo>
                    <a:lnTo>
                      <a:pt x="8178" y="1299"/>
                    </a:lnTo>
                    <a:lnTo>
                      <a:pt x="8183" y="1303"/>
                    </a:lnTo>
                    <a:lnTo>
                      <a:pt x="8189" y="1308"/>
                    </a:lnTo>
                    <a:lnTo>
                      <a:pt x="8196" y="1311"/>
                    </a:lnTo>
                    <a:lnTo>
                      <a:pt x="8203" y="1312"/>
                    </a:lnTo>
                    <a:lnTo>
                      <a:pt x="8212" y="1312"/>
                    </a:lnTo>
                    <a:lnTo>
                      <a:pt x="8221" y="1309"/>
                    </a:lnTo>
                    <a:lnTo>
                      <a:pt x="8231" y="1305"/>
                    </a:lnTo>
                    <a:lnTo>
                      <a:pt x="8233" y="1294"/>
                    </a:lnTo>
                    <a:lnTo>
                      <a:pt x="8236" y="1285"/>
                    </a:lnTo>
                    <a:lnTo>
                      <a:pt x="8238" y="1278"/>
                    </a:lnTo>
                    <a:lnTo>
                      <a:pt x="8242" y="1273"/>
                    </a:lnTo>
                    <a:lnTo>
                      <a:pt x="8245" y="1269"/>
                    </a:lnTo>
                    <a:lnTo>
                      <a:pt x="8250" y="1266"/>
                    </a:lnTo>
                    <a:lnTo>
                      <a:pt x="8255" y="1264"/>
                    </a:lnTo>
                    <a:lnTo>
                      <a:pt x="8260" y="1264"/>
                    </a:lnTo>
                    <a:lnTo>
                      <a:pt x="8271" y="1264"/>
                    </a:lnTo>
                    <a:lnTo>
                      <a:pt x="8283" y="1265"/>
                    </a:lnTo>
                    <a:lnTo>
                      <a:pt x="8296" y="1267"/>
                    </a:lnTo>
                    <a:lnTo>
                      <a:pt x="8309" y="1270"/>
                    </a:lnTo>
                    <a:lnTo>
                      <a:pt x="8343" y="1288"/>
                    </a:lnTo>
                    <a:lnTo>
                      <a:pt x="8379" y="1306"/>
                    </a:lnTo>
                    <a:lnTo>
                      <a:pt x="8397" y="1314"/>
                    </a:lnTo>
                    <a:lnTo>
                      <a:pt x="8415" y="1321"/>
                    </a:lnTo>
                    <a:lnTo>
                      <a:pt x="8433" y="1327"/>
                    </a:lnTo>
                    <a:lnTo>
                      <a:pt x="8451" y="1331"/>
                    </a:lnTo>
                    <a:lnTo>
                      <a:pt x="8452" y="1332"/>
                    </a:lnTo>
                    <a:lnTo>
                      <a:pt x="8453" y="1334"/>
                    </a:lnTo>
                    <a:lnTo>
                      <a:pt x="8455" y="1342"/>
                    </a:lnTo>
                    <a:lnTo>
                      <a:pt x="8455" y="1350"/>
                    </a:lnTo>
                    <a:lnTo>
                      <a:pt x="8453" y="1359"/>
                    </a:lnTo>
                    <a:lnTo>
                      <a:pt x="8451" y="1367"/>
                    </a:lnTo>
                    <a:lnTo>
                      <a:pt x="8450" y="1377"/>
                    </a:lnTo>
                    <a:lnTo>
                      <a:pt x="8450" y="1385"/>
                    </a:lnTo>
                    <a:lnTo>
                      <a:pt x="8451" y="1394"/>
                    </a:lnTo>
                    <a:lnTo>
                      <a:pt x="8453" y="1403"/>
                    </a:lnTo>
                    <a:lnTo>
                      <a:pt x="8458" y="1411"/>
                    </a:lnTo>
                    <a:lnTo>
                      <a:pt x="8464" y="1417"/>
                    </a:lnTo>
                    <a:lnTo>
                      <a:pt x="8473" y="1423"/>
                    </a:lnTo>
                    <a:lnTo>
                      <a:pt x="8482" y="1427"/>
                    </a:lnTo>
                    <a:lnTo>
                      <a:pt x="8492" y="1431"/>
                    </a:lnTo>
                    <a:lnTo>
                      <a:pt x="8503" y="1433"/>
                    </a:lnTo>
                    <a:lnTo>
                      <a:pt x="8515" y="1436"/>
                    </a:lnTo>
                    <a:lnTo>
                      <a:pt x="8527" y="1437"/>
                    </a:lnTo>
                    <a:lnTo>
                      <a:pt x="8576" y="1442"/>
                    </a:lnTo>
                    <a:lnTo>
                      <a:pt x="8615" y="1447"/>
                    </a:lnTo>
                    <a:lnTo>
                      <a:pt x="8629" y="1450"/>
                    </a:lnTo>
                    <a:lnTo>
                      <a:pt x="8642" y="1456"/>
                    </a:lnTo>
                    <a:lnTo>
                      <a:pt x="8653" y="1463"/>
                    </a:lnTo>
                    <a:lnTo>
                      <a:pt x="8665" y="1470"/>
                    </a:lnTo>
                    <a:lnTo>
                      <a:pt x="8677" y="1477"/>
                    </a:lnTo>
                    <a:lnTo>
                      <a:pt x="8689" y="1483"/>
                    </a:lnTo>
                    <a:lnTo>
                      <a:pt x="8703" y="1488"/>
                    </a:lnTo>
                    <a:lnTo>
                      <a:pt x="8718" y="1490"/>
                    </a:lnTo>
                    <a:lnTo>
                      <a:pt x="8733" y="1491"/>
                    </a:lnTo>
                    <a:lnTo>
                      <a:pt x="8746" y="1491"/>
                    </a:lnTo>
                    <a:lnTo>
                      <a:pt x="8758" y="1490"/>
                    </a:lnTo>
                    <a:lnTo>
                      <a:pt x="8769" y="1488"/>
                    </a:lnTo>
                    <a:lnTo>
                      <a:pt x="8790" y="1482"/>
                    </a:lnTo>
                    <a:lnTo>
                      <a:pt x="8816" y="1476"/>
                    </a:lnTo>
                    <a:lnTo>
                      <a:pt x="8834" y="1473"/>
                    </a:lnTo>
                    <a:lnTo>
                      <a:pt x="8853" y="1472"/>
                    </a:lnTo>
                    <a:lnTo>
                      <a:pt x="8874" y="1473"/>
                    </a:lnTo>
                    <a:lnTo>
                      <a:pt x="8893" y="1474"/>
                    </a:lnTo>
                    <a:lnTo>
                      <a:pt x="8908" y="1473"/>
                    </a:lnTo>
                    <a:lnTo>
                      <a:pt x="8923" y="1471"/>
                    </a:lnTo>
                    <a:lnTo>
                      <a:pt x="8939" y="1468"/>
                    </a:lnTo>
                    <a:lnTo>
                      <a:pt x="8953" y="1465"/>
                    </a:lnTo>
                    <a:lnTo>
                      <a:pt x="8967" y="1462"/>
                    </a:lnTo>
                    <a:lnTo>
                      <a:pt x="8983" y="1460"/>
                    </a:lnTo>
                    <a:lnTo>
                      <a:pt x="8999" y="1459"/>
                    </a:lnTo>
                    <a:lnTo>
                      <a:pt x="9014" y="1457"/>
                    </a:lnTo>
                    <a:lnTo>
                      <a:pt x="9029" y="1460"/>
                    </a:lnTo>
                    <a:lnTo>
                      <a:pt x="9044" y="1463"/>
                    </a:lnTo>
                    <a:lnTo>
                      <a:pt x="9061" y="1468"/>
                    </a:lnTo>
                    <a:lnTo>
                      <a:pt x="9078" y="1474"/>
                    </a:lnTo>
                    <a:lnTo>
                      <a:pt x="9109" y="1488"/>
                    </a:lnTo>
                    <a:lnTo>
                      <a:pt x="9138" y="1500"/>
                    </a:lnTo>
                    <a:lnTo>
                      <a:pt x="9156" y="1503"/>
                    </a:lnTo>
                    <a:lnTo>
                      <a:pt x="9174" y="1510"/>
                    </a:lnTo>
                    <a:lnTo>
                      <a:pt x="9183" y="1513"/>
                    </a:lnTo>
                    <a:lnTo>
                      <a:pt x="9191" y="1516"/>
                    </a:lnTo>
                    <a:lnTo>
                      <a:pt x="9200" y="1519"/>
                    </a:lnTo>
                    <a:lnTo>
                      <a:pt x="9209" y="1520"/>
                    </a:lnTo>
                    <a:lnTo>
                      <a:pt x="9214" y="1521"/>
                    </a:lnTo>
                    <a:lnTo>
                      <a:pt x="9220" y="1520"/>
                    </a:lnTo>
                    <a:lnTo>
                      <a:pt x="9225" y="1519"/>
                    </a:lnTo>
                    <a:lnTo>
                      <a:pt x="9230" y="1518"/>
                    </a:lnTo>
                    <a:lnTo>
                      <a:pt x="9239" y="1513"/>
                    </a:lnTo>
                    <a:lnTo>
                      <a:pt x="9248" y="1508"/>
                    </a:lnTo>
                    <a:lnTo>
                      <a:pt x="9262" y="1497"/>
                    </a:lnTo>
                    <a:lnTo>
                      <a:pt x="9271" y="1494"/>
                    </a:lnTo>
                    <a:lnTo>
                      <a:pt x="9272" y="1497"/>
                    </a:lnTo>
                    <a:lnTo>
                      <a:pt x="9273" y="1502"/>
                    </a:lnTo>
                    <a:lnTo>
                      <a:pt x="9277" y="1507"/>
                    </a:lnTo>
                    <a:lnTo>
                      <a:pt x="9280" y="1510"/>
                    </a:lnTo>
                    <a:lnTo>
                      <a:pt x="9289" y="1519"/>
                    </a:lnTo>
                    <a:lnTo>
                      <a:pt x="9298" y="1527"/>
                    </a:lnTo>
                    <a:lnTo>
                      <a:pt x="9320" y="1541"/>
                    </a:lnTo>
                    <a:lnTo>
                      <a:pt x="9338" y="1550"/>
                    </a:lnTo>
                    <a:lnTo>
                      <a:pt x="9346" y="1555"/>
                    </a:lnTo>
                    <a:lnTo>
                      <a:pt x="9354" y="1560"/>
                    </a:lnTo>
                    <a:lnTo>
                      <a:pt x="9357" y="1566"/>
                    </a:lnTo>
                    <a:lnTo>
                      <a:pt x="9361" y="1571"/>
                    </a:lnTo>
                    <a:lnTo>
                      <a:pt x="9366" y="1584"/>
                    </a:lnTo>
                    <a:lnTo>
                      <a:pt x="9369" y="1601"/>
                    </a:lnTo>
                    <a:lnTo>
                      <a:pt x="9372" y="1603"/>
                    </a:lnTo>
                    <a:lnTo>
                      <a:pt x="9374" y="1605"/>
                    </a:lnTo>
                    <a:lnTo>
                      <a:pt x="9378" y="1608"/>
                    </a:lnTo>
                    <a:lnTo>
                      <a:pt x="9381" y="1610"/>
                    </a:lnTo>
                    <a:lnTo>
                      <a:pt x="9392" y="1614"/>
                    </a:lnTo>
                    <a:lnTo>
                      <a:pt x="9404" y="1618"/>
                    </a:lnTo>
                    <a:lnTo>
                      <a:pt x="9418" y="1622"/>
                    </a:lnTo>
                    <a:lnTo>
                      <a:pt x="9430" y="1626"/>
                    </a:lnTo>
                    <a:lnTo>
                      <a:pt x="9442" y="1631"/>
                    </a:lnTo>
                    <a:lnTo>
                      <a:pt x="9450" y="1636"/>
                    </a:lnTo>
                    <a:lnTo>
                      <a:pt x="9463" y="1643"/>
                    </a:lnTo>
                    <a:lnTo>
                      <a:pt x="9474" y="1646"/>
                    </a:lnTo>
                    <a:lnTo>
                      <a:pt x="9485" y="1650"/>
                    </a:lnTo>
                    <a:lnTo>
                      <a:pt x="9495" y="1654"/>
                    </a:lnTo>
                    <a:lnTo>
                      <a:pt x="9498" y="1655"/>
                    </a:lnTo>
                    <a:lnTo>
                      <a:pt x="9503" y="1657"/>
                    </a:lnTo>
                    <a:lnTo>
                      <a:pt x="9507" y="1660"/>
                    </a:lnTo>
                    <a:lnTo>
                      <a:pt x="9510" y="1663"/>
                    </a:lnTo>
                    <a:lnTo>
                      <a:pt x="9513" y="1668"/>
                    </a:lnTo>
                    <a:lnTo>
                      <a:pt x="9516" y="1674"/>
                    </a:lnTo>
                    <a:lnTo>
                      <a:pt x="9519" y="1680"/>
                    </a:lnTo>
                    <a:lnTo>
                      <a:pt x="9521" y="1689"/>
                    </a:lnTo>
                    <a:lnTo>
                      <a:pt x="9533" y="1689"/>
                    </a:lnTo>
                    <a:lnTo>
                      <a:pt x="9545" y="1689"/>
                    </a:lnTo>
                    <a:lnTo>
                      <a:pt x="9557" y="1690"/>
                    </a:lnTo>
                    <a:lnTo>
                      <a:pt x="9568" y="1692"/>
                    </a:lnTo>
                    <a:lnTo>
                      <a:pt x="9579" y="1695"/>
                    </a:lnTo>
                    <a:lnTo>
                      <a:pt x="9588" y="1699"/>
                    </a:lnTo>
                    <a:lnTo>
                      <a:pt x="9599" y="1704"/>
                    </a:lnTo>
                    <a:lnTo>
                      <a:pt x="9610" y="1711"/>
                    </a:lnTo>
                    <a:lnTo>
                      <a:pt x="9616" y="1715"/>
                    </a:lnTo>
                    <a:lnTo>
                      <a:pt x="9623" y="1717"/>
                    </a:lnTo>
                    <a:lnTo>
                      <a:pt x="9633" y="1720"/>
                    </a:lnTo>
                    <a:lnTo>
                      <a:pt x="9644" y="1722"/>
                    </a:lnTo>
                    <a:lnTo>
                      <a:pt x="9669" y="1723"/>
                    </a:lnTo>
                    <a:lnTo>
                      <a:pt x="9698" y="1725"/>
                    </a:lnTo>
                    <a:lnTo>
                      <a:pt x="9726" y="1723"/>
                    </a:lnTo>
                    <a:lnTo>
                      <a:pt x="9751" y="1720"/>
                    </a:lnTo>
                    <a:lnTo>
                      <a:pt x="9763" y="1719"/>
                    </a:lnTo>
                    <a:lnTo>
                      <a:pt x="9773" y="1716"/>
                    </a:lnTo>
                    <a:lnTo>
                      <a:pt x="9781" y="1713"/>
                    </a:lnTo>
                    <a:lnTo>
                      <a:pt x="9787" y="1709"/>
                    </a:lnTo>
                    <a:lnTo>
                      <a:pt x="9795" y="1702"/>
                    </a:lnTo>
                    <a:lnTo>
                      <a:pt x="9803" y="1695"/>
                    </a:lnTo>
                    <a:lnTo>
                      <a:pt x="9809" y="1687"/>
                    </a:lnTo>
                    <a:lnTo>
                      <a:pt x="9812" y="1680"/>
                    </a:lnTo>
                    <a:lnTo>
                      <a:pt x="9818" y="1673"/>
                    </a:lnTo>
                    <a:lnTo>
                      <a:pt x="9823" y="1667"/>
                    </a:lnTo>
                    <a:lnTo>
                      <a:pt x="9832" y="1662"/>
                    </a:lnTo>
                    <a:lnTo>
                      <a:pt x="9841" y="1657"/>
                    </a:lnTo>
                    <a:lnTo>
                      <a:pt x="9864" y="1652"/>
                    </a:lnTo>
                    <a:lnTo>
                      <a:pt x="9889" y="1649"/>
                    </a:lnTo>
                    <a:lnTo>
                      <a:pt x="9916" y="1645"/>
                    </a:lnTo>
                    <a:lnTo>
                      <a:pt x="9939" y="1645"/>
                    </a:lnTo>
                    <a:lnTo>
                      <a:pt x="9965" y="1648"/>
                    </a:lnTo>
                    <a:lnTo>
                      <a:pt x="10001" y="1651"/>
                    </a:lnTo>
                    <a:lnTo>
                      <a:pt x="10018" y="1651"/>
                    </a:lnTo>
                    <a:lnTo>
                      <a:pt x="10032" y="1650"/>
                    </a:lnTo>
                    <a:lnTo>
                      <a:pt x="10039" y="1648"/>
                    </a:lnTo>
                    <a:lnTo>
                      <a:pt x="10042" y="1645"/>
                    </a:lnTo>
                    <a:lnTo>
                      <a:pt x="10045" y="1643"/>
                    </a:lnTo>
                    <a:lnTo>
                      <a:pt x="10046" y="1638"/>
                    </a:lnTo>
                    <a:lnTo>
                      <a:pt x="10046" y="1631"/>
                    </a:lnTo>
                    <a:lnTo>
                      <a:pt x="10047" y="1625"/>
                    </a:lnTo>
                    <a:lnTo>
                      <a:pt x="10049" y="1620"/>
                    </a:lnTo>
                    <a:lnTo>
                      <a:pt x="10052" y="1615"/>
                    </a:lnTo>
                    <a:lnTo>
                      <a:pt x="10054" y="1612"/>
                    </a:lnTo>
                    <a:lnTo>
                      <a:pt x="10058" y="1608"/>
                    </a:lnTo>
                    <a:lnTo>
                      <a:pt x="10061" y="1605"/>
                    </a:lnTo>
                    <a:lnTo>
                      <a:pt x="10065" y="1603"/>
                    </a:lnTo>
                    <a:lnTo>
                      <a:pt x="10075" y="1599"/>
                    </a:lnTo>
                    <a:lnTo>
                      <a:pt x="10087" y="1596"/>
                    </a:lnTo>
                    <a:lnTo>
                      <a:pt x="10099" y="1590"/>
                    </a:lnTo>
                    <a:lnTo>
                      <a:pt x="10112" y="1583"/>
                    </a:lnTo>
                    <a:lnTo>
                      <a:pt x="10118" y="1578"/>
                    </a:lnTo>
                    <a:lnTo>
                      <a:pt x="10124" y="1575"/>
                    </a:lnTo>
                    <a:lnTo>
                      <a:pt x="10129" y="1573"/>
                    </a:lnTo>
                    <a:lnTo>
                      <a:pt x="10132" y="1573"/>
                    </a:lnTo>
                    <a:lnTo>
                      <a:pt x="10136" y="1573"/>
                    </a:lnTo>
                    <a:lnTo>
                      <a:pt x="10140" y="1573"/>
                    </a:lnTo>
                    <a:lnTo>
                      <a:pt x="10143" y="1574"/>
                    </a:lnTo>
                    <a:lnTo>
                      <a:pt x="10146" y="1575"/>
                    </a:lnTo>
                    <a:lnTo>
                      <a:pt x="10152" y="1580"/>
                    </a:lnTo>
                    <a:lnTo>
                      <a:pt x="10158" y="1585"/>
                    </a:lnTo>
                    <a:lnTo>
                      <a:pt x="10165" y="1590"/>
                    </a:lnTo>
                    <a:lnTo>
                      <a:pt x="10175" y="1592"/>
                    </a:lnTo>
                    <a:lnTo>
                      <a:pt x="10181" y="1593"/>
                    </a:lnTo>
                    <a:lnTo>
                      <a:pt x="10188" y="1591"/>
                    </a:lnTo>
                    <a:lnTo>
                      <a:pt x="10196" y="1587"/>
                    </a:lnTo>
                    <a:lnTo>
                      <a:pt x="10205" y="1583"/>
                    </a:lnTo>
                    <a:lnTo>
                      <a:pt x="10213" y="1579"/>
                    </a:lnTo>
                    <a:lnTo>
                      <a:pt x="10223" y="1575"/>
                    </a:lnTo>
                    <a:lnTo>
                      <a:pt x="10227" y="1574"/>
                    </a:lnTo>
                    <a:lnTo>
                      <a:pt x="10233" y="1574"/>
                    </a:lnTo>
                    <a:lnTo>
                      <a:pt x="10238" y="1574"/>
                    </a:lnTo>
                    <a:lnTo>
                      <a:pt x="10243" y="1574"/>
                    </a:lnTo>
                    <a:lnTo>
                      <a:pt x="10254" y="1577"/>
                    </a:lnTo>
                    <a:lnTo>
                      <a:pt x="10265" y="1577"/>
                    </a:lnTo>
                    <a:lnTo>
                      <a:pt x="10274" y="1575"/>
                    </a:lnTo>
                    <a:lnTo>
                      <a:pt x="10284" y="1573"/>
                    </a:lnTo>
                    <a:lnTo>
                      <a:pt x="10302" y="1566"/>
                    </a:lnTo>
                    <a:lnTo>
                      <a:pt x="10319" y="1559"/>
                    </a:lnTo>
                    <a:lnTo>
                      <a:pt x="10327" y="1555"/>
                    </a:lnTo>
                    <a:lnTo>
                      <a:pt x="10335" y="1551"/>
                    </a:lnTo>
                    <a:lnTo>
                      <a:pt x="10343" y="1550"/>
                    </a:lnTo>
                    <a:lnTo>
                      <a:pt x="10350" y="1549"/>
                    </a:lnTo>
                    <a:lnTo>
                      <a:pt x="10359" y="1550"/>
                    </a:lnTo>
                    <a:lnTo>
                      <a:pt x="10367" y="1553"/>
                    </a:lnTo>
                    <a:lnTo>
                      <a:pt x="10374" y="1557"/>
                    </a:lnTo>
                    <a:lnTo>
                      <a:pt x="10383" y="1565"/>
                    </a:lnTo>
                    <a:lnTo>
                      <a:pt x="10388" y="1568"/>
                    </a:lnTo>
                    <a:lnTo>
                      <a:pt x="10394" y="1572"/>
                    </a:lnTo>
                    <a:lnTo>
                      <a:pt x="10401" y="1575"/>
                    </a:lnTo>
                    <a:lnTo>
                      <a:pt x="10407" y="1577"/>
                    </a:lnTo>
                    <a:lnTo>
                      <a:pt x="10421" y="1581"/>
                    </a:lnTo>
                    <a:lnTo>
                      <a:pt x="10434" y="1584"/>
                    </a:lnTo>
                    <a:lnTo>
                      <a:pt x="10442" y="1586"/>
                    </a:lnTo>
                    <a:lnTo>
                      <a:pt x="10446" y="1590"/>
                    </a:lnTo>
                    <a:lnTo>
                      <a:pt x="10451" y="1592"/>
                    </a:lnTo>
                    <a:lnTo>
                      <a:pt x="10454" y="1595"/>
                    </a:lnTo>
                    <a:lnTo>
                      <a:pt x="10457" y="1601"/>
                    </a:lnTo>
                    <a:lnTo>
                      <a:pt x="10460" y="1604"/>
                    </a:lnTo>
                    <a:lnTo>
                      <a:pt x="10462" y="1607"/>
                    </a:lnTo>
                    <a:lnTo>
                      <a:pt x="10463" y="1608"/>
                    </a:lnTo>
                    <a:lnTo>
                      <a:pt x="10467" y="1609"/>
                    </a:lnTo>
                    <a:lnTo>
                      <a:pt x="10471" y="1609"/>
                    </a:lnTo>
                    <a:lnTo>
                      <a:pt x="10483" y="1609"/>
                    </a:lnTo>
                    <a:lnTo>
                      <a:pt x="10502" y="1605"/>
                    </a:lnTo>
                    <a:lnTo>
                      <a:pt x="10507" y="1605"/>
                    </a:lnTo>
                    <a:lnTo>
                      <a:pt x="10513" y="1607"/>
                    </a:lnTo>
                    <a:lnTo>
                      <a:pt x="10520" y="1610"/>
                    </a:lnTo>
                    <a:lnTo>
                      <a:pt x="10527" y="1614"/>
                    </a:lnTo>
                    <a:lnTo>
                      <a:pt x="10544" y="1625"/>
                    </a:lnTo>
                    <a:lnTo>
                      <a:pt x="10561" y="1639"/>
                    </a:lnTo>
                    <a:lnTo>
                      <a:pt x="10578" y="1654"/>
                    </a:lnTo>
                    <a:lnTo>
                      <a:pt x="10592" y="1668"/>
                    </a:lnTo>
                    <a:lnTo>
                      <a:pt x="10603" y="1681"/>
                    </a:lnTo>
                    <a:lnTo>
                      <a:pt x="10609" y="1691"/>
                    </a:lnTo>
                    <a:lnTo>
                      <a:pt x="10611" y="1698"/>
                    </a:lnTo>
                    <a:lnTo>
                      <a:pt x="10611" y="1705"/>
                    </a:lnTo>
                    <a:lnTo>
                      <a:pt x="10610" y="1713"/>
                    </a:lnTo>
                    <a:lnTo>
                      <a:pt x="10610" y="1721"/>
                    </a:lnTo>
                    <a:lnTo>
                      <a:pt x="10610" y="1727"/>
                    </a:lnTo>
                    <a:lnTo>
                      <a:pt x="10611" y="1733"/>
                    </a:lnTo>
                    <a:lnTo>
                      <a:pt x="10614" y="1735"/>
                    </a:lnTo>
                    <a:lnTo>
                      <a:pt x="10616" y="1738"/>
                    </a:lnTo>
                    <a:lnTo>
                      <a:pt x="10620" y="1739"/>
                    </a:lnTo>
                    <a:lnTo>
                      <a:pt x="10623" y="1739"/>
                    </a:lnTo>
                    <a:lnTo>
                      <a:pt x="10638" y="1740"/>
                    </a:lnTo>
                    <a:lnTo>
                      <a:pt x="10655" y="1741"/>
                    </a:lnTo>
                    <a:lnTo>
                      <a:pt x="10662" y="1744"/>
                    </a:lnTo>
                    <a:lnTo>
                      <a:pt x="10669" y="1747"/>
                    </a:lnTo>
                    <a:lnTo>
                      <a:pt x="10672" y="1749"/>
                    </a:lnTo>
                    <a:lnTo>
                      <a:pt x="10674" y="1752"/>
                    </a:lnTo>
                    <a:lnTo>
                      <a:pt x="10675" y="1755"/>
                    </a:lnTo>
                    <a:lnTo>
                      <a:pt x="10676" y="1758"/>
                    </a:lnTo>
                    <a:lnTo>
                      <a:pt x="10761" y="1853"/>
                    </a:lnTo>
                    <a:lnTo>
                      <a:pt x="10783" y="1874"/>
                    </a:lnTo>
                    <a:lnTo>
                      <a:pt x="10809" y="1896"/>
                    </a:lnTo>
                    <a:lnTo>
                      <a:pt x="10823" y="1905"/>
                    </a:lnTo>
                    <a:lnTo>
                      <a:pt x="10836" y="1914"/>
                    </a:lnTo>
                    <a:lnTo>
                      <a:pt x="10851" y="1921"/>
                    </a:lnTo>
                    <a:lnTo>
                      <a:pt x="10867" y="1924"/>
                    </a:lnTo>
                    <a:lnTo>
                      <a:pt x="10892" y="1928"/>
                    </a:lnTo>
                    <a:lnTo>
                      <a:pt x="10918" y="1930"/>
                    </a:lnTo>
                    <a:lnTo>
                      <a:pt x="10933" y="1932"/>
                    </a:lnTo>
                    <a:lnTo>
                      <a:pt x="10946" y="1934"/>
                    </a:lnTo>
                    <a:lnTo>
                      <a:pt x="10958" y="1938"/>
                    </a:lnTo>
                    <a:lnTo>
                      <a:pt x="10969" y="1942"/>
                    </a:lnTo>
                    <a:lnTo>
                      <a:pt x="10983" y="1951"/>
                    </a:lnTo>
                    <a:lnTo>
                      <a:pt x="10998" y="1960"/>
                    </a:lnTo>
                    <a:lnTo>
                      <a:pt x="11012" y="1971"/>
                    </a:lnTo>
                    <a:lnTo>
                      <a:pt x="11025" y="1983"/>
                    </a:lnTo>
                    <a:lnTo>
                      <a:pt x="11051" y="2009"/>
                    </a:lnTo>
                    <a:lnTo>
                      <a:pt x="11075" y="2034"/>
                    </a:lnTo>
                    <a:lnTo>
                      <a:pt x="11093" y="2059"/>
                    </a:lnTo>
                    <a:lnTo>
                      <a:pt x="11111" y="2089"/>
                    </a:lnTo>
                    <a:lnTo>
                      <a:pt x="11116" y="2096"/>
                    </a:lnTo>
                    <a:lnTo>
                      <a:pt x="11122" y="2103"/>
                    </a:lnTo>
                    <a:lnTo>
                      <a:pt x="11126" y="2109"/>
                    </a:lnTo>
                    <a:lnTo>
                      <a:pt x="11132" y="2115"/>
                    </a:lnTo>
                    <a:lnTo>
                      <a:pt x="11139" y="2118"/>
                    </a:lnTo>
                    <a:lnTo>
                      <a:pt x="11146" y="2122"/>
                    </a:lnTo>
                    <a:lnTo>
                      <a:pt x="11153" y="2124"/>
                    </a:lnTo>
                    <a:lnTo>
                      <a:pt x="11160" y="2124"/>
                    </a:lnTo>
                    <a:lnTo>
                      <a:pt x="11166" y="2113"/>
                    </a:lnTo>
                    <a:lnTo>
                      <a:pt x="11171" y="2095"/>
                    </a:lnTo>
                    <a:lnTo>
                      <a:pt x="11175" y="2077"/>
                    </a:lnTo>
                    <a:lnTo>
                      <a:pt x="11177" y="2064"/>
                    </a:lnTo>
                    <a:lnTo>
                      <a:pt x="11181" y="2064"/>
                    </a:lnTo>
                    <a:lnTo>
                      <a:pt x="11187" y="2064"/>
                    </a:lnTo>
                    <a:lnTo>
                      <a:pt x="11195" y="2066"/>
                    </a:lnTo>
                    <a:lnTo>
                      <a:pt x="11205" y="2070"/>
                    </a:lnTo>
                    <a:lnTo>
                      <a:pt x="11228" y="2078"/>
                    </a:lnTo>
                    <a:lnTo>
                      <a:pt x="11254" y="2089"/>
                    </a:lnTo>
                    <a:lnTo>
                      <a:pt x="11305" y="2111"/>
                    </a:lnTo>
                    <a:lnTo>
                      <a:pt x="11337" y="2125"/>
                    </a:lnTo>
                    <a:lnTo>
                      <a:pt x="11365" y="2137"/>
                    </a:lnTo>
                    <a:lnTo>
                      <a:pt x="11390" y="2147"/>
                    </a:lnTo>
                    <a:lnTo>
                      <a:pt x="11415" y="2154"/>
                    </a:lnTo>
                    <a:lnTo>
                      <a:pt x="11439" y="2161"/>
                    </a:lnTo>
                    <a:lnTo>
                      <a:pt x="11463" y="2166"/>
                    </a:lnTo>
                    <a:lnTo>
                      <a:pt x="11490" y="2170"/>
                    </a:lnTo>
                    <a:lnTo>
                      <a:pt x="11518" y="2172"/>
                    </a:lnTo>
                    <a:lnTo>
                      <a:pt x="11548" y="2174"/>
                    </a:lnTo>
                    <a:lnTo>
                      <a:pt x="11571" y="2171"/>
                    </a:lnTo>
                    <a:lnTo>
                      <a:pt x="11593" y="2167"/>
                    </a:lnTo>
                    <a:lnTo>
                      <a:pt x="11615" y="2163"/>
                    </a:lnTo>
                    <a:lnTo>
                      <a:pt x="11637" y="2158"/>
                    </a:lnTo>
                    <a:lnTo>
                      <a:pt x="11681" y="2146"/>
                    </a:lnTo>
                    <a:lnTo>
                      <a:pt x="11726" y="2135"/>
                    </a:lnTo>
                    <a:lnTo>
                      <a:pt x="11729" y="2135"/>
                    </a:lnTo>
                    <a:lnTo>
                      <a:pt x="11734" y="2136"/>
                    </a:lnTo>
                    <a:lnTo>
                      <a:pt x="11740" y="2137"/>
                    </a:lnTo>
                    <a:lnTo>
                      <a:pt x="11746" y="2140"/>
                    </a:lnTo>
                    <a:lnTo>
                      <a:pt x="11760" y="2147"/>
                    </a:lnTo>
                    <a:lnTo>
                      <a:pt x="11775" y="2155"/>
                    </a:lnTo>
                    <a:lnTo>
                      <a:pt x="11803" y="2175"/>
                    </a:lnTo>
                    <a:lnTo>
                      <a:pt x="11822" y="2188"/>
                    </a:lnTo>
                    <a:lnTo>
                      <a:pt x="11834" y="2195"/>
                    </a:lnTo>
                    <a:lnTo>
                      <a:pt x="11845" y="2202"/>
                    </a:lnTo>
                    <a:lnTo>
                      <a:pt x="11856" y="2207"/>
                    </a:lnTo>
                    <a:lnTo>
                      <a:pt x="11867" y="2212"/>
                    </a:lnTo>
                    <a:lnTo>
                      <a:pt x="11889" y="2219"/>
                    </a:lnTo>
                    <a:lnTo>
                      <a:pt x="11912" y="2226"/>
                    </a:lnTo>
                    <a:lnTo>
                      <a:pt x="11935" y="2232"/>
                    </a:lnTo>
                    <a:lnTo>
                      <a:pt x="11958" y="2241"/>
                    </a:lnTo>
                    <a:lnTo>
                      <a:pt x="11969" y="2246"/>
                    </a:lnTo>
                    <a:lnTo>
                      <a:pt x="11981" y="2251"/>
                    </a:lnTo>
                    <a:lnTo>
                      <a:pt x="11992" y="2258"/>
                    </a:lnTo>
                    <a:lnTo>
                      <a:pt x="12003" y="2265"/>
                    </a:lnTo>
                    <a:lnTo>
                      <a:pt x="12019" y="2276"/>
                    </a:lnTo>
                    <a:lnTo>
                      <a:pt x="12036" y="2285"/>
                    </a:lnTo>
                    <a:lnTo>
                      <a:pt x="12053" y="2294"/>
                    </a:lnTo>
                    <a:lnTo>
                      <a:pt x="12071" y="2302"/>
                    </a:lnTo>
                    <a:lnTo>
                      <a:pt x="12076" y="2306"/>
                    </a:lnTo>
                    <a:lnTo>
                      <a:pt x="12080" y="2308"/>
                    </a:lnTo>
                    <a:lnTo>
                      <a:pt x="12083" y="2312"/>
                    </a:lnTo>
                    <a:lnTo>
                      <a:pt x="12087" y="2317"/>
                    </a:lnTo>
                    <a:lnTo>
                      <a:pt x="12092" y="2325"/>
                    </a:lnTo>
                    <a:lnTo>
                      <a:pt x="12096" y="2334"/>
                    </a:lnTo>
                    <a:lnTo>
                      <a:pt x="12100" y="2343"/>
                    </a:lnTo>
                    <a:lnTo>
                      <a:pt x="12105" y="2353"/>
                    </a:lnTo>
                    <a:lnTo>
                      <a:pt x="12110" y="2360"/>
                    </a:lnTo>
                    <a:lnTo>
                      <a:pt x="12117" y="2366"/>
                    </a:lnTo>
                    <a:lnTo>
                      <a:pt x="12118" y="2371"/>
                    </a:lnTo>
                    <a:lnTo>
                      <a:pt x="12122" y="2377"/>
                    </a:lnTo>
                    <a:lnTo>
                      <a:pt x="12125" y="2382"/>
                    </a:lnTo>
                    <a:lnTo>
                      <a:pt x="12131" y="2387"/>
                    </a:lnTo>
                    <a:lnTo>
                      <a:pt x="12143" y="2397"/>
                    </a:lnTo>
                    <a:lnTo>
                      <a:pt x="12158" y="2408"/>
                    </a:lnTo>
                    <a:lnTo>
                      <a:pt x="12172" y="2419"/>
                    </a:lnTo>
                    <a:lnTo>
                      <a:pt x="12187" y="2430"/>
                    </a:lnTo>
                    <a:lnTo>
                      <a:pt x="12199" y="2439"/>
                    </a:lnTo>
                    <a:lnTo>
                      <a:pt x="12208" y="2449"/>
                    </a:lnTo>
                    <a:lnTo>
                      <a:pt x="12226" y="2478"/>
                    </a:lnTo>
                    <a:lnTo>
                      <a:pt x="12247" y="2510"/>
                    </a:lnTo>
                    <a:lnTo>
                      <a:pt x="12257" y="2527"/>
                    </a:lnTo>
                    <a:lnTo>
                      <a:pt x="12267" y="2543"/>
                    </a:lnTo>
                    <a:lnTo>
                      <a:pt x="12273" y="2549"/>
                    </a:lnTo>
                    <a:lnTo>
                      <a:pt x="12279" y="2556"/>
                    </a:lnTo>
                    <a:lnTo>
                      <a:pt x="12285" y="2561"/>
                    </a:lnTo>
                    <a:lnTo>
                      <a:pt x="12291" y="2566"/>
                    </a:lnTo>
                    <a:lnTo>
                      <a:pt x="12302" y="2575"/>
                    </a:lnTo>
                    <a:lnTo>
                      <a:pt x="12311" y="2586"/>
                    </a:lnTo>
                    <a:lnTo>
                      <a:pt x="12317" y="2591"/>
                    </a:lnTo>
                    <a:lnTo>
                      <a:pt x="12322" y="2595"/>
                    </a:lnTo>
                    <a:lnTo>
                      <a:pt x="12328" y="2597"/>
                    </a:lnTo>
                    <a:lnTo>
                      <a:pt x="12335" y="2598"/>
                    </a:lnTo>
                    <a:lnTo>
                      <a:pt x="12340" y="2597"/>
                    </a:lnTo>
                    <a:lnTo>
                      <a:pt x="12343" y="2596"/>
                    </a:lnTo>
                    <a:lnTo>
                      <a:pt x="12347" y="2594"/>
                    </a:lnTo>
                    <a:lnTo>
                      <a:pt x="12350" y="2590"/>
                    </a:lnTo>
                    <a:lnTo>
                      <a:pt x="12355" y="2581"/>
                    </a:lnTo>
                    <a:lnTo>
                      <a:pt x="12360" y="2572"/>
                    </a:lnTo>
                    <a:lnTo>
                      <a:pt x="12364" y="2563"/>
                    </a:lnTo>
                    <a:lnTo>
                      <a:pt x="12368" y="2555"/>
                    </a:lnTo>
                    <a:lnTo>
                      <a:pt x="12370" y="2551"/>
                    </a:lnTo>
                    <a:lnTo>
                      <a:pt x="12372" y="2549"/>
                    </a:lnTo>
                    <a:lnTo>
                      <a:pt x="12375" y="2548"/>
                    </a:lnTo>
                    <a:lnTo>
                      <a:pt x="12377" y="2547"/>
                    </a:lnTo>
                    <a:lnTo>
                      <a:pt x="12382" y="2555"/>
                    </a:lnTo>
                    <a:lnTo>
                      <a:pt x="12385" y="2563"/>
                    </a:lnTo>
                    <a:lnTo>
                      <a:pt x="12388" y="2572"/>
                    </a:lnTo>
                    <a:lnTo>
                      <a:pt x="12390" y="2583"/>
                    </a:lnTo>
                    <a:lnTo>
                      <a:pt x="12394" y="2592"/>
                    </a:lnTo>
                    <a:lnTo>
                      <a:pt x="12397" y="2602"/>
                    </a:lnTo>
                    <a:lnTo>
                      <a:pt x="12401" y="2610"/>
                    </a:lnTo>
                    <a:lnTo>
                      <a:pt x="12407" y="2618"/>
                    </a:lnTo>
                    <a:lnTo>
                      <a:pt x="12423" y="2636"/>
                    </a:lnTo>
                    <a:lnTo>
                      <a:pt x="12439" y="2654"/>
                    </a:lnTo>
                    <a:lnTo>
                      <a:pt x="12456" y="2672"/>
                    </a:lnTo>
                    <a:lnTo>
                      <a:pt x="12476" y="2689"/>
                    </a:lnTo>
                    <a:lnTo>
                      <a:pt x="12514" y="2723"/>
                    </a:lnTo>
                    <a:lnTo>
                      <a:pt x="12555" y="2756"/>
                    </a:lnTo>
                    <a:lnTo>
                      <a:pt x="12596" y="2788"/>
                    </a:lnTo>
                    <a:lnTo>
                      <a:pt x="12639" y="2819"/>
                    </a:lnTo>
                    <a:lnTo>
                      <a:pt x="12680" y="2846"/>
                    </a:lnTo>
                    <a:lnTo>
                      <a:pt x="12721" y="2873"/>
                    </a:lnTo>
                    <a:lnTo>
                      <a:pt x="12760" y="2898"/>
                    </a:lnTo>
                    <a:lnTo>
                      <a:pt x="12798" y="2923"/>
                    </a:lnTo>
                    <a:lnTo>
                      <a:pt x="12819" y="2933"/>
                    </a:lnTo>
                    <a:lnTo>
                      <a:pt x="12840" y="2941"/>
                    </a:lnTo>
                    <a:lnTo>
                      <a:pt x="12851" y="2945"/>
                    </a:lnTo>
                    <a:lnTo>
                      <a:pt x="12862" y="2947"/>
                    </a:lnTo>
                    <a:lnTo>
                      <a:pt x="12873" y="2949"/>
                    </a:lnTo>
                    <a:lnTo>
                      <a:pt x="12885" y="2950"/>
                    </a:lnTo>
                    <a:lnTo>
                      <a:pt x="12902" y="2947"/>
                    </a:lnTo>
                    <a:lnTo>
                      <a:pt x="12917" y="2945"/>
                    </a:lnTo>
                    <a:lnTo>
                      <a:pt x="12925" y="2945"/>
                    </a:lnTo>
                    <a:lnTo>
                      <a:pt x="12933" y="2946"/>
                    </a:lnTo>
                    <a:lnTo>
                      <a:pt x="12935" y="2947"/>
                    </a:lnTo>
                    <a:lnTo>
                      <a:pt x="12939" y="2950"/>
                    </a:lnTo>
                    <a:lnTo>
                      <a:pt x="12941" y="2952"/>
                    </a:lnTo>
                    <a:lnTo>
                      <a:pt x="12945" y="2956"/>
                    </a:lnTo>
                    <a:lnTo>
                      <a:pt x="12957" y="2973"/>
                    </a:lnTo>
                    <a:lnTo>
                      <a:pt x="12970" y="2989"/>
                    </a:lnTo>
                    <a:lnTo>
                      <a:pt x="12977" y="2997"/>
                    </a:lnTo>
                    <a:lnTo>
                      <a:pt x="12985" y="3004"/>
                    </a:lnTo>
                    <a:lnTo>
                      <a:pt x="12993" y="3010"/>
                    </a:lnTo>
                    <a:lnTo>
                      <a:pt x="13002" y="3015"/>
                    </a:lnTo>
                    <a:lnTo>
                      <a:pt x="13009" y="3015"/>
                    </a:lnTo>
                    <a:lnTo>
                      <a:pt x="13015" y="3016"/>
                    </a:lnTo>
                    <a:lnTo>
                      <a:pt x="13022" y="3018"/>
                    </a:lnTo>
                    <a:lnTo>
                      <a:pt x="13029" y="3021"/>
                    </a:lnTo>
                    <a:lnTo>
                      <a:pt x="13042" y="3026"/>
                    </a:lnTo>
                    <a:lnTo>
                      <a:pt x="13054" y="3032"/>
                    </a:lnTo>
                    <a:lnTo>
                      <a:pt x="13067" y="3036"/>
                    </a:lnTo>
                    <a:lnTo>
                      <a:pt x="13079" y="3038"/>
                    </a:lnTo>
                    <a:lnTo>
                      <a:pt x="13085" y="3038"/>
                    </a:lnTo>
                    <a:lnTo>
                      <a:pt x="13089" y="3035"/>
                    </a:lnTo>
                    <a:lnTo>
                      <a:pt x="13094" y="3033"/>
                    </a:lnTo>
                    <a:lnTo>
                      <a:pt x="13099" y="3028"/>
                    </a:lnTo>
                    <a:lnTo>
                      <a:pt x="13104" y="3023"/>
                    </a:lnTo>
                    <a:lnTo>
                      <a:pt x="13112" y="3017"/>
                    </a:lnTo>
                    <a:lnTo>
                      <a:pt x="13123" y="3011"/>
                    </a:lnTo>
                    <a:lnTo>
                      <a:pt x="13136" y="3004"/>
                    </a:lnTo>
                    <a:lnTo>
                      <a:pt x="13148" y="2998"/>
                    </a:lnTo>
                    <a:lnTo>
                      <a:pt x="13160" y="2993"/>
                    </a:lnTo>
                    <a:lnTo>
                      <a:pt x="13170" y="2989"/>
                    </a:lnTo>
                    <a:lnTo>
                      <a:pt x="13177" y="2988"/>
                    </a:lnTo>
                    <a:lnTo>
                      <a:pt x="13187" y="2989"/>
                    </a:lnTo>
                    <a:lnTo>
                      <a:pt x="13196" y="2992"/>
                    </a:lnTo>
                    <a:lnTo>
                      <a:pt x="13206" y="2995"/>
                    </a:lnTo>
                    <a:lnTo>
                      <a:pt x="13216" y="3000"/>
                    </a:lnTo>
                    <a:lnTo>
                      <a:pt x="13235" y="3009"/>
                    </a:lnTo>
                    <a:lnTo>
                      <a:pt x="13253" y="3016"/>
                    </a:lnTo>
                    <a:lnTo>
                      <a:pt x="13292" y="3024"/>
                    </a:lnTo>
                    <a:lnTo>
                      <a:pt x="13328" y="3032"/>
                    </a:lnTo>
                    <a:lnTo>
                      <a:pt x="13346" y="3035"/>
                    </a:lnTo>
                    <a:lnTo>
                      <a:pt x="13364" y="3040"/>
                    </a:lnTo>
                    <a:lnTo>
                      <a:pt x="13382" y="3046"/>
                    </a:lnTo>
                    <a:lnTo>
                      <a:pt x="13401" y="3054"/>
                    </a:lnTo>
                    <a:lnTo>
                      <a:pt x="13413" y="3060"/>
                    </a:lnTo>
                    <a:lnTo>
                      <a:pt x="13424" y="3068"/>
                    </a:lnTo>
                    <a:lnTo>
                      <a:pt x="13434" y="3074"/>
                    </a:lnTo>
                    <a:lnTo>
                      <a:pt x="13442" y="3081"/>
                    </a:lnTo>
                    <a:lnTo>
                      <a:pt x="13459" y="3098"/>
                    </a:lnTo>
                    <a:lnTo>
                      <a:pt x="13476" y="3118"/>
                    </a:lnTo>
                    <a:lnTo>
                      <a:pt x="13484" y="3125"/>
                    </a:lnTo>
                    <a:lnTo>
                      <a:pt x="13493" y="3133"/>
                    </a:lnTo>
                    <a:lnTo>
                      <a:pt x="13501" y="3139"/>
                    </a:lnTo>
                    <a:lnTo>
                      <a:pt x="13509" y="3145"/>
                    </a:lnTo>
                    <a:lnTo>
                      <a:pt x="13529" y="3156"/>
                    </a:lnTo>
                    <a:lnTo>
                      <a:pt x="13548" y="3166"/>
                    </a:lnTo>
                    <a:lnTo>
                      <a:pt x="13558" y="3176"/>
                    </a:lnTo>
                    <a:lnTo>
                      <a:pt x="13567" y="3186"/>
                    </a:lnTo>
                    <a:lnTo>
                      <a:pt x="13574" y="3195"/>
                    </a:lnTo>
                    <a:lnTo>
                      <a:pt x="13583" y="3206"/>
                    </a:lnTo>
                    <a:lnTo>
                      <a:pt x="13590" y="3216"/>
                    </a:lnTo>
                    <a:lnTo>
                      <a:pt x="13600" y="3225"/>
                    </a:lnTo>
                    <a:lnTo>
                      <a:pt x="13604" y="3229"/>
                    </a:lnTo>
                    <a:lnTo>
                      <a:pt x="13610" y="3233"/>
                    </a:lnTo>
                    <a:lnTo>
                      <a:pt x="13617" y="3235"/>
                    </a:lnTo>
                    <a:lnTo>
                      <a:pt x="13623" y="3237"/>
                    </a:lnTo>
                    <a:lnTo>
                      <a:pt x="13645" y="3246"/>
                    </a:lnTo>
                    <a:lnTo>
                      <a:pt x="13674" y="3258"/>
                    </a:lnTo>
                    <a:lnTo>
                      <a:pt x="13690" y="3263"/>
                    </a:lnTo>
                    <a:lnTo>
                      <a:pt x="13703" y="3267"/>
                    </a:lnTo>
                    <a:lnTo>
                      <a:pt x="13715" y="3271"/>
                    </a:lnTo>
                    <a:lnTo>
                      <a:pt x="13724" y="3272"/>
                    </a:lnTo>
                    <a:lnTo>
                      <a:pt x="13719" y="3261"/>
                    </a:lnTo>
                    <a:lnTo>
                      <a:pt x="13707" y="3246"/>
                    </a:lnTo>
                    <a:lnTo>
                      <a:pt x="13691" y="3227"/>
                    </a:lnTo>
                    <a:lnTo>
                      <a:pt x="13673" y="3205"/>
                    </a:lnTo>
                    <a:lnTo>
                      <a:pt x="13636" y="3163"/>
                    </a:lnTo>
                    <a:lnTo>
                      <a:pt x="13612" y="3137"/>
                    </a:lnTo>
                    <a:lnTo>
                      <a:pt x="13603" y="3124"/>
                    </a:lnTo>
                    <a:lnTo>
                      <a:pt x="13594" y="3104"/>
                    </a:lnTo>
                    <a:lnTo>
                      <a:pt x="13589" y="3092"/>
                    </a:lnTo>
                    <a:lnTo>
                      <a:pt x="13585" y="3082"/>
                    </a:lnTo>
                    <a:lnTo>
                      <a:pt x="13583" y="3074"/>
                    </a:lnTo>
                    <a:lnTo>
                      <a:pt x="13584" y="3068"/>
                    </a:lnTo>
                    <a:lnTo>
                      <a:pt x="13584" y="3064"/>
                    </a:lnTo>
                    <a:lnTo>
                      <a:pt x="13584" y="3062"/>
                    </a:lnTo>
                    <a:lnTo>
                      <a:pt x="13582" y="3059"/>
                    </a:lnTo>
                    <a:lnTo>
                      <a:pt x="13579" y="3056"/>
                    </a:lnTo>
                    <a:lnTo>
                      <a:pt x="13571" y="3051"/>
                    </a:lnTo>
                    <a:lnTo>
                      <a:pt x="13561" y="3046"/>
                    </a:lnTo>
                    <a:lnTo>
                      <a:pt x="13550" y="3040"/>
                    </a:lnTo>
                    <a:lnTo>
                      <a:pt x="13541" y="3033"/>
                    </a:lnTo>
                    <a:lnTo>
                      <a:pt x="13537" y="3029"/>
                    </a:lnTo>
                    <a:lnTo>
                      <a:pt x="13533" y="3024"/>
                    </a:lnTo>
                    <a:lnTo>
                      <a:pt x="13532" y="3018"/>
                    </a:lnTo>
                    <a:lnTo>
                      <a:pt x="13531" y="3012"/>
                    </a:lnTo>
                    <a:lnTo>
                      <a:pt x="13547" y="3007"/>
                    </a:lnTo>
                    <a:lnTo>
                      <a:pt x="13560" y="2999"/>
                    </a:lnTo>
                    <a:lnTo>
                      <a:pt x="13567" y="2995"/>
                    </a:lnTo>
                    <a:lnTo>
                      <a:pt x="13573" y="2992"/>
                    </a:lnTo>
                    <a:lnTo>
                      <a:pt x="13580" y="2988"/>
                    </a:lnTo>
                    <a:lnTo>
                      <a:pt x="13589" y="2986"/>
                    </a:lnTo>
                    <a:lnTo>
                      <a:pt x="13590" y="2983"/>
                    </a:lnTo>
                    <a:lnTo>
                      <a:pt x="13592" y="2980"/>
                    </a:lnTo>
                    <a:lnTo>
                      <a:pt x="13596" y="2980"/>
                    </a:lnTo>
                    <a:lnTo>
                      <a:pt x="13598" y="2979"/>
                    </a:lnTo>
                    <a:lnTo>
                      <a:pt x="13595" y="2959"/>
                    </a:lnTo>
                    <a:lnTo>
                      <a:pt x="13592" y="2940"/>
                    </a:lnTo>
                    <a:lnTo>
                      <a:pt x="13591" y="2921"/>
                    </a:lnTo>
                    <a:lnTo>
                      <a:pt x="13591" y="2900"/>
                    </a:lnTo>
                    <a:lnTo>
                      <a:pt x="13588" y="2903"/>
                    </a:lnTo>
                    <a:lnTo>
                      <a:pt x="13584" y="2906"/>
                    </a:lnTo>
                    <a:lnTo>
                      <a:pt x="13582" y="2911"/>
                    </a:lnTo>
                    <a:lnTo>
                      <a:pt x="13579" y="2918"/>
                    </a:lnTo>
                    <a:lnTo>
                      <a:pt x="13573" y="2934"/>
                    </a:lnTo>
                    <a:lnTo>
                      <a:pt x="13567" y="2950"/>
                    </a:lnTo>
                    <a:lnTo>
                      <a:pt x="13564" y="2958"/>
                    </a:lnTo>
                    <a:lnTo>
                      <a:pt x="13560" y="2964"/>
                    </a:lnTo>
                    <a:lnTo>
                      <a:pt x="13556" y="2969"/>
                    </a:lnTo>
                    <a:lnTo>
                      <a:pt x="13552" y="2974"/>
                    </a:lnTo>
                    <a:lnTo>
                      <a:pt x="13546" y="2975"/>
                    </a:lnTo>
                    <a:lnTo>
                      <a:pt x="13541" y="2975"/>
                    </a:lnTo>
                    <a:lnTo>
                      <a:pt x="13533" y="2971"/>
                    </a:lnTo>
                    <a:lnTo>
                      <a:pt x="13526" y="2965"/>
                    </a:lnTo>
                    <a:lnTo>
                      <a:pt x="13517" y="2958"/>
                    </a:lnTo>
                    <a:lnTo>
                      <a:pt x="13506" y="2952"/>
                    </a:lnTo>
                    <a:lnTo>
                      <a:pt x="13495" y="2947"/>
                    </a:lnTo>
                    <a:lnTo>
                      <a:pt x="13485" y="2942"/>
                    </a:lnTo>
                    <a:lnTo>
                      <a:pt x="13479" y="2939"/>
                    </a:lnTo>
                    <a:lnTo>
                      <a:pt x="13476" y="2935"/>
                    </a:lnTo>
                    <a:lnTo>
                      <a:pt x="13471" y="2932"/>
                    </a:lnTo>
                    <a:lnTo>
                      <a:pt x="13467" y="2926"/>
                    </a:lnTo>
                    <a:lnTo>
                      <a:pt x="13465" y="2920"/>
                    </a:lnTo>
                    <a:lnTo>
                      <a:pt x="13462" y="2912"/>
                    </a:lnTo>
                    <a:lnTo>
                      <a:pt x="13461" y="2903"/>
                    </a:lnTo>
                    <a:lnTo>
                      <a:pt x="13460" y="2893"/>
                    </a:lnTo>
                    <a:lnTo>
                      <a:pt x="13468" y="2892"/>
                    </a:lnTo>
                    <a:lnTo>
                      <a:pt x="13476" y="2891"/>
                    </a:lnTo>
                    <a:lnTo>
                      <a:pt x="13483" y="2890"/>
                    </a:lnTo>
                    <a:lnTo>
                      <a:pt x="13489" y="2887"/>
                    </a:lnTo>
                    <a:lnTo>
                      <a:pt x="13501" y="2881"/>
                    </a:lnTo>
                    <a:lnTo>
                      <a:pt x="13512" y="2874"/>
                    </a:lnTo>
                    <a:lnTo>
                      <a:pt x="13523" y="2867"/>
                    </a:lnTo>
                    <a:lnTo>
                      <a:pt x="13533" y="2861"/>
                    </a:lnTo>
                    <a:lnTo>
                      <a:pt x="13538" y="2859"/>
                    </a:lnTo>
                    <a:lnTo>
                      <a:pt x="13546" y="2857"/>
                    </a:lnTo>
                    <a:lnTo>
                      <a:pt x="13552" y="2857"/>
                    </a:lnTo>
                    <a:lnTo>
                      <a:pt x="13559" y="2857"/>
                    </a:lnTo>
                    <a:lnTo>
                      <a:pt x="13565" y="2858"/>
                    </a:lnTo>
                    <a:lnTo>
                      <a:pt x="13571" y="2859"/>
                    </a:lnTo>
                    <a:lnTo>
                      <a:pt x="13576" y="2863"/>
                    </a:lnTo>
                    <a:lnTo>
                      <a:pt x="13580" y="2865"/>
                    </a:lnTo>
                    <a:lnTo>
                      <a:pt x="13591" y="2873"/>
                    </a:lnTo>
                    <a:lnTo>
                      <a:pt x="13601" y="2880"/>
                    </a:lnTo>
                    <a:lnTo>
                      <a:pt x="13601" y="2879"/>
                    </a:lnTo>
                    <a:lnTo>
                      <a:pt x="13601" y="2875"/>
                    </a:lnTo>
                    <a:lnTo>
                      <a:pt x="13598" y="2868"/>
                    </a:lnTo>
                    <a:lnTo>
                      <a:pt x="13595" y="2861"/>
                    </a:lnTo>
                    <a:lnTo>
                      <a:pt x="13589" y="2852"/>
                    </a:lnTo>
                    <a:lnTo>
                      <a:pt x="13582" y="2845"/>
                    </a:lnTo>
                    <a:lnTo>
                      <a:pt x="13577" y="2841"/>
                    </a:lnTo>
                    <a:lnTo>
                      <a:pt x="13573" y="2839"/>
                    </a:lnTo>
                    <a:lnTo>
                      <a:pt x="13567" y="2838"/>
                    </a:lnTo>
                    <a:lnTo>
                      <a:pt x="13562" y="2837"/>
                    </a:lnTo>
                    <a:lnTo>
                      <a:pt x="13554" y="2837"/>
                    </a:lnTo>
                    <a:lnTo>
                      <a:pt x="13546" y="2837"/>
                    </a:lnTo>
                    <a:lnTo>
                      <a:pt x="13537" y="2838"/>
                    </a:lnTo>
                    <a:lnTo>
                      <a:pt x="13529" y="2840"/>
                    </a:lnTo>
                    <a:lnTo>
                      <a:pt x="13512" y="2844"/>
                    </a:lnTo>
                    <a:lnTo>
                      <a:pt x="13496" y="2850"/>
                    </a:lnTo>
                    <a:lnTo>
                      <a:pt x="13491" y="2851"/>
                    </a:lnTo>
                    <a:lnTo>
                      <a:pt x="13487" y="2850"/>
                    </a:lnTo>
                    <a:lnTo>
                      <a:pt x="13483" y="2850"/>
                    </a:lnTo>
                    <a:lnTo>
                      <a:pt x="13481" y="2847"/>
                    </a:lnTo>
                    <a:lnTo>
                      <a:pt x="13476" y="2841"/>
                    </a:lnTo>
                    <a:lnTo>
                      <a:pt x="13471" y="2832"/>
                    </a:lnTo>
                    <a:lnTo>
                      <a:pt x="13467" y="2823"/>
                    </a:lnTo>
                    <a:lnTo>
                      <a:pt x="13461" y="2814"/>
                    </a:lnTo>
                    <a:lnTo>
                      <a:pt x="13459" y="2809"/>
                    </a:lnTo>
                    <a:lnTo>
                      <a:pt x="13454" y="2805"/>
                    </a:lnTo>
                    <a:lnTo>
                      <a:pt x="13449" y="2802"/>
                    </a:lnTo>
                    <a:lnTo>
                      <a:pt x="13443" y="2798"/>
                    </a:lnTo>
                    <a:lnTo>
                      <a:pt x="13425" y="2791"/>
                    </a:lnTo>
                    <a:lnTo>
                      <a:pt x="13412" y="2784"/>
                    </a:lnTo>
                    <a:lnTo>
                      <a:pt x="13402" y="2776"/>
                    </a:lnTo>
                    <a:lnTo>
                      <a:pt x="13395" y="2768"/>
                    </a:lnTo>
                    <a:lnTo>
                      <a:pt x="13390" y="2758"/>
                    </a:lnTo>
                    <a:lnTo>
                      <a:pt x="13385" y="2746"/>
                    </a:lnTo>
                    <a:lnTo>
                      <a:pt x="13381" y="2733"/>
                    </a:lnTo>
                    <a:lnTo>
                      <a:pt x="13375" y="2715"/>
                    </a:lnTo>
                    <a:lnTo>
                      <a:pt x="13375" y="2704"/>
                    </a:lnTo>
                    <a:lnTo>
                      <a:pt x="13376" y="2685"/>
                    </a:lnTo>
                    <a:lnTo>
                      <a:pt x="13376" y="2662"/>
                    </a:lnTo>
                    <a:lnTo>
                      <a:pt x="13378" y="2638"/>
                    </a:lnTo>
                    <a:lnTo>
                      <a:pt x="13379" y="2627"/>
                    </a:lnTo>
                    <a:lnTo>
                      <a:pt x="13381" y="2618"/>
                    </a:lnTo>
                    <a:lnTo>
                      <a:pt x="13383" y="2610"/>
                    </a:lnTo>
                    <a:lnTo>
                      <a:pt x="13385" y="2606"/>
                    </a:lnTo>
                    <a:lnTo>
                      <a:pt x="13388" y="2603"/>
                    </a:lnTo>
                    <a:lnTo>
                      <a:pt x="13389" y="2602"/>
                    </a:lnTo>
                    <a:lnTo>
                      <a:pt x="13391" y="2602"/>
                    </a:lnTo>
                    <a:lnTo>
                      <a:pt x="13394" y="2603"/>
                    </a:lnTo>
                    <a:lnTo>
                      <a:pt x="13399" y="2608"/>
                    </a:lnTo>
                    <a:lnTo>
                      <a:pt x="13405" y="2616"/>
                    </a:lnTo>
                    <a:lnTo>
                      <a:pt x="13414" y="2628"/>
                    </a:lnTo>
                    <a:lnTo>
                      <a:pt x="13424" y="2642"/>
                    </a:lnTo>
                    <a:lnTo>
                      <a:pt x="13435" y="2655"/>
                    </a:lnTo>
                    <a:lnTo>
                      <a:pt x="13447" y="2667"/>
                    </a:lnTo>
                    <a:lnTo>
                      <a:pt x="13471" y="2692"/>
                    </a:lnTo>
                    <a:lnTo>
                      <a:pt x="13494" y="2715"/>
                    </a:lnTo>
                    <a:lnTo>
                      <a:pt x="13485" y="2702"/>
                    </a:lnTo>
                    <a:lnTo>
                      <a:pt x="13478" y="2687"/>
                    </a:lnTo>
                    <a:lnTo>
                      <a:pt x="13471" y="2672"/>
                    </a:lnTo>
                    <a:lnTo>
                      <a:pt x="13464" y="2655"/>
                    </a:lnTo>
                    <a:lnTo>
                      <a:pt x="13452" y="2621"/>
                    </a:lnTo>
                    <a:lnTo>
                      <a:pt x="13441" y="2590"/>
                    </a:lnTo>
                    <a:lnTo>
                      <a:pt x="13435" y="2574"/>
                    </a:lnTo>
                    <a:lnTo>
                      <a:pt x="13430" y="2561"/>
                    </a:lnTo>
                    <a:lnTo>
                      <a:pt x="13426" y="2550"/>
                    </a:lnTo>
                    <a:lnTo>
                      <a:pt x="13426" y="2541"/>
                    </a:lnTo>
                    <a:lnTo>
                      <a:pt x="13426" y="2537"/>
                    </a:lnTo>
                    <a:lnTo>
                      <a:pt x="13429" y="2533"/>
                    </a:lnTo>
                    <a:lnTo>
                      <a:pt x="13431" y="2530"/>
                    </a:lnTo>
                    <a:lnTo>
                      <a:pt x="13435" y="2526"/>
                    </a:lnTo>
                    <a:lnTo>
                      <a:pt x="13444" y="2518"/>
                    </a:lnTo>
                    <a:lnTo>
                      <a:pt x="13458" y="2509"/>
                    </a:lnTo>
                    <a:lnTo>
                      <a:pt x="13461" y="2509"/>
                    </a:lnTo>
                    <a:lnTo>
                      <a:pt x="13465" y="2509"/>
                    </a:lnTo>
                    <a:lnTo>
                      <a:pt x="13468" y="2512"/>
                    </a:lnTo>
                    <a:lnTo>
                      <a:pt x="13472" y="2514"/>
                    </a:lnTo>
                    <a:lnTo>
                      <a:pt x="13481" y="2524"/>
                    </a:lnTo>
                    <a:lnTo>
                      <a:pt x="13489" y="2535"/>
                    </a:lnTo>
                    <a:lnTo>
                      <a:pt x="13505" y="2560"/>
                    </a:lnTo>
                    <a:lnTo>
                      <a:pt x="13514" y="2578"/>
                    </a:lnTo>
                    <a:lnTo>
                      <a:pt x="13517" y="2583"/>
                    </a:lnTo>
                    <a:lnTo>
                      <a:pt x="13519" y="2584"/>
                    </a:lnTo>
                    <a:lnTo>
                      <a:pt x="13521" y="2583"/>
                    </a:lnTo>
                    <a:lnTo>
                      <a:pt x="13523" y="2580"/>
                    </a:lnTo>
                    <a:lnTo>
                      <a:pt x="13524" y="2569"/>
                    </a:lnTo>
                    <a:lnTo>
                      <a:pt x="13524" y="2553"/>
                    </a:lnTo>
                    <a:lnTo>
                      <a:pt x="13524" y="2535"/>
                    </a:lnTo>
                    <a:lnTo>
                      <a:pt x="13524" y="2516"/>
                    </a:lnTo>
                    <a:lnTo>
                      <a:pt x="13525" y="2502"/>
                    </a:lnTo>
                    <a:lnTo>
                      <a:pt x="13526" y="2491"/>
                    </a:lnTo>
                    <a:lnTo>
                      <a:pt x="13529" y="2488"/>
                    </a:lnTo>
                    <a:lnTo>
                      <a:pt x="13531" y="2484"/>
                    </a:lnTo>
                    <a:lnTo>
                      <a:pt x="13533" y="2482"/>
                    </a:lnTo>
                    <a:lnTo>
                      <a:pt x="13537" y="2480"/>
                    </a:lnTo>
                    <a:lnTo>
                      <a:pt x="13542" y="2480"/>
                    </a:lnTo>
                    <a:lnTo>
                      <a:pt x="13547" y="2480"/>
                    </a:lnTo>
                    <a:lnTo>
                      <a:pt x="13552" y="2482"/>
                    </a:lnTo>
                    <a:lnTo>
                      <a:pt x="13556" y="2483"/>
                    </a:lnTo>
                    <a:lnTo>
                      <a:pt x="13568" y="2488"/>
                    </a:lnTo>
                    <a:lnTo>
                      <a:pt x="13580" y="2494"/>
                    </a:lnTo>
                    <a:lnTo>
                      <a:pt x="13594" y="2502"/>
                    </a:lnTo>
                    <a:lnTo>
                      <a:pt x="13607" y="2510"/>
                    </a:lnTo>
                    <a:lnTo>
                      <a:pt x="13655" y="2550"/>
                    </a:lnTo>
                    <a:lnTo>
                      <a:pt x="13682" y="2572"/>
                    </a:lnTo>
                    <a:lnTo>
                      <a:pt x="13700" y="2586"/>
                    </a:lnTo>
                    <a:lnTo>
                      <a:pt x="13708" y="2592"/>
                    </a:lnTo>
                    <a:lnTo>
                      <a:pt x="13707" y="2586"/>
                    </a:lnTo>
                    <a:lnTo>
                      <a:pt x="13701" y="2568"/>
                    </a:lnTo>
                    <a:lnTo>
                      <a:pt x="13690" y="2541"/>
                    </a:lnTo>
                    <a:lnTo>
                      <a:pt x="13679" y="2506"/>
                    </a:lnTo>
                    <a:lnTo>
                      <a:pt x="13673" y="2486"/>
                    </a:lnTo>
                    <a:lnTo>
                      <a:pt x="13669" y="2467"/>
                    </a:lnTo>
                    <a:lnTo>
                      <a:pt x="13666" y="2448"/>
                    </a:lnTo>
                    <a:lnTo>
                      <a:pt x="13663" y="2429"/>
                    </a:lnTo>
                    <a:lnTo>
                      <a:pt x="13662" y="2411"/>
                    </a:lnTo>
                    <a:lnTo>
                      <a:pt x="13665" y="2394"/>
                    </a:lnTo>
                    <a:lnTo>
                      <a:pt x="13666" y="2385"/>
                    </a:lnTo>
                    <a:lnTo>
                      <a:pt x="13668" y="2378"/>
                    </a:lnTo>
                    <a:lnTo>
                      <a:pt x="13671" y="2371"/>
                    </a:lnTo>
                    <a:lnTo>
                      <a:pt x="13674" y="2364"/>
                    </a:lnTo>
                    <a:lnTo>
                      <a:pt x="13678" y="2358"/>
                    </a:lnTo>
                    <a:lnTo>
                      <a:pt x="13683" y="2353"/>
                    </a:lnTo>
                    <a:lnTo>
                      <a:pt x="13689" y="2348"/>
                    </a:lnTo>
                    <a:lnTo>
                      <a:pt x="13696" y="2344"/>
                    </a:lnTo>
                    <a:lnTo>
                      <a:pt x="13703" y="2341"/>
                    </a:lnTo>
                    <a:lnTo>
                      <a:pt x="13712" y="2338"/>
                    </a:lnTo>
                    <a:lnTo>
                      <a:pt x="13721" y="2337"/>
                    </a:lnTo>
                    <a:lnTo>
                      <a:pt x="13731" y="2337"/>
                    </a:lnTo>
                    <a:lnTo>
                      <a:pt x="13746" y="2336"/>
                    </a:lnTo>
                    <a:lnTo>
                      <a:pt x="13762" y="2335"/>
                    </a:lnTo>
                    <a:lnTo>
                      <a:pt x="13778" y="2332"/>
                    </a:lnTo>
                    <a:lnTo>
                      <a:pt x="13792" y="2330"/>
                    </a:lnTo>
                    <a:lnTo>
                      <a:pt x="13824" y="2325"/>
                    </a:lnTo>
                    <a:lnTo>
                      <a:pt x="13854" y="2322"/>
                    </a:lnTo>
                    <a:lnTo>
                      <a:pt x="13869" y="2320"/>
                    </a:lnTo>
                    <a:lnTo>
                      <a:pt x="13884" y="2322"/>
                    </a:lnTo>
                    <a:lnTo>
                      <a:pt x="13898" y="2323"/>
                    </a:lnTo>
                    <a:lnTo>
                      <a:pt x="13913" y="2326"/>
                    </a:lnTo>
                    <a:lnTo>
                      <a:pt x="13927" y="2332"/>
                    </a:lnTo>
                    <a:lnTo>
                      <a:pt x="13940" y="2341"/>
                    </a:lnTo>
                    <a:lnTo>
                      <a:pt x="13953" y="2350"/>
                    </a:lnTo>
                    <a:lnTo>
                      <a:pt x="13967" y="2364"/>
                    </a:lnTo>
                    <a:lnTo>
                      <a:pt x="13972" y="2368"/>
                    </a:lnTo>
                    <a:lnTo>
                      <a:pt x="13974" y="2372"/>
                    </a:lnTo>
                    <a:lnTo>
                      <a:pt x="13975" y="2373"/>
                    </a:lnTo>
                    <a:lnTo>
                      <a:pt x="13976" y="2372"/>
                    </a:lnTo>
                    <a:lnTo>
                      <a:pt x="13979" y="2366"/>
                    </a:lnTo>
                    <a:lnTo>
                      <a:pt x="13987" y="2354"/>
                    </a:lnTo>
                    <a:lnTo>
                      <a:pt x="14005" y="2330"/>
                    </a:lnTo>
                    <a:lnTo>
                      <a:pt x="14012" y="2319"/>
                    </a:lnTo>
                    <a:lnTo>
                      <a:pt x="14011" y="2311"/>
                    </a:lnTo>
                    <a:lnTo>
                      <a:pt x="14005" y="2290"/>
                    </a:lnTo>
                    <a:lnTo>
                      <a:pt x="14002" y="2277"/>
                    </a:lnTo>
                    <a:lnTo>
                      <a:pt x="13998" y="2270"/>
                    </a:lnTo>
                    <a:lnTo>
                      <a:pt x="13997" y="2267"/>
                    </a:lnTo>
                    <a:lnTo>
                      <a:pt x="13996" y="2267"/>
                    </a:lnTo>
                    <a:lnTo>
                      <a:pt x="13994" y="2267"/>
                    </a:lnTo>
                    <a:lnTo>
                      <a:pt x="13993" y="2269"/>
                    </a:lnTo>
                    <a:lnTo>
                      <a:pt x="13988" y="2271"/>
                    </a:lnTo>
                    <a:lnTo>
                      <a:pt x="13984" y="2276"/>
                    </a:lnTo>
                    <a:lnTo>
                      <a:pt x="13978" y="2279"/>
                    </a:lnTo>
                    <a:lnTo>
                      <a:pt x="13969" y="2282"/>
                    </a:lnTo>
                    <a:lnTo>
                      <a:pt x="13962" y="2282"/>
                    </a:lnTo>
                    <a:lnTo>
                      <a:pt x="13957" y="2279"/>
                    </a:lnTo>
                    <a:lnTo>
                      <a:pt x="13953" y="2276"/>
                    </a:lnTo>
                    <a:lnTo>
                      <a:pt x="13952" y="2271"/>
                    </a:lnTo>
                    <a:lnTo>
                      <a:pt x="13953" y="2266"/>
                    </a:lnTo>
                    <a:lnTo>
                      <a:pt x="13956" y="2261"/>
                    </a:lnTo>
                    <a:lnTo>
                      <a:pt x="13961" y="2257"/>
                    </a:lnTo>
                    <a:lnTo>
                      <a:pt x="13968" y="2253"/>
                    </a:lnTo>
                    <a:lnTo>
                      <a:pt x="13973" y="2251"/>
                    </a:lnTo>
                    <a:lnTo>
                      <a:pt x="13978" y="2247"/>
                    </a:lnTo>
                    <a:lnTo>
                      <a:pt x="13982" y="2243"/>
                    </a:lnTo>
                    <a:lnTo>
                      <a:pt x="13986" y="2238"/>
                    </a:lnTo>
                    <a:lnTo>
                      <a:pt x="13993" y="2228"/>
                    </a:lnTo>
                    <a:lnTo>
                      <a:pt x="13999" y="2216"/>
                    </a:lnTo>
                    <a:lnTo>
                      <a:pt x="14010" y="2189"/>
                    </a:lnTo>
                    <a:lnTo>
                      <a:pt x="14017" y="2166"/>
                    </a:lnTo>
                    <a:lnTo>
                      <a:pt x="14021" y="2155"/>
                    </a:lnTo>
                    <a:lnTo>
                      <a:pt x="14021" y="2146"/>
                    </a:lnTo>
                    <a:lnTo>
                      <a:pt x="14021" y="2136"/>
                    </a:lnTo>
                    <a:lnTo>
                      <a:pt x="14020" y="2128"/>
                    </a:lnTo>
                    <a:lnTo>
                      <a:pt x="14015" y="2109"/>
                    </a:lnTo>
                    <a:lnTo>
                      <a:pt x="14010" y="2089"/>
                    </a:lnTo>
                    <a:lnTo>
                      <a:pt x="14009" y="2077"/>
                    </a:lnTo>
                    <a:lnTo>
                      <a:pt x="14009" y="2069"/>
                    </a:lnTo>
                    <a:lnTo>
                      <a:pt x="14011" y="2063"/>
                    </a:lnTo>
                    <a:lnTo>
                      <a:pt x="14015" y="2059"/>
                    </a:lnTo>
                    <a:lnTo>
                      <a:pt x="14018" y="2057"/>
                    </a:lnTo>
                    <a:lnTo>
                      <a:pt x="14024" y="2057"/>
                    </a:lnTo>
                    <a:lnTo>
                      <a:pt x="14031" y="2059"/>
                    </a:lnTo>
                    <a:lnTo>
                      <a:pt x="14038" y="2062"/>
                    </a:lnTo>
                    <a:lnTo>
                      <a:pt x="14052" y="2071"/>
                    </a:lnTo>
                    <a:lnTo>
                      <a:pt x="14068" y="2083"/>
                    </a:lnTo>
                    <a:lnTo>
                      <a:pt x="14082" y="2096"/>
                    </a:lnTo>
                    <a:lnTo>
                      <a:pt x="14096" y="2109"/>
                    </a:lnTo>
                    <a:lnTo>
                      <a:pt x="14100" y="2116"/>
                    </a:lnTo>
                    <a:lnTo>
                      <a:pt x="14103" y="2123"/>
                    </a:lnTo>
                    <a:lnTo>
                      <a:pt x="14104" y="2130"/>
                    </a:lnTo>
                    <a:lnTo>
                      <a:pt x="14104" y="2139"/>
                    </a:lnTo>
                    <a:lnTo>
                      <a:pt x="14102" y="2157"/>
                    </a:lnTo>
                    <a:lnTo>
                      <a:pt x="14097" y="2175"/>
                    </a:lnTo>
                    <a:lnTo>
                      <a:pt x="14094" y="2183"/>
                    </a:lnTo>
                    <a:lnTo>
                      <a:pt x="14093" y="2193"/>
                    </a:lnTo>
                    <a:lnTo>
                      <a:pt x="14093" y="2201"/>
                    </a:lnTo>
                    <a:lnTo>
                      <a:pt x="14094" y="2208"/>
                    </a:lnTo>
                    <a:lnTo>
                      <a:pt x="14097" y="2217"/>
                    </a:lnTo>
                    <a:lnTo>
                      <a:pt x="14102" y="2223"/>
                    </a:lnTo>
                    <a:lnTo>
                      <a:pt x="14109" y="2230"/>
                    </a:lnTo>
                    <a:lnTo>
                      <a:pt x="14118" y="2235"/>
                    </a:lnTo>
                    <a:lnTo>
                      <a:pt x="14133" y="2238"/>
                    </a:lnTo>
                    <a:lnTo>
                      <a:pt x="14142" y="2240"/>
                    </a:lnTo>
                    <a:lnTo>
                      <a:pt x="14152" y="2240"/>
                    </a:lnTo>
                    <a:lnTo>
                      <a:pt x="14165" y="2240"/>
                    </a:lnTo>
                    <a:lnTo>
                      <a:pt x="14170" y="2241"/>
                    </a:lnTo>
                    <a:lnTo>
                      <a:pt x="14174" y="2245"/>
                    </a:lnTo>
                    <a:lnTo>
                      <a:pt x="14177" y="2248"/>
                    </a:lnTo>
                    <a:lnTo>
                      <a:pt x="14179" y="2253"/>
                    </a:lnTo>
                    <a:lnTo>
                      <a:pt x="14182" y="2265"/>
                    </a:lnTo>
                    <a:lnTo>
                      <a:pt x="14187" y="2276"/>
                    </a:lnTo>
                    <a:lnTo>
                      <a:pt x="14193" y="2282"/>
                    </a:lnTo>
                    <a:lnTo>
                      <a:pt x="14199" y="2285"/>
                    </a:lnTo>
                    <a:lnTo>
                      <a:pt x="14205" y="2288"/>
                    </a:lnTo>
                    <a:lnTo>
                      <a:pt x="14212" y="2289"/>
                    </a:lnTo>
                    <a:lnTo>
                      <a:pt x="14218" y="2288"/>
                    </a:lnTo>
                    <a:lnTo>
                      <a:pt x="14224" y="2285"/>
                    </a:lnTo>
                    <a:lnTo>
                      <a:pt x="14230" y="2281"/>
                    </a:lnTo>
                    <a:lnTo>
                      <a:pt x="14238" y="2276"/>
                    </a:lnTo>
                    <a:lnTo>
                      <a:pt x="14252" y="2257"/>
                    </a:lnTo>
                    <a:lnTo>
                      <a:pt x="14265" y="2238"/>
                    </a:lnTo>
                    <a:lnTo>
                      <a:pt x="14268" y="2236"/>
                    </a:lnTo>
                    <a:lnTo>
                      <a:pt x="14271" y="2235"/>
                    </a:lnTo>
                    <a:lnTo>
                      <a:pt x="14274" y="2234"/>
                    </a:lnTo>
                    <a:lnTo>
                      <a:pt x="14275" y="2235"/>
                    </a:lnTo>
                    <a:lnTo>
                      <a:pt x="14277" y="2238"/>
                    </a:lnTo>
                    <a:lnTo>
                      <a:pt x="14278" y="2243"/>
                    </a:lnTo>
                    <a:lnTo>
                      <a:pt x="14280" y="2249"/>
                    </a:lnTo>
                    <a:lnTo>
                      <a:pt x="14281" y="2259"/>
                    </a:lnTo>
                    <a:lnTo>
                      <a:pt x="14281" y="2270"/>
                    </a:lnTo>
                    <a:lnTo>
                      <a:pt x="14280" y="2279"/>
                    </a:lnTo>
                    <a:lnTo>
                      <a:pt x="14278" y="2288"/>
                    </a:lnTo>
                    <a:lnTo>
                      <a:pt x="14276" y="2297"/>
                    </a:lnTo>
                    <a:lnTo>
                      <a:pt x="14269" y="2316"/>
                    </a:lnTo>
                    <a:lnTo>
                      <a:pt x="14259" y="2332"/>
                    </a:lnTo>
                    <a:lnTo>
                      <a:pt x="14238" y="2365"/>
                    </a:lnTo>
                    <a:lnTo>
                      <a:pt x="14215" y="2396"/>
                    </a:lnTo>
                    <a:lnTo>
                      <a:pt x="14199" y="2421"/>
                    </a:lnTo>
                    <a:lnTo>
                      <a:pt x="14182" y="2449"/>
                    </a:lnTo>
                    <a:lnTo>
                      <a:pt x="14168" y="2477"/>
                    </a:lnTo>
                    <a:lnTo>
                      <a:pt x="14154" y="2504"/>
                    </a:lnTo>
                    <a:lnTo>
                      <a:pt x="14146" y="2522"/>
                    </a:lnTo>
                    <a:lnTo>
                      <a:pt x="14135" y="2539"/>
                    </a:lnTo>
                    <a:lnTo>
                      <a:pt x="14130" y="2548"/>
                    </a:lnTo>
                    <a:lnTo>
                      <a:pt x="14123" y="2555"/>
                    </a:lnTo>
                    <a:lnTo>
                      <a:pt x="14116" y="2562"/>
                    </a:lnTo>
                    <a:lnTo>
                      <a:pt x="14108" y="2568"/>
                    </a:lnTo>
                    <a:lnTo>
                      <a:pt x="14103" y="2577"/>
                    </a:lnTo>
                    <a:lnTo>
                      <a:pt x="14093" y="2595"/>
                    </a:lnTo>
                    <a:lnTo>
                      <a:pt x="14081" y="2620"/>
                    </a:lnTo>
                    <a:lnTo>
                      <a:pt x="14068" y="2649"/>
                    </a:lnTo>
                    <a:lnTo>
                      <a:pt x="14045" y="2703"/>
                    </a:lnTo>
                    <a:lnTo>
                      <a:pt x="14034" y="2731"/>
                    </a:lnTo>
                    <a:lnTo>
                      <a:pt x="14044" y="2721"/>
                    </a:lnTo>
                    <a:lnTo>
                      <a:pt x="14051" y="2710"/>
                    </a:lnTo>
                    <a:lnTo>
                      <a:pt x="14059" y="2698"/>
                    </a:lnTo>
                    <a:lnTo>
                      <a:pt x="14067" y="2686"/>
                    </a:lnTo>
                    <a:lnTo>
                      <a:pt x="14080" y="2662"/>
                    </a:lnTo>
                    <a:lnTo>
                      <a:pt x="14092" y="2637"/>
                    </a:lnTo>
                    <a:lnTo>
                      <a:pt x="14099" y="2625"/>
                    </a:lnTo>
                    <a:lnTo>
                      <a:pt x="14106" y="2613"/>
                    </a:lnTo>
                    <a:lnTo>
                      <a:pt x="14114" y="2602"/>
                    </a:lnTo>
                    <a:lnTo>
                      <a:pt x="14122" y="2591"/>
                    </a:lnTo>
                    <a:lnTo>
                      <a:pt x="14132" y="2581"/>
                    </a:lnTo>
                    <a:lnTo>
                      <a:pt x="14141" y="2573"/>
                    </a:lnTo>
                    <a:lnTo>
                      <a:pt x="14152" y="2566"/>
                    </a:lnTo>
                    <a:lnTo>
                      <a:pt x="14164" y="2561"/>
                    </a:lnTo>
                    <a:lnTo>
                      <a:pt x="14187" y="2551"/>
                    </a:lnTo>
                    <a:lnTo>
                      <a:pt x="14206" y="2541"/>
                    </a:lnTo>
                    <a:lnTo>
                      <a:pt x="14224" y="2530"/>
                    </a:lnTo>
                    <a:lnTo>
                      <a:pt x="14240" y="2516"/>
                    </a:lnTo>
                    <a:lnTo>
                      <a:pt x="14272" y="2490"/>
                    </a:lnTo>
                    <a:lnTo>
                      <a:pt x="14310" y="2461"/>
                    </a:lnTo>
                    <a:lnTo>
                      <a:pt x="14323" y="2451"/>
                    </a:lnTo>
                    <a:lnTo>
                      <a:pt x="14335" y="2443"/>
                    </a:lnTo>
                    <a:lnTo>
                      <a:pt x="14347" y="2435"/>
                    </a:lnTo>
                    <a:lnTo>
                      <a:pt x="14360" y="2427"/>
                    </a:lnTo>
                    <a:lnTo>
                      <a:pt x="14374" y="2421"/>
                    </a:lnTo>
                    <a:lnTo>
                      <a:pt x="14387" y="2417"/>
                    </a:lnTo>
                    <a:lnTo>
                      <a:pt x="14401" y="2412"/>
                    </a:lnTo>
                    <a:lnTo>
                      <a:pt x="14417" y="2409"/>
                    </a:lnTo>
                    <a:lnTo>
                      <a:pt x="14428" y="2407"/>
                    </a:lnTo>
                    <a:lnTo>
                      <a:pt x="14439" y="2406"/>
                    </a:lnTo>
                    <a:lnTo>
                      <a:pt x="14443" y="2406"/>
                    </a:lnTo>
                    <a:lnTo>
                      <a:pt x="14449" y="2406"/>
                    </a:lnTo>
                    <a:lnTo>
                      <a:pt x="14454" y="2407"/>
                    </a:lnTo>
                    <a:lnTo>
                      <a:pt x="14459" y="2409"/>
                    </a:lnTo>
                    <a:lnTo>
                      <a:pt x="14475" y="2419"/>
                    </a:lnTo>
                    <a:lnTo>
                      <a:pt x="14481" y="2425"/>
                    </a:lnTo>
                    <a:lnTo>
                      <a:pt x="14483" y="2425"/>
                    </a:lnTo>
                    <a:lnTo>
                      <a:pt x="14489" y="2424"/>
                    </a:lnTo>
                    <a:lnTo>
                      <a:pt x="14497" y="2420"/>
                    </a:lnTo>
                    <a:lnTo>
                      <a:pt x="14512" y="2414"/>
                    </a:lnTo>
                    <a:lnTo>
                      <a:pt x="14530" y="2407"/>
                    </a:lnTo>
                    <a:lnTo>
                      <a:pt x="14546" y="2399"/>
                    </a:lnTo>
                    <a:lnTo>
                      <a:pt x="14559" y="2390"/>
                    </a:lnTo>
                    <a:lnTo>
                      <a:pt x="14572" y="2382"/>
                    </a:lnTo>
                    <a:lnTo>
                      <a:pt x="14583" y="2371"/>
                    </a:lnTo>
                    <a:lnTo>
                      <a:pt x="14593" y="2361"/>
                    </a:lnTo>
                    <a:lnTo>
                      <a:pt x="14600" y="2349"/>
                    </a:lnTo>
                    <a:lnTo>
                      <a:pt x="14607" y="2337"/>
                    </a:lnTo>
                    <a:lnTo>
                      <a:pt x="14613" y="2325"/>
                    </a:lnTo>
                    <a:lnTo>
                      <a:pt x="14617" y="2312"/>
                    </a:lnTo>
                    <a:lnTo>
                      <a:pt x="14620" y="2299"/>
                    </a:lnTo>
                    <a:lnTo>
                      <a:pt x="14624" y="2283"/>
                    </a:lnTo>
                    <a:lnTo>
                      <a:pt x="14625" y="2269"/>
                    </a:lnTo>
                    <a:lnTo>
                      <a:pt x="14627" y="2252"/>
                    </a:lnTo>
                    <a:lnTo>
                      <a:pt x="14627" y="2235"/>
                    </a:lnTo>
                    <a:lnTo>
                      <a:pt x="14627" y="2218"/>
                    </a:lnTo>
                    <a:lnTo>
                      <a:pt x="14623" y="2204"/>
                    </a:lnTo>
                    <a:lnTo>
                      <a:pt x="14617" y="2188"/>
                    </a:lnTo>
                    <a:lnTo>
                      <a:pt x="14613" y="2181"/>
                    </a:lnTo>
                    <a:lnTo>
                      <a:pt x="14611" y="2172"/>
                    </a:lnTo>
                    <a:lnTo>
                      <a:pt x="14609" y="2165"/>
                    </a:lnTo>
                    <a:lnTo>
                      <a:pt x="14608" y="2158"/>
                    </a:lnTo>
                    <a:lnTo>
                      <a:pt x="14615" y="2154"/>
                    </a:lnTo>
                    <a:lnTo>
                      <a:pt x="14620" y="2149"/>
                    </a:lnTo>
                    <a:lnTo>
                      <a:pt x="14626" y="2143"/>
                    </a:lnTo>
                    <a:lnTo>
                      <a:pt x="14631" y="2137"/>
                    </a:lnTo>
                    <a:lnTo>
                      <a:pt x="14637" y="2131"/>
                    </a:lnTo>
                    <a:lnTo>
                      <a:pt x="14642" y="2127"/>
                    </a:lnTo>
                    <a:lnTo>
                      <a:pt x="14649" y="2123"/>
                    </a:lnTo>
                    <a:lnTo>
                      <a:pt x="14655" y="2122"/>
                    </a:lnTo>
                    <a:lnTo>
                      <a:pt x="14662" y="2122"/>
                    </a:lnTo>
                    <a:lnTo>
                      <a:pt x="14667" y="2124"/>
                    </a:lnTo>
                    <a:lnTo>
                      <a:pt x="14672" y="2127"/>
                    </a:lnTo>
                    <a:lnTo>
                      <a:pt x="14677" y="2130"/>
                    </a:lnTo>
                    <a:lnTo>
                      <a:pt x="14682" y="2131"/>
                    </a:lnTo>
                    <a:lnTo>
                      <a:pt x="14686" y="2133"/>
                    </a:lnTo>
                    <a:lnTo>
                      <a:pt x="14692" y="2131"/>
                    </a:lnTo>
                    <a:lnTo>
                      <a:pt x="14700" y="2127"/>
                    </a:lnTo>
                    <a:lnTo>
                      <a:pt x="14710" y="2121"/>
                    </a:lnTo>
                    <a:lnTo>
                      <a:pt x="14720" y="2117"/>
                    </a:lnTo>
                    <a:lnTo>
                      <a:pt x="14730" y="2115"/>
                    </a:lnTo>
                    <a:lnTo>
                      <a:pt x="14739" y="2113"/>
                    </a:lnTo>
                    <a:lnTo>
                      <a:pt x="14760" y="2116"/>
                    </a:lnTo>
                    <a:lnTo>
                      <a:pt x="14780" y="2118"/>
                    </a:lnTo>
                    <a:lnTo>
                      <a:pt x="14791" y="2119"/>
                    </a:lnTo>
                    <a:lnTo>
                      <a:pt x="14802" y="2121"/>
                    </a:lnTo>
                    <a:lnTo>
                      <a:pt x="14813" y="2122"/>
                    </a:lnTo>
                    <a:lnTo>
                      <a:pt x="14824" y="2121"/>
                    </a:lnTo>
                    <a:lnTo>
                      <a:pt x="14836" y="2119"/>
                    </a:lnTo>
                    <a:lnTo>
                      <a:pt x="14848" y="2116"/>
                    </a:lnTo>
                    <a:lnTo>
                      <a:pt x="14860" y="2111"/>
                    </a:lnTo>
                    <a:lnTo>
                      <a:pt x="14873" y="2104"/>
                    </a:lnTo>
                    <a:lnTo>
                      <a:pt x="14875" y="2100"/>
                    </a:lnTo>
                    <a:lnTo>
                      <a:pt x="14878" y="2098"/>
                    </a:lnTo>
                    <a:lnTo>
                      <a:pt x="14878" y="2094"/>
                    </a:lnTo>
                    <a:lnTo>
                      <a:pt x="14878" y="2089"/>
                    </a:lnTo>
                    <a:lnTo>
                      <a:pt x="14875" y="2081"/>
                    </a:lnTo>
                    <a:lnTo>
                      <a:pt x="14869" y="2071"/>
                    </a:lnTo>
                    <a:lnTo>
                      <a:pt x="14862" y="2062"/>
                    </a:lnTo>
                    <a:lnTo>
                      <a:pt x="14855" y="2053"/>
                    </a:lnTo>
                    <a:lnTo>
                      <a:pt x="14849" y="2047"/>
                    </a:lnTo>
                    <a:lnTo>
                      <a:pt x="14843" y="2044"/>
                    </a:lnTo>
                    <a:lnTo>
                      <a:pt x="14839" y="2045"/>
                    </a:lnTo>
                    <a:lnTo>
                      <a:pt x="14832" y="2047"/>
                    </a:lnTo>
                    <a:lnTo>
                      <a:pt x="14822" y="2053"/>
                    </a:lnTo>
                    <a:lnTo>
                      <a:pt x="14812" y="2059"/>
                    </a:lnTo>
                    <a:lnTo>
                      <a:pt x="14801" y="2065"/>
                    </a:lnTo>
                    <a:lnTo>
                      <a:pt x="14790" y="2070"/>
                    </a:lnTo>
                    <a:lnTo>
                      <a:pt x="14782" y="2074"/>
                    </a:lnTo>
                    <a:lnTo>
                      <a:pt x="14774" y="2076"/>
                    </a:lnTo>
                    <a:lnTo>
                      <a:pt x="14774" y="2066"/>
                    </a:lnTo>
                    <a:lnTo>
                      <a:pt x="14775" y="2059"/>
                    </a:lnTo>
                    <a:lnTo>
                      <a:pt x="14778" y="2053"/>
                    </a:lnTo>
                    <a:lnTo>
                      <a:pt x="14780" y="2047"/>
                    </a:lnTo>
                    <a:lnTo>
                      <a:pt x="14783" y="2042"/>
                    </a:lnTo>
                    <a:lnTo>
                      <a:pt x="14786" y="2039"/>
                    </a:lnTo>
                    <a:lnTo>
                      <a:pt x="14790" y="2035"/>
                    </a:lnTo>
                    <a:lnTo>
                      <a:pt x="14795" y="2033"/>
                    </a:lnTo>
                    <a:lnTo>
                      <a:pt x="14804" y="2029"/>
                    </a:lnTo>
                    <a:lnTo>
                      <a:pt x="14815" y="2027"/>
                    </a:lnTo>
                    <a:lnTo>
                      <a:pt x="14826" y="2024"/>
                    </a:lnTo>
                    <a:lnTo>
                      <a:pt x="14838" y="2022"/>
                    </a:lnTo>
                    <a:lnTo>
                      <a:pt x="14862" y="2013"/>
                    </a:lnTo>
                    <a:lnTo>
                      <a:pt x="14878" y="2006"/>
                    </a:lnTo>
                    <a:lnTo>
                      <a:pt x="14880" y="2006"/>
                    </a:lnTo>
                    <a:lnTo>
                      <a:pt x="14884" y="2006"/>
                    </a:lnTo>
                    <a:lnTo>
                      <a:pt x="14886" y="2007"/>
                    </a:lnTo>
                    <a:lnTo>
                      <a:pt x="14890" y="2009"/>
                    </a:lnTo>
                    <a:lnTo>
                      <a:pt x="14895" y="2016"/>
                    </a:lnTo>
                    <a:lnTo>
                      <a:pt x="14901" y="2028"/>
                    </a:lnTo>
                    <a:lnTo>
                      <a:pt x="14904" y="2033"/>
                    </a:lnTo>
                    <a:lnTo>
                      <a:pt x="14909" y="2039"/>
                    </a:lnTo>
                    <a:lnTo>
                      <a:pt x="14916" y="2045"/>
                    </a:lnTo>
                    <a:lnTo>
                      <a:pt x="14924" y="2052"/>
                    </a:lnTo>
                    <a:lnTo>
                      <a:pt x="14932" y="2058"/>
                    </a:lnTo>
                    <a:lnTo>
                      <a:pt x="14939" y="2063"/>
                    </a:lnTo>
                    <a:lnTo>
                      <a:pt x="14946" y="2066"/>
                    </a:lnTo>
                    <a:lnTo>
                      <a:pt x="14951" y="2069"/>
                    </a:lnTo>
                    <a:lnTo>
                      <a:pt x="14957" y="2068"/>
                    </a:lnTo>
                    <a:lnTo>
                      <a:pt x="14962" y="2066"/>
                    </a:lnTo>
                    <a:lnTo>
                      <a:pt x="14966" y="2063"/>
                    </a:lnTo>
                    <a:lnTo>
                      <a:pt x="14969" y="2058"/>
                    </a:lnTo>
                    <a:lnTo>
                      <a:pt x="14973" y="2046"/>
                    </a:lnTo>
                    <a:lnTo>
                      <a:pt x="14978" y="2033"/>
                    </a:lnTo>
                    <a:lnTo>
                      <a:pt x="14980" y="2027"/>
                    </a:lnTo>
                    <a:lnTo>
                      <a:pt x="14982" y="2022"/>
                    </a:lnTo>
                    <a:lnTo>
                      <a:pt x="14986" y="2018"/>
                    </a:lnTo>
                    <a:lnTo>
                      <a:pt x="14991" y="2016"/>
                    </a:lnTo>
                    <a:lnTo>
                      <a:pt x="14996" y="2015"/>
                    </a:lnTo>
                    <a:lnTo>
                      <a:pt x="15003" y="2016"/>
                    </a:lnTo>
                    <a:lnTo>
                      <a:pt x="15010" y="2019"/>
                    </a:lnTo>
                    <a:lnTo>
                      <a:pt x="15021" y="2025"/>
                    </a:lnTo>
                    <a:lnTo>
                      <a:pt x="15025" y="2028"/>
                    </a:lnTo>
                    <a:lnTo>
                      <a:pt x="15027" y="2029"/>
                    </a:lnTo>
                    <a:lnTo>
                      <a:pt x="15031" y="2028"/>
                    </a:lnTo>
                    <a:lnTo>
                      <a:pt x="15033" y="2027"/>
                    </a:lnTo>
                    <a:lnTo>
                      <a:pt x="15038" y="2022"/>
                    </a:lnTo>
                    <a:lnTo>
                      <a:pt x="15043" y="2013"/>
                    </a:lnTo>
                    <a:lnTo>
                      <a:pt x="15047" y="2005"/>
                    </a:lnTo>
                    <a:lnTo>
                      <a:pt x="15053" y="1995"/>
                    </a:lnTo>
                    <a:lnTo>
                      <a:pt x="15057" y="1992"/>
                    </a:lnTo>
                    <a:lnTo>
                      <a:pt x="15061" y="1988"/>
                    </a:lnTo>
                    <a:lnTo>
                      <a:pt x="15064" y="1985"/>
                    </a:lnTo>
                    <a:lnTo>
                      <a:pt x="15069" y="1982"/>
                    </a:lnTo>
                    <a:lnTo>
                      <a:pt x="15078" y="1979"/>
                    </a:lnTo>
                    <a:lnTo>
                      <a:pt x="15086" y="1973"/>
                    </a:lnTo>
                    <a:lnTo>
                      <a:pt x="15094" y="1967"/>
                    </a:lnTo>
                    <a:lnTo>
                      <a:pt x="15102" y="1959"/>
                    </a:lnTo>
                    <a:lnTo>
                      <a:pt x="15116" y="1942"/>
                    </a:lnTo>
                    <a:lnTo>
                      <a:pt x="15129" y="1924"/>
                    </a:lnTo>
                    <a:lnTo>
                      <a:pt x="15141" y="1905"/>
                    </a:lnTo>
                    <a:lnTo>
                      <a:pt x="15155" y="1886"/>
                    </a:lnTo>
                    <a:lnTo>
                      <a:pt x="15167" y="1868"/>
                    </a:lnTo>
                    <a:lnTo>
                      <a:pt x="15179" y="1853"/>
                    </a:lnTo>
                    <a:lnTo>
                      <a:pt x="15192" y="1843"/>
                    </a:lnTo>
                    <a:lnTo>
                      <a:pt x="15204" y="1834"/>
                    </a:lnTo>
                    <a:lnTo>
                      <a:pt x="15217" y="1827"/>
                    </a:lnTo>
                    <a:lnTo>
                      <a:pt x="15229" y="1820"/>
                    </a:lnTo>
                    <a:lnTo>
                      <a:pt x="15234" y="1815"/>
                    </a:lnTo>
                    <a:lnTo>
                      <a:pt x="15240" y="1810"/>
                    </a:lnTo>
                    <a:lnTo>
                      <a:pt x="15245" y="1805"/>
                    </a:lnTo>
                    <a:lnTo>
                      <a:pt x="15250" y="1799"/>
                    </a:lnTo>
                    <a:lnTo>
                      <a:pt x="15253" y="1792"/>
                    </a:lnTo>
                    <a:lnTo>
                      <a:pt x="15257" y="1785"/>
                    </a:lnTo>
                    <a:lnTo>
                      <a:pt x="15260" y="1775"/>
                    </a:lnTo>
                    <a:lnTo>
                      <a:pt x="15263" y="1764"/>
                    </a:lnTo>
                    <a:lnTo>
                      <a:pt x="15264" y="1764"/>
                    </a:lnTo>
                    <a:lnTo>
                      <a:pt x="15264" y="1763"/>
                    </a:lnTo>
                    <a:lnTo>
                      <a:pt x="15281" y="1763"/>
                    </a:lnTo>
                    <a:lnTo>
                      <a:pt x="15295" y="1766"/>
                    </a:lnTo>
                    <a:lnTo>
                      <a:pt x="15307" y="1769"/>
                    </a:lnTo>
                    <a:lnTo>
                      <a:pt x="15318" y="1774"/>
                    </a:lnTo>
                    <a:lnTo>
                      <a:pt x="15327" y="1779"/>
                    </a:lnTo>
                    <a:lnTo>
                      <a:pt x="15334" y="1786"/>
                    </a:lnTo>
                    <a:lnTo>
                      <a:pt x="15340" y="1794"/>
                    </a:lnTo>
                    <a:lnTo>
                      <a:pt x="15345" y="1803"/>
                    </a:lnTo>
                    <a:lnTo>
                      <a:pt x="15348" y="1814"/>
                    </a:lnTo>
                    <a:lnTo>
                      <a:pt x="15351" y="1825"/>
                    </a:lnTo>
                    <a:lnTo>
                      <a:pt x="15352" y="1835"/>
                    </a:lnTo>
                    <a:lnTo>
                      <a:pt x="15353" y="1849"/>
                    </a:lnTo>
                    <a:lnTo>
                      <a:pt x="15354" y="1875"/>
                    </a:lnTo>
                    <a:lnTo>
                      <a:pt x="15354" y="1904"/>
                    </a:lnTo>
                    <a:lnTo>
                      <a:pt x="15354" y="1904"/>
                    </a:lnTo>
                    <a:lnTo>
                      <a:pt x="15356" y="1905"/>
                    </a:lnTo>
                    <a:lnTo>
                      <a:pt x="15368" y="1844"/>
                    </a:lnTo>
                    <a:lnTo>
                      <a:pt x="15369" y="1839"/>
                    </a:lnTo>
                    <a:lnTo>
                      <a:pt x="15371" y="1835"/>
                    </a:lnTo>
                    <a:lnTo>
                      <a:pt x="15374" y="1832"/>
                    </a:lnTo>
                    <a:lnTo>
                      <a:pt x="15376" y="1828"/>
                    </a:lnTo>
                    <a:lnTo>
                      <a:pt x="15383" y="1822"/>
                    </a:lnTo>
                    <a:lnTo>
                      <a:pt x="15392" y="1816"/>
                    </a:lnTo>
                    <a:lnTo>
                      <a:pt x="15400" y="1809"/>
                    </a:lnTo>
                    <a:lnTo>
                      <a:pt x="15407" y="1799"/>
                    </a:lnTo>
                    <a:lnTo>
                      <a:pt x="15411" y="1793"/>
                    </a:lnTo>
                    <a:lnTo>
                      <a:pt x="15413" y="1787"/>
                    </a:lnTo>
                    <a:lnTo>
                      <a:pt x="15416" y="1779"/>
                    </a:lnTo>
                    <a:lnTo>
                      <a:pt x="15417" y="1770"/>
                    </a:lnTo>
                    <a:lnTo>
                      <a:pt x="15421" y="1755"/>
                    </a:lnTo>
                    <a:lnTo>
                      <a:pt x="15424" y="1740"/>
                    </a:lnTo>
                    <a:lnTo>
                      <a:pt x="15429" y="1726"/>
                    </a:lnTo>
                    <a:lnTo>
                      <a:pt x="15435" y="1713"/>
                    </a:lnTo>
                    <a:lnTo>
                      <a:pt x="15441" y="1699"/>
                    </a:lnTo>
                    <a:lnTo>
                      <a:pt x="15448" y="1686"/>
                    </a:lnTo>
                    <a:lnTo>
                      <a:pt x="15457" y="1673"/>
                    </a:lnTo>
                    <a:lnTo>
                      <a:pt x="15466" y="1661"/>
                    </a:lnTo>
                    <a:lnTo>
                      <a:pt x="15475" y="1634"/>
                    </a:lnTo>
                    <a:lnTo>
                      <a:pt x="15481" y="1610"/>
                    </a:lnTo>
                    <a:lnTo>
                      <a:pt x="15483" y="1607"/>
                    </a:lnTo>
                    <a:lnTo>
                      <a:pt x="15486" y="1602"/>
                    </a:lnTo>
                    <a:lnTo>
                      <a:pt x="15489" y="1598"/>
                    </a:lnTo>
                    <a:lnTo>
                      <a:pt x="15494" y="1596"/>
                    </a:lnTo>
                    <a:lnTo>
                      <a:pt x="15499" y="1595"/>
                    </a:lnTo>
                    <a:lnTo>
                      <a:pt x="15505" y="1593"/>
                    </a:lnTo>
                    <a:lnTo>
                      <a:pt x="15511" y="1593"/>
                    </a:lnTo>
                    <a:lnTo>
                      <a:pt x="15519" y="1593"/>
                    </a:lnTo>
                    <a:lnTo>
                      <a:pt x="15534" y="1596"/>
                    </a:lnTo>
                    <a:lnTo>
                      <a:pt x="15545" y="1595"/>
                    </a:lnTo>
                    <a:lnTo>
                      <a:pt x="15552" y="1592"/>
                    </a:lnTo>
                    <a:lnTo>
                      <a:pt x="15558" y="1589"/>
                    </a:lnTo>
                    <a:lnTo>
                      <a:pt x="15563" y="1585"/>
                    </a:lnTo>
                    <a:lnTo>
                      <a:pt x="15569" y="1579"/>
                    </a:lnTo>
                    <a:lnTo>
                      <a:pt x="15577" y="1574"/>
                    </a:lnTo>
                    <a:lnTo>
                      <a:pt x="15588" y="1568"/>
                    </a:lnTo>
                    <a:lnTo>
                      <a:pt x="15595" y="1566"/>
                    </a:lnTo>
                    <a:lnTo>
                      <a:pt x="15605" y="1565"/>
                    </a:lnTo>
                    <a:lnTo>
                      <a:pt x="15616" y="1563"/>
                    </a:lnTo>
                    <a:lnTo>
                      <a:pt x="15626" y="1562"/>
                    </a:lnTo>
                    <a:lnTo>
                      <a:pt x="15649" y="1561"/>
                    </a:lnTo>
                    <a:lnTo>
                      <a:pt x="15670" y="1557"/>
                    </a:lnTo>
                    <a:lnTo>
                      <a:pt x="15677" y="1557"/>
                    </a:lnTo>
                    <a:lnTo>
                      <a:pt x="15684" y="1557"/>
                    </a:lnTo>
                    <a:lnTo>
                      <a:pt x="15693" y="1559"/>
                    </a:lnTo>
                    <a:lnTo>
                      <a:pt x="15700" y="1561"/>
                    </a:lnTo>
                    <a:lnTo>
                      <a:pt x="15717" y="1569"/>
                    </a:lnTo>
                    <a:lnTo>
                      <a:pt x="15733" y="1580"/>
                    </a:lnTo>
                    <a:lnTo>
                      <a:pt x="15749" y="1592"/>
                    </a:lnTo>
                    <a:lnTo>
                      <a:pt x="15764" y="1605"/>
                    </a:lnTo>
                    <a:lnTo>
                      <a:pt x="15776" y="1618"/>
                    </a:lnTo>
                    <a:lnTo>
                      <a:pt x="15785" y="1628"/>
                    </a:lnTo>
                    <a:lnTo>
                      <a:pt x="15788" y="1630"/>
                    </a:lnTo>
                    <a:lnTo>
                      <a:pt x="15792" y="1627"/>
                    </a:lnTo>
                    <a:lnTo>
                      <a:pt x="15800" y="1624"/>
                    </a:lnTo>
                    <a:lnTo>
                      <a:pt x="15808" y="1620"/>
                    </a:lnTo>
                    <a:lnTo>
                      <a:pt x="15818" y="1615"/>
                    </a:lnTo>
                    <a:lnTo>
                      <a:pt x="15827" y="1612"/>
                    </a:lnTo>
                    <a:lnTo>
                      <a:pt x="15836" y="1609"/>
                    </a:lnTo>
                    <a:lnTo>
                      <a:pt x="15842" y="1608"/>
                    </a:lnTo>
                    <a:lnTo>
                      <a:pt x="15857" y="1607"/>
                    </a:lnTo>
                    <a:lnTo>
                      <a:pt x="15871" y="1605"/>
                    </a:lnTo>
                    <a:lnTo>
                      <a:pt x="15880" y="1602"/>
                    </a:lnTo>
                    <a:lnTo>
                      <a:pt x="15889" y="1598"/>
                    </a:lnTo>
                    <a:lnTo>
                      <a:pt x="15895" y="1593"/>
                    </a:lnTo>
                    <a:lnTo>
                      <a:pt x="15900" y="1589"/>
                    </a:lnTo>
                    <a:lnTo>
                      <a:pt x="15903" y="1583"/>
                    </a:lnTo>
                    <a:lnTo>
                      <a:pt x="15906" y="1575"/>
                    </a:lnTo>
                    <a:lnTo>
                      <a:pt x="15910" y="1561"/>
                    </a:lnTo>
                    <a:lnTo>
                      <a:pt x="15914" y="1544"/>
                    </a:lnTo>
                    <a:lnTo>
                      <a:pt x="15916" y="1537"/>
                    </a:lnTo>
                    <a:lnTo>
                      <a:pt x="15920" y="1528"/>
                    </a:lnTo>
                    <a:lnTo>
                      <a:pt x="15924" y="1521"/>
                    </a:lnTo>
                    <a:lnTo>
                      <a:pt x="15930" y="1513"/>
                    </a:lnTo>
                    <a:lnTo>
                      <a:pt x="15937" y="1503"/>
                    </a:lnTo>
                    <a:lnTo>
                      <a:pt x="15943" y="1488"/>
                    </a:lnTo>
                    <a:lnTo>
                      <a:pt x="15949" y="1470"/>
                    </a:lnTo>
                    <a:lnTo>
                      <a:pt x="15955" y="1449"/>
                    </a:lnTo>
                    <a:lnTo>
                      <a:pt x="15961" y="1431"/>
                    </a:lnTo>
                    <a:lnTo>
                      <a:pt x="15966" y="1415"/>
                    </a:lnTo>
                    <a:lnTo>
                      <a:pt x="15968" y="1409"/>
                    </a:lnTo>
                    <a:lnTo>
                      <a:pt x="15971" y="1405"/>
                    </a:lnTo>
                    <a:lnTo>
                      <a:pt x="15973" y="1402"/>
                    </a:lnTo>
                    <a:lnTo>
                      <a:pt x="15974" y="1401"/>
                    </a:lnTo>
                    <a:lnTo>
                      <a:pt x="15980" y="1412"/>
                    </a:lnTo>
                    <a:lnTo>
                      <a:pt x="15991" y="1436"/>
                    </a:lnTo>
                    <a:lnTo>
                      <a:pt x="15998" y="1450"/>
                    </a:lnTo>
                    <a:lnTo>
                      <a:pt x="16004" y="1463"/>
                    </a:lnTo>
                    <a:lnTo>
                      <a:pt x="16010" y="1474"/>
                    </a:lnTo>
                    <a:lnTo>
                      <a:pt x="16016" y="1482"/>
                    </a:lnTo>
                    <a:lnTo>
                      <a:pt x="16034" y="1498"/>
                    </a:lnTo>
                    <a:lnTo>
                      <a:pt x="16055" y="1514"/>
                    </a:lnTo>
                    <a:lnTo>
                      <a:pt x="16064" y="1522"/>
                    </a:lnTo>
                    <a:lnTo>
                      <a:pt x="16073" y="1532"/>
                    </a:lnTo>
                    <a:lnTo>
                      <a:pt x="16076" y="1538"/>
                    </a:lnTo>
                    <a:lnTo>
                      <a:pt x="16079" y="1543"/>
                    </a:lnTo>
                    <a:lnTo>
                      <a:pt x="16081" y="1549"/>
                    </a:lnTo>
                    <a:lnTo>
                      <a:pt x="16082" y="1556"/>
                    </a:lnTo>
                    <a:lnTo>
                      <a:pt x="16089" y="1584"/>
                    </a:lnTo>
                    <a:lnTo>
                      <a:pt x="16093" y="1605"/>
                    </a:lnTo>
                    <a:lnTo>
                      <a:pt x="16095" y="1614"/>
                    </a:lnTo>
                    <a:lnTo>
                      <a:pt x="16095" y="1621"/>
                    </a:lnTo>
                    <a:lnTo>
                      <a:pt x="16095" y="1628"/>
                    </a:lnTo>
                    <a:lnTo>
                      <a:pt x="16093" y="1634"/>
                    </a:lnTo>
                    <a:lnTo>
                      <a:pt x="16091" y="1639"/>
                    </a:lnTo>
                    <a:lnTo>
                      <a:pt x="16087" y="1645"/>
                    </a:lnTo>
                    <a:lnTo>
                      <a:pt x="16081" y="1650"/>
                    </a:lnTo>
                    <a:lnTo>
                      <a:pt x="16075" y="1655"/>
                    </a:lnTo>
                    <a:lnTo>
                      <a:pt x="16058" y="1667"/>
                    </a:lnTo>
                    <a:lnTo>
                      <a:pt x="16034" y="1683"/>
                    </a:lnTo>
                    <a:lnTo>
                      <a:pt x="16004" y="1701"/>
                    </a:lnTo>
                    <a:lnTo>
                      <a:pt x="15975" y="1722"/>
                    </a:lnTo>
                    <a:lnTo>
                      <a:pt x="15948" y="1744"/>
                    </a:lnTo>
                    <a:lnTo>
                      <a:pt x="15920" y="1766"/>
                    </a:lnTo>
                    <a:lnTo>
                      <a:pt x="15892" y="1788"/>
                    </a:lnTo>
                    <a:lnTo>
                      <a:pt x="15865" y="1811"/>
                    </a:lnTo>
                    <a:lnTo>
                      <a:pt x="15836" y="1833"/>
                    </a:lnTo>
                    <a:lnTo>
                      <a:pt x="15808" y="1853"/>
                    </a:lnTo>
                    <a:lnTo>
                      <a:pt x="15796" y="1863"/>
                    </a:lnTo>
                    <a:lnTo>
                      <a:pt x="15785" y="1870"/>
                    </a:lnTo>
                    <a:lnTo>
                      <a:pt x="15779" y="1874"/>
                    </a:lnTo>
                    <a:lnTo>
                      <a:pt x="15773" y="1876"/>
                    </a:lnTo>
                    <a:lnTo>
                      <a:pt x="15766" y="1877"/>
                    </a:lnTo>
                    <a:lnTo>
                      <a:pt x="15758" y="1879"/>
                    </a:lnTo>
                    <a:lnTo>
                      <a:pt x="15752" y="1880"/>
                    </a:lnTo>
                    <a:lnTo>
                      <a:pt x="15746" y="1882"/>
                    </a:lnTo>
                    <a:lnTo>
                      <a:pt x="15738" y="1886"/>
                    </a:lnTo>
                    <a:lnTo>
                      <a:pt x="15731" y="1892"/>
                    </a:lnTo>
                    <a:lnTo>
                      <a:pt x="15715" y="1905"/>
                    </a:lnTo>
                    <a:lnTo>
                      <a:pt x="15697" y="1921"/>
                    </a:lnTo>
                    <a:lnTo>
                      <a:pt x="15679" y="1936"/>
                    </a:lnTo>
                    <a:lnTo>
                      <a:pt x="15661" y="1951"/>
                    </a:lnTo>
                    <a:lnTo>
                      <a:pt x="15652" y="1957"/>
                    </a:lnTo>
                    <a:lnTo>
                      <a:pt x="15643" y="1963"/>
                    </a:lnTo>
                    <a:lnTo>
                      <a:pt x="15634" y="1967"/>
                    </a:lnTo>
                    <a:lnTo>
                      <a:pt x="15625" y="1970"/>
                    </a:lnTo>
                    <a:lnTo>
                      <a:pt x="15623" y="1992"/>
                    </a:lnTo>
                    <a:lnTo>
                      <a:pt x="15619" y="2013"/>
                    </a:lnTo>
                    <a:lnTo>
                      <a:pt x="15617" y="2023"/>
                    </a:lnTo>
                    <a:lnTo>
                      <a:pt x="15613" y="2033"/>
                    </a:lnTo>
                    <a:lnTo>
                      <a:pt x="15611" y="2042"/>
                    </a:lnTo>
                    <a:lnTo>
                      <a:pt x="15606" y="2051"/>
                    </a:lnTo>
                    <a:lnTo>
                      <a:pt x="15601" y="2058"/>
                    </a:lnTo>
                    <a:lnTo>
                      <a:pt x="15594" y="2065"/>
                    </a:lnTo>
                    <a:lnTo>
                      <a:pt x="15587" y="2072"/>
                    </a:lnTo>
                    <a:lnTo>
                      <a:pt x="15578" y="2078"/>
                    </a:lnTo>
                    <a:lnTo>
                      <a:pt x="15569" y="2083"/>
                    </a:lnTo>
                    <a:lnTo>
                      <a:pt x="15557" y="2087"/>
                    </a:lnTo>
                    <a:lnTo>
                      <a:pt x="15543" y="2089"/>
                    </a:lnTo>
                    <a:lnTo>
                      <a:pt x="15528" y="2092"/>
                    </a:lnTo>
                    <a:lnTo>
                      <a:pt x="15518" y="2118"/>
                    </a:lnTo>
                    <a:lnTo>
                      <a:pt x="15505" y="2155"/>
                    </a:lnTo>
                    <a:lnTo>
                      <a:pt x="15499" y="2175"/>
                    </a:lnTo>
                    <a:lnTo>
                      <a:pt x="15492" y="2192"/>
                    </a:lnTo>
                    <a:lnTo>
                      <a:pt x="15486" y="2204"/>
                    </a:lnTo>
                    <a:lnTo>
                      <a:pt x="15480" y="2212"/>
                    </a:lnTo>
                    <a:lnTo>
                      <a:pt x="15478" y="2212"/>
                    </a:lnTo>
                    <a:lnTo>
                      <a:pt x="15477" y="2212"/>
                    </a:lnTo>
                    <a:lnTo>
                      <a:pt x="15475" y="2211"/>
                    </a:lnTo>
                    <a:lnTo>
                      <a:pt x="15472" y="2208"/>
                    </a:lnTo>
                    <a:lnTo>
                      <a:pt x="15467" y="2204"/>
                    </a:lnTo>
                    <a:lnTo>
                      <a:pt x="15461" y="2198"/>
                    </a:lnTo>
                    <a:lnTo>
                      <a:pt x="15451" y="2184"/>
                    </a:lnTo>
                    <a:lnTo>
                      <a:pt x="15443" y="2176"/>
                    </a:lnTo>
                    <a:lnTo>
                      <a:pt x="15440" y="2171"/>
                    </a:lnTo>
                    <a:lnTo>
                      <a:pt x="15437" y="2167"/>
                    </a:lnTo>
                    <a:lnTo>
                      <a:pt x="15437" y="2163"/>
                    </a:lnTo>
                    <a:lnTo>
                      <a:pt x="15437" y="2157"/>
                    </a:lnTo>
                    <a:lnTo>
                      <a:pt x="15440" y="2146"/>
                    </a:lnTo>
                    <a:lnTo>
                      <a:pt x="15442" y="2134"/>
                    </a:lnTo>
                    <a:lnTo>
                      <a:pt x="15436" y="2135"/>
                    </a:lnTo>
                    <a:lnTo>
                      <a:pt x="15428" y="2139"/>
                    </a:lnTo>
                    <a:lnTo>
                      <a:pt x="15418" y="2143"/>
                    </a:lnTo>
                    <a:lnTo>
                      <a:pt x="15407" y="2149"/>
                    </a:lnTo>
                    <a:lnTo>
                      <a:pt x="15384" y="2161"/>
                    </a:lnTo>
                    <a:lnTo>
                      <a:pt x="15365" y="2169"/>
                    </a:lnTo>
                    <a:lnTo>
                      <a:pt x="15180" y="2212"/>
                    </a:lnTo>
                    <a:lnTo>
                      <a:pt x="15152" y="2219"/>
                    </a:lnTo>
                    <a:lnTo>
                      <a:pt x="15127" y="2228"/>
                    </a:lnTo>
                    <a:lnTo>
                      <a:pt x="15116" y="2232"/>
                    </a:lnTo>
                    <a:lnTo>
                      <a:pt x="15104" y="2238"/>
                    </a:lnTo>
                    <a:lnTo>
                      <a:pt x="15092" y="2246"/>
                    </a:lnTo>
                    <a:lnTo>
                      <a:pt x="15081" y="2254"/>
                    </a:lnTo>
                    <a:lnTo>
                      <a:pt x="15073" y="2258"/>
                    </a:lnTo>
                    <a:lnTo>
                      <a:pt x="15063" y="2261"/>
                    </a:lnTo>
                    <a:lnTo>
                      <a:pt x="15052" y="2263"/>
                    </a:lnTo>
                    <a:lnTo>
                      <a:pt x="15041" y="2265"/>
                    </a:lnTo>
                    <a:lnTo>
                      <a:pt x="15031" y="2266"/>
                    </a:lnTo>
                    <a:lnTo>
                      <a:pt x="15022" y="2269"/>
                    </a:lnTo>
                    <a:lnTo>
                      <a:pt x="15020" y="2270"/>
                    </a:lnTo>
                    <a:lnTo>
                      <a:pt x="15017" y="2272"/>
                    </a:lnTo>
                    <a:lnTo>
                      <a:pt x="15016" y="2273"/>
                    </a:lnTo>
                    <a:lnTo>
                      <a:pt x="15015" y="2276"/>
                    </a:lnTo>
                    <a:lnTo>
                      <a:pt x="15031" y="2578"/>
                    </a:lnTo>
                    <a:lnTo>
                      <a:pt x="15037" y="2577"/>
                    </a:lnTo>
                    <a:lnTo>
                      <a:pt x="15044" y="2572"/>
                    </a:lnTo>
                    <a:lnTo>
                      <a:pt x="15051" y="2566"/>
                    </a:lnTo>
                    <a:lnTo>
                      <a:pt x="15060" y="2557"/>
                    </a:lnTo>
                    <a:lnTo>
                      <a:pt x="15078" y="2536"/>
                    </a:lnTo>
                    <a:lnTo>
                      <a:pt x="15097" y="2510"/>
                    </a:lnTo>
                    <a:lnTo>
                      <a:pt x="15114" y="2483"/>
                    </a:lnTo>
                    <a:lnTo>
                      <a:pt x="15129" y="2458"/>
                    </a:lnTo>
                    <a:lnTo>
                      <a:pt x="15141" y="2436"/>
                    </a:lnTo>
                    <a:lnTo>
                      <a:pt x="15147" y="2421"/>
                    </a:lnTo>
                    <a:lnTo>
                      <a:pt x="15134" y="2424"/>
                    </a:lnTo>
                    <a:lnTo>
                      <a:pt x="15121" y="2429"/>
                    </a:lnTo>
                    <a:lnTo>
                      <a:pt x="15114" y="2431"/>
                    </a:lnTo>
                    <a:lnTo>
                      <a:pt x="15106" y="2432"/>
                    </a:lnTo>
                    <a:lnTo>
                      <a:pt x="15099" y="2432"/>
                    </a:lnTo>
                    <a:lnTo>
                      <a:pt x="15092" y="2430"/>
                    </a:lnTo>
                    <a:lnTo>
                      <a:pt x="15084" y="2425"/>
                    </a:lnTo>
                    <a:lnTo>
                      <a:pt x="15073" y="2417"/>
                    </a:lnTo>
                    <a:lnTo>
                      <a:pt x="15069" y="2411"/>
                    </a:lnTo>
                    <a:lnTo>
                      <a:pt x="15067" y="2406"/>
                    </a:lnTo>
                    <a:lnTo>
                      <a:pt x="15067" y="2403"/>
                    </a:lnTo>
                    <a:lnTo>
                      <a:pt x="15067" y="2402"/>
                    </a:lnTo>
                    <a:lnTo>
                      <a:pt x="15068" y="2400"/>
                    </a:lnTo>
                    <a:lnTo>
                      <a:pt x="15070" y="2399"/>
                    </a:lnTo>
                    <a:lnTo>
                      <a:pt x="15076" y="2396"/>
                    </a:lnTo>
                    <a:lnTo>
                      <a:pt x="15082" y="2395"/>
                    </a:lnTo>
                    <a:lnTo>
                      <a:pt x="15091" y="2395"/>
                    </a:lnTo>
                    <a:lnTo>
                      <a:pt x="15099" y="2395"/>
                    </a:lnTo>
                    <a:lnTo>
                      <a:pt x="15117" y="2396"/>
                    </a:lnTo>
                    <a:lnTo>
                      <a:pt x="15135" y="2397"/>
                    </a:lnTo>
                    <a:lnTo>
                      <a:pt x="15155" y="2399"/>
                    </a:lnTo>
                    <a:lnTo>
                      <a:pt x="15171" y="2399"/>
                    </a:lnTo>
                    <a:lnTo>
                      <a:pt x="15179" y="2399"/>
                    </a:lnTo>
                    <a:lnTo>
                      <a:pt x="15185" y="2396"/>
                    </a:lnTo>
                    <a:lnTo>
                      <a:pt x="15191" y="2394"/>
                    </a:lnTo>
                    <a:lnTo>
                      <a:pt x="15194" y="2390"/>
                    </a:lnTo>
                    <a:lnTo>
                      <a:pt x="15202" y="2379"/>
                    </a:lnTo>
                    <a:lnTo>
                      <a:pt x="15211" y="2366"/>
                    </a:lnTo>
                    <a:lnTo>
                      <a:pt x="15216" y="2361"/>
                    </a:lnTo>
                    <a:lnTo>
                      <a:pt x="15222" y="2359"/>
                    </a:lnTo>
                    <a:lnTo>
                      <a:pt x="15226" y="2359"/>
                    </a:lnTo>
                    <a:lnTo>
                      <a:pt x="15228" y="2359"/>
                    </a:lnTo>
                    <a:lnTo>
                      <a:pt x="15232" y="2361"/>
                    </a:lnTo>
                    <a:lnTo>
                      <a:pt x="15235" y="2364"/>
                    </a:lnTo>
                    <a:lnTo>
                      <a:pt x="15239" y="2367"/>
                    </a:lnTo>
                    <a:lnTo>
                      <a:pt x="15240" y="2370"/>
                    </a:lnTo>
                    <a:lnTo>
                      <a:pt x="15241" y="2373"/>
                    </a:lnTo>
                    <a:lnTo>
                      <a:pt x="15241" y="2377"/>
                    </a:lnTo>
                    <a:lnTo>
                      <a:pt x="15240" y="2383"/>
                    </a:lnTo>
                    <a:lnTo>
                      <a:pt x="15236" y="2390"/>
                    </a:lnTo>
                    <a:lnTo>
                      <a:pt x="15233" y="2399"/>
                    </a:lnTo>
                    <a:lnTo>
                      <a:pt x="15230" y="2408"/>
                    </a:lnTo>
                    <a:lnTo>
                      <a:pt x="15230" y="2414"/>
                    </a:lnTo>
                    <a:lnTo>
                      <a:pt x="15230" y="2421"/>
                    </a:lnTo>
                    <a:lnTo>
                      <a:pt x="15232" y="2429"/>
                    </a:lnTo>
                    <a:lnTo>
                      <a:pt x="15234" y="2437"/>
                    </a:lnTo>
                    <a:lnTo>
                      <a:pt x="15235" y="2442"/>
                    </a:lnTo>
                    <a:lnTo>
                      <a:pt x="15235" y="2447"/>
                    </a:lnTo>
                    <a:lnTo>
                      <a:pt x="15234" y="2451"/>
                    </a:lnTo>
                    <a:lnTo>
                      <a:pt x="15232" y="2456"/>
                    </a:lnTo>
                    <a:lnTo>
                      <a:pt x="15227" y="2466"/>
                    </a:lnTo>
                    <a:lnTo>
                      <a:pt x="15220" y="2477"/>
                    </a:lnTo>
                    <a:lnTo>
                      <a:pt x="15212" y="2488"/>
                    </a:lnTo>
                    <a:lnTo>
                      <a:pt x="15206" y="2498"/>
                    </a:lnTo>
                    <a:lnTo>
                      <a:pt x="15204" y="2504"/>
                    </a:lnTo>
                    <a:lnTo>
                      <a:pt x="15202" y="2510"/>
                    </a:lnTo>
                    <a:lnTo>
                      <a:pt x="15200" y="2516"/>
                    </a:lnTo>
                    <a:lnTo>
                      <a:pt x="15200" y="2522"/>
                    </a:lnTo>
                    <a:lnTo>
                      <a:pt x="15206" y="2520"/>
                    </a:lnTo>
                    <a:lnTo>
                      <a:pt x="15211" y="2516"/>
                    </a:lnTo>
                    <a:lnTo>
                      <a:pt x="15216" y="2513"/>
                    </a:lnTo>
                    <a:lnTo>
                      <a:pt x="15221" y="2508"/>
                    </a:lnTo>
                    <a:lnTo>
                      <a:pt x="15229" y="2498"/>
                    </a:lnTo>
                    <a:lnTo>
                      <a:pt x="15238" y="2489"/>
                    </a:lnTo>
                    <a:lnTo>
                      <a:pt x="15247" y="2479"/>
                    </a:lnTo>
                    <a:lnTo>
                      <a:pt x="15257" y="2471"/>
                    </a:lnTo>
                    <a:lnTo>
                      <a:pt x="15263" y="2467"/>
                    </a:lnTo>
                    <a:lnTo>
                      <a:pt x="15269" y="2465"/>
                    </a:lnTo>
                    <a:lnTo>
                      <a:pt x="15276" y="2464"/>
                    </a:lnTo>
                    <a:lnTo>
                      <a:pt x="15283" y="2464"/>
                    </a:lnTo>
                    <a:lnTo>
                      <a:pt x="15289" y="2462"/>
                    </a:lnTo>
                    <a:lnTo>
                      <a:pt x="15293" y="2460"/>
                    </a:lnTo>
                    <a:lnTo>
                      <a:pt x="15297" y="2455"/>
                    </a:lnTo>
                    <a:lnTo>
                      <a:pt x="15299" y="2450"/>
                    </a:lnTo>
                    <a:lnTo>
                      <a:pt x="15301" y="2437"/>
                    </a:lnTo>
                    <a:lnTo>
                      <a:pt x="15301" y="2421"/>
                    </a:lnTo>
                    <a:lnTo>
                      <a:pt x="15301" y="2406"/>
                    </a:lnTo>
                    <a:lnTo>
                      <a:pt x="15301" y="2393"/>
                    </a:lnTo>
                    <a:lnTo>
                      <a:pt x="15303" y="2387"/>
                    </a:lnTo>
                    <a:lnTo>
                      <a:pt x="15304" y="2383"/>
                    </a:lnTo>
                    <a:lnTo>
                      <a:pt x="15306" y="2380"/>
                    </a:lnTo>
                    <a:lnTo>
                      <a:pt x="15309" y="2379"/>
                    </a:lnTo>
                    <a:lnTo>
                      <a:pt x="15311" y="2399"/>
                    </a:lnTo>
                    <a:lnTo>
                      <a:pt x="15315" y="2418"/>
                    </a:lnTo>
                    <a:lnTo>
                      <a:pt x="15317" y="2427"/>
                    </a:lnTo>
                    <a:lnTo>
                      <a:pt x="15318" y="2437"/>
                    </a:lnTo>
                    <a:lnTo>
                      <a:pt x="15319" y="2447"/>
                    </a:lnTo>
                    <a:lnTo>
                      <a:pt x="15318" y="2456"/>
                    </a:lnTo>
                    <a:lnTo>
                      <a:pt x="15317" y="2465"/>
                    </a:lnTo>
                    <a:lnTo>
                      <a:pt x="15315" y="2473"/>
                    </a:lnTo>
                    <a:lnTo>
                      <a:pt x="15311" y="2482"/>
                    </a:lnTo>
                    <a:lnTo>
                      <a:pt x="15307" y="2489"/>
                    </a:lnTo>
                    <a:lnTo>
                      <a:pt x="15304" y="2497"/>
                    </a:lnTo>
                    <a:lnTo>
                      <a:pt x="15301" y="2504"/>
                    </a:lnTo>
                    <a:lnTo>
                      <a:pt x="15299" y="2513"/>
                    </a:lnTo>
                    <a:lnTo>
                      <a:pt x="15299" y="2520"/>
                    </a:lnTo>
                    <a:lnTo>
                      <a:pt x="15303" y="2519"/>
                    </a:lnTo>
                    <a:lnTo>
                      <a:pt x="15307" y="2516"/>
                    </a:lnTo>
                    <a:lnTo>
                      <a:pt x="15311" y="2513"/>
                    </a:lnTo>
                    <a:lnTo>
                      <a:pt x="15316" y="2508"/>
                    </a:lnTo>
                    <a:lnTo>
                      <a:pt x="15323" y="2497"/>
                    </a:lnTo>
                    <a:lnTo>
                      <a:pt x="15332" y="2486"/>
                    </a:lnTo>
                    <a:lnTo>
                      <a:pt x="15341" y="2476"/>
                    </a:lnTo>
                    <a:lnTo>
                      <a:pt x="15351" y="2466"/>
                    </a:lnTo>
                    <a:lnTo>
                      <a:pt x="15356" y="2462"/>
                    </a:lnTo>
                    <a:lnTo>
                      <a:pt x="15362" y="2459"/>
                    </a:lnTo>
                    <a:lnTo>
                      <a:pt x="15366" y="2458"/>
                    </a:lnTo>
                    <a:lnTo>
                      <a:pt x="15372" y="2456"/>
                    </a:lnTo>
                    <a:lnTo>
                      <a:pt x="15370" y="2468"/>
                    </a:lnTo>
                    <a:lnTo>
                      <a:pt x="15365" y="2485"/>
                    </a:lnTo>
                    <a:lnTo>
                      <a:pt x="15363" y="2494"/>
                    </a:lnTo>
                    <a:lnTo>
                      <a:pt x="15360" y="2501"/>
                    </a:lnTo>
                    <a:lnTo>
                      <a:pt x="15360" y="2506"/>
                    </a:lnTo>
                    <a:lnTo>
                      <a:pt x="15363" y="2508"/>
                    </a:lnTo>
                    <a:lnTo>
                      <a:pt x="15366" y="2507"/>
                    </a:lnTo>
                    <a:lnTo>
                      <a:pt x="15370" y="2503"/>
                    </a:lnTo>
                    <a:lnTo>
                      <a:pt x="15374" y="2497"/>
                    </a:lnTo>
                    <a:lnTo>
                      <a:pt x="15377" y="2491"/>
                    </a:lnTo>
                    <a:lnTo>
                      <a:pt x="15381" y="2486"/>
                    </a:lnTo>
                    <a:lnTo>
                      <a:pt x="15386" y="2480"/>
                    </a:lnTo>
                    <a:lnTo>
                      <a:pt x="15389" y="2477"/>
                    </a:lnTo>
                    <a:lnTo>
                      <a:pt x="15395" y="2476"/>
                    </a:lnTo>
                    <a:lnTo>
                      <a:pt x="15395" y="2494"/>
                    </a:lnTo>
                    <a:lnTo>
                      <a:pt x="15396" y="2504"/>
                    </a:lnTo>
                    <a:lnTo>
                      <a:pt x="15398" y="2512"/>
                    </a:lnTo>
                    <a:lnTo>
                      <a:pt x="15400" y="2515"/>
                    </a:lnTo>
                    <a:lnTo>
                      <a:pt x="15403" y="2518"/>
                    </a:lnTo>
                    <a:lnTo>
                      <a:pt x="15409" y="2522"/>
                    </a:lnTo>
                    <a:lnTo>
                      <a:pt x="15415" y="2531"/>
                    </a:lnTo>
                    <a:lnTo>
                      <a:pt x="15423" y="2544"/>
                    </a:lnTo>
                    <a:lnTo>
                      <a:pt x="15425" y="2547"/>
                    </a:lnTo>
                    <a:lnTo>
                      <a:pt x="15428" y="2545"/>
                    </a:lnTo>
                    <a:lnTo>
                      <a:pt x="15430" y="2543"/>
                    </a:lnTo>
                    <a:lnTo>
                      <a:pt x="15433" y="2539"/>
                    </a:lnTo>
                    <a:lnTo>
                      <a:pt x="15437" y="2526"/>
                    </a:lnTo>
                    <a:lnTo>
                      <a:pt x="15442" y="2509"/>
                    </a:lnTo>
                    <a:lnTo>
                      <a:pt x="15446" y="2494"/>
                    </a:lnTo>
                    <a:lnTo>
                      <a:pt x="15451" y="2479"/>
                    </a:lnTo>
                    <a:lnTo>
                      <a:pt x="15453" y="2474"/>
                    </a:lnTo>
                    <a:lnTo>
                      <a:pt x="15454" y="2472"/>
                    </a:lnTo>
                    <a:lnTo>
                      <a:pt x="15455" y="2471"/>
                    </a:lnTo>
                    <a:lnTo>
                      <a:pt x="15457" y="2471"/>
                    </a:lnTo>
                    <a:lnTo>
                      <a:pt x="15457" y="2472"/>
                    </a:lnTo>
                    <a:lnTo>
                      <a:pt x="15458" y="2473"/>
                    </a:lnTo>
                    <a:lnTo>
                      <a:pt x="15459" y="2478"/>
                    </a:lnTo>
                    <a:lnTo>
                      <a:pt x="15460" y="2485"/>
                    </a:lnTo>
                    <a:lnTo>
                      <a:pt x="15460" y="2494"/>
                    </a:lnTo>
                    <a:lnTo>
                      <a:pt x="15459" y="2502"/>
                    </a:lnTo>
                    <a:lnTo>
                      <a:pt x="15455" y="2524"/>
                    </a:lnTo>
                    <a:lnTo>
                      <a:pt x="15451" y="2547"/>
                    </a:lnTo>
                    <a:lnTo>
                      <a:pt x="15445" y="2571"/>
                    </a:lnTo>
                    <a:lnTo>
                      <a:pt x="15439" y="2594"/>
                    </a:lnTo>
                    <a:lnTo>
                      <a:pt x="15435" y="2614"/>
                    </a:lnTo>
                    <a:lnTo>
                      <a:pt x="15434" y="2631"/>
                    </a:lnTo>
                    <a:lnTo>
                      <a:pt x="15434" y="2645"/>
                    </a:lnTo>
                    <a:lnTo>
                      <a:pt x="15434" y="2662"/>
                    </a:lnTo>
                    <a:lnTo>
                      <a:pt x="15434" y="2680"/>
                    </a:lnTo>
                    <a:lnTo>
                      <a:pt x="15436" y="2698"/>
                    </a:lnTo>
                    <a:lnTo>
                      <a:pt x="15437" y="2708"/>
                    </a:lnTo>
                    <a:lnTo>
                      <a:pt x="15440" y="2716"/>
                    </a:lnTo>
                    <a:lnTo>
                      <a:pt x="15442" y="2723"/>
                    </a:lnTo>
                    <a:lnTo>
                      <a:pt x="15446" y="2731"/>
                    </a:lnTo>
                    <a:lnTo>
                      <a:pt x="15449" y="2737"/>
                    </a:lnTo>
                    <a:lnTo>
                      <a:pt x="15454" y="2743"/>
                    </a:lnTo>
                    <a:lnTo>
                      <a:pt x="15460" y="2746"/>
                    </a:lnTo>
                    <a:lnTo>
                      <a:pt x="15466" y="2750"/>
                    </a:lnTo>
                    <a:lnTo>
                      <a:pt x="15463" y="2731"/>
                    </a:lnTo>
                    <a:lnTo>
                      <a:pt x="15459" y="2714"/>
                    </a:lnTo>
                    <a:lnTo>
                      <a:pt x="15458" y="2697"/>
                    </a:lnTo>
                    <a:lnTo>
                      <a:pt x="15458" y="2680"/>
                    </a:lnTo>
                    <a:lnTo>
                      <a:pt x="15458" y="2665"/>
                    </a:lnTo>
                    <a:lnTo>
                      <a:pt x="15459" y="2649"/>
                    </a:lnTo>
                    <a:lnTo>
                      <a:pt x="15461" y="2634"/>
                    </a:lnTo>
                    <a:lnTo>
                      <a:pt x="15465" y="2619"/>
                    </a:lnTo>
                    <a:lnTo>
                      <a:pt x="15474" y="2590"/>
                    </a:lnTo>
                    <a:lnTo>
                      <a:pt x="15483" y="2561"/>
                    </a:lnTo>
                    <a:lnTo>
                      <a:pt x="15495" y="2531"/>
                    </a:lnTo>
                    <a:lnTo>
                      <a:pt x="15507" y="2500"/>
                    </a:lnTo>
                    <a:lnTo>
                      <a:pt x="15507" y="2490"/>
                    </a:lnTo>
                    <a:lnTo>
                      <a:pt x="15505" y="2478"/>
                    </a:lnTo>
                    <a:lnTo>
                      <a:pt x="15504" y="2472"/>
                    </a:lnTo>
                    <a:lnTo>
                      <a:pt x="15505" y="2466"/>
                    </a:lnTo>
                    <a:lnTo>
                      <a:pt x="15506" y="2461"/>
                    </a:lnTo>
                    <a:lnTo>
                      <a:pt x="15511" y="2456"/>
                    </a:lnTo>
                    <a:lnTo>
                      <a:pt x="15524" y="2448"/>
                    </a:lnTo>
                    <a:lnTo>
                      <a:pt x="15539" y="2438"/>
                    </a:lnTo>
                    <a:lnTo>
                      <a:pt x="15554" y="2426"/>
                    </a:lnTo>
                    <a:lnTo>
                      <a:pt x="15569" y="2413"/>
                    </a:lnTo>
                    <a:lnTo>
                      <a:pt x="15576" y="2407"/>
                    </a:lnTo>
                    <a:lnTo>
                      <a:pt x="15582" y="2400"/>
                    </a:lnTo>
                    <a:lnTo>
                      <a:pt x="15588" y="2391"/>
                    </a:lnTo>
                    <a:lnTo>
                      <a:pt x="15593" y="2384"/>
                    </a:lnTo>
                    <a:lnTo>
                      <a:pt x="15596" y="2376"/>
                    </a:lnTo>
                    <a:lnTo>
                      <a:pt x="15600" y="2368"/>
                    </a:lnTo>
                    <a:lnTo>
                      <a:pt x="15601" y="2360"/>
                    </a:lnTo>
                    <a:lnTo>
                      <a:pt x="15602" y="2352"/>
                    </a:lnTo>
                    <a:lnTo>
                      <a:pt x="15590" y="2354"/>
                    </a:lnTo>
                    <a:lnTo>
                      <a:pt x="15578" y="2356"/>
                    </a:lnTo>
                    <a:lnTo>
                      <a:pt x="15581" y="2348"/>
                    </a:lnTo>
                    <a:lnTo>
                      <a:pt x="15587" y="2337"/>
                    </a:lnTo>
                    <a:lnTo>
                      <a:pt x="15595" y="2324"/>
                    </a:lnTo>
                    <a:lnTo>
                      <a:pt x="15605" y="2311"/>
                    </a:lnTo>
                    <a:lnTo>
                      <a:pt x="15624" y="2282"/>
                    </a:lnTo>
                    <a:lnTo>
                      <a:pt x="15638" y="2261"/>
                    </a:lnTo>
                    <a:lnTo>
                      <a:pt x="15653" y="2232"/>
                    </a:lnTo>
                    <a:lnTo>
                      <a:pt x="15666" y="2201"/>
                    </a:lnTo>
                    <a:lnTo>
                      <a:pt x="15672" y="2186"/>
                    </a:lnTo>
                    <a:lnTo>
                      <a:pt x="15679" y="2170"/>
                    </a:lnTo>
                    <a:lnTo>
                      <a:pt x="15687" y="2157"/>
                    </a:lnTo>
                    <a:lnTo>
                      <a:pt x="15695" y="2145"/>
                    </a:lnTo>
                    <a:lnTo>
                      <a:pt x="15696" y="2121"/>
                    </a:lnTo>
                    <a:lnTo>
                      <a:pt x="15699" y="2095"/>
                    </a:lnTo>
                    <a:lnTo>
                      <a:pt x="15700" y="2089"/>
                    </a:lnTo>
                    <a:lnTo>
                      <a:pt x="15701" y="2084"/>
                    </a:lnTo>
                    <a:lnTo>
                      <a:pt x="15703" y="2080"/>
                    </a:lnTo>
                    <a:lnTo>
                      <a:pt x="15706" y="2076"/>
                    </a:lnTo>
                    <a:lnTo>
                      <a:pt x="15709" y="2072"/>
                    </a:lnTo>
                    <a:lnTo>
                      <a:pt x="15713" y="2070"/>
                    </a:lnTo>
                    <a:lnTo>
                      <a:pt x="15718" y="2068"/>
                    </a:lnTo>
                    <a:lnTo>
                      <a:pt x="15724" y="2068"/>
                    </a:lnTo>
                    <a:lnTo>
                      <a:pt x="15738" y="2066"/>
                    </a:lnTo>
                    <a:lnTo>
                      <a:pt x="15752" y="2064"/>
                    </a:lnTo>
                    <a:lnTo>
                      <a:pt x="15764" y="2062"/>
                    </a:lnTo>
                    <a:lnTo>
                      <a:pt x="15774" y="2059"/>
                    </a:lnTo>
                    <a:lnTo>
                      <a:pt x="15795" y="2051"/>
                    </a:lnTo>
                    <a:lnTo>
                      <a:pt x="15814" y="2042"/>
                    </a:lnTo>
                    <a:lnTo>
                      <a:pt x="15853" y="2019"/>
                    </a:lnTo>
                    <a:lnTo>
                      <a:pt x="15895" y="1997"/>
                    </a:lnTo>
                    <a:lnTo>
                      <a:pt x="15910" y="1991"/>
                    </a:lnTo>
                    <a:lnTo>
                      <a:pt x="15927" y="1986"/>
                    </a:lnTo>
                    <a:lnTo>
                      <a:pt x="15936" y="1983"/>
                    </a:lnTo>
                    <a:lnTo>
                      <a:pt x="15943" y="1981"/>
                    </a:lnTo>
                    <a:lnTo>
                      <a:pt x="15951" y="1979"/>
                    </a:lnTo>
                    <a:lnTo>
                      <a:pt x="15959" y="1974"/>
                    </a:lnTo>
                    <a:lnTo>
                      <a:pt x="15987" y="1954"/>
                    </a:lnTo>
                    <a:lnTo>
                      <a:pt x="16013" y="1936"/>
                    </a:lnTo>
                    <a:lnTo>
                      <a:pt x="16025" y="1928"/>
                    </a:lnTo>
                    <a:lnTo>
                      <a:pt x="16038" y="1920"/>
                    </a:lnTo>
                    <a:lnTo>
                      <a:pt x="16052" y="1912"/>
                    </a:lnTo>
                    <a:lnTo>
                      <a:pt x="16069" y="1906"/>
                    </a:lnTo>
                    <a:lnTo>
                      <a:pt x="16099" y="1896"/>
                    </a:lnTo>
                    <a:lnTo>
                      <a:pt x="16144" y="1883"/>
                    </a:lnTo>
                    <a:lnTo>
                      <a:pt x="16164" y="1880"/>
                    </a:lnTo>
                    <a:lnTo>
                      <a:pt x="16182" y="1879"/>
                    </a:lnTo>
                    <a:lnTo>
                      <a:pt x="16190" y="1880"/>
                    </a:lnTo>
                    <a:lnTo>
                      <a:pt x="16194" y="1881"/>
                    </a:lnTo>
                    <a:lnTo>
                      <a:pt x="16197" y="1882"/>
                    </a:lnTo>
                    <a:lnTo>
                      <a:pt x="16198" y="1885"/>
                    </a:lnTo>
                    <a:lnTo>
                      <a:pt x="16198" y="1886"/>
                    </a:lnTo>
                    <a:lnTo>
                      <a:pt x="16199" y="1888"/>
                    </a:lnTo>
                    <a:lnTo>
                      <a:pt x="16198" y="1911"/>
                    </a:lnTo>
                    <a:lnTo>
                      <a:pt x="16198" y="1935"/>
                    </a:lnTo>
                    <a:lnTo>
                      <a:pt x="16199" y="1946"/>
                    </a:lnTo>
                    <a:lnTo>
                      <a:pt x="16202" y="1957"/>
                    </a:lnTo>
                    <a:lnTo>
                      <a:pt x="16204" y="1969"/>
                    </a:lnTo>
                    <a:lnTo>
                      <a:pt x="16208" y="1979"/>
                    </a:lnTo>
                    <a:lnTo>
                      <a:pt x="16210" y="1988"/>
                    </a:lnTo>
                    <a:lnTo>
                      <a:pt x="16210" y="1997"/>
                    </a:lnTo>
                    <a:lnTo>
                      <a:pt x="16210" y="2004"/>
                    </a:lnTo>
                    <a:lnTo>
                      <a:pt x="16209" y="2010"/>
                    </a:lnTo>
                    <a:lnTo>
                      <a:pt x="16205" y="2023"/>
                    </a:lnTo>
                    <a:lnTo>
                      <a:pt x="16203" y="2038"/>
                    </a:lnTo>
                    <a:lnTo>
                      <a:pt x="16215" y="2044"/>
                    </a:lnTo>
                    <a:lnTo>
                      <a:pt x="16226" y="2052"/>
                    </a:lnTo>
                    <a:lnTo>
                      <a:pt x="16238" y="2060"/>
                    </a:lnTo>
                    <a:lnTo>
                      <a:pt x="16250" y="2070"/>
                    </a:lnTo>
                    <a:lnTo>
                      <a:pt x="16262" y="2078"/>
                    </a:lnTo>
                    <a:lnTo>
                      <a:pt x="16274" y="2087"/>
                    </a:lnTo>
                    <a:lnTo>
                      <a:pt x="16285" y="2094"/>
                    </a:lnTo>
                    <a:lnTo>
                      <a:pt x="16297" y="2099"/>
                    </a:lnTo>
                    <a:lnTo>
                      <a:pt x="16303" y="2100"/>
                    </a:lnTo>
                    <a:lnTo>
                      <a:pt x="16308" y="2100"/>
                    </a:lnTo>
                    <a:lnTo>
                      <a:pt x="16311" y="2098"/>
                    </a:lnTo>
                    <a:lnTo>
                      <a:pt x="16314" y="2094"/>
                    </a:lnTo>
                    <a:lnTo>
                      <a:pt x="16314" y="2089"/>
                    </a:lnTo>
                    <a:lnTo>
                      <a:pt x="16314" y="2083"/>
                    </a:lnTo>
                    <a:lnTo>
                      <a:pt x="16314" y="2077"/>
                    </a:lnTo>
                    <a:lnTo>
                      <a:pt x="16311" y="2070"/>
                    </a:lnTo>
                    <a:lnTo>
                      <a:pt x="16303" y="2040"/>
                    </a:lnTo>
                    <a:lnTo>
                      <a:pt x="16298" y="2022"/>
                    </a:lnTo>
                    <a:lnTo>
                      <a:pt x="16298" y="2017"/>
                    </a:lnTo>
                    <a:lnTo>
                      <a:pt x="16299" y="2013"/>
                    </a:lnTo>
                    <a:lnTo>
                      <a:pt x="16300" y="2010"/>
                    </a:lnTo>
                    <a:lnTo>
                      <a:pt x="16303" y="2007"/>
                    </a:lnTo>
                    <a:lnTo>
                      <a:pt x="16309" y="2001"/>
                    </a:lnTo>
                    <a:lnTo>
                      <a:pt x="16316" y="1998"/>
                    </a:lnTo>
                    <a:lnTo>
                      <a:pt x="16332" y="1991"/>
                    </a:lnTo>
                    <a:lnTo>
                      <a:pt x="16347" y="1983"/>
                    </a:lnTo>
                    <a:lnTo>
                      <a:pt x="16357" y="1977"/>
                    </a:lnTo>
                    <a:lnTo>
                      <a:pt x="16367" y="1968"/>
                    </a:lnTo>
                    <a:lnTo>
                      <a:pt x="16376" y="1958"/>
                    </a:lnTo>
                    <a:lnTo>
                      <a:pt x="16387" y="1947"/>
                    </a:lnTo>
                    <a:lnTo>
                      <a:pt x="16406" y="1924"/>
                    </a:lnTo>
                    <a:lnTo>
                      <a:pt x="16423" y="1905"/>
                    </a:lnTo>
                    <a:lnTo>
                      <a:pt x="16428" y="1900"/>
                    </a:lnTo>
                    <a:lnTo>
                      <a:pt x="16430" y="1896"/>
                    </a:lnTo>
                    <a:lnTo>
                      <a:pt x="16433" y="1889"/>
                    </a:lnTo>
                    <a:lnTo>
                      <a:pt x="16435" y="1885"/>
                    </a:lnTo>
                    <a:lnTo>
                      <a:pt x="16438" y="1873"/>
                    </a:lnTo>
                    <a:lnTo>
                      <a:pt x="16440" y="1859"/>
                    </a:lnTo>
                    <a:lnTo>
                      <a:pt x="16444" y="1847"/>
                    </a:lnTo>
                    <a:lnTo>
                      <a:pt x="16450" y="1835"/>
                    </a:lnTo>
                    <a:lnTo>
                      <a:pt x="16453" y="1829"/>
                    </a:lnTo>
                    <a:lnTo>
                      <a:pt x="16458" y="1825"/>
                    </a:lnTo>
                    <a:lnTo>
                      <a:pt x="16464" y="1820"/>
                    </a:lnTo>
                    <a:lnTo>
                      <a:pt x="16471" y="1815"/>
                    </a:lnTo>
                    <a:lnTo>
                      <a:pt x="16512" y="1775"/>
                    </a:lnTo>
                    <a:lnTo>
                      <a:pt x="16512" y="16724"/>
                    </a:lnTo>
                    <a:lnTo>
                      <a:pt x="16224" y="16724"/>
                    </a:lnTo>
                    <a:lnTo>
                      <a:pt x="16222" y="16702"/>
                    </a:lnTo>
                    <a:lnTo>
                      <a:pt x="16221" y="16687"/>
                    </a:lnTo>
                    <a:lnTo>
                      <a:pt x="16217" y="16672"/>
                    </a:lnTo>
                    <a:lnTo>
                      <a:pt x="16212" y="16659"/>
                    </a:lnTo>
                    <a:lnTo>
                      <a:pt x="16211" y="16644"/>
                    </a:lnTo>
                    <a:lnTo>
                      <a:pt x="16211" y="16619"/>
                    </a:lnTo>
                    <a:lnTo>
                      <a:pt x="16212" y="16588"/>
                    </a:lnTo>
                    <a:lnTo>
                      <a:pt x="16214" y="16573"/>
                    </a:lnTo>
                    <a:lnTo>
                      <a:pt x="16215" y="16558"/>
                    </a:lnTo>
                    <a:lnTo>
                      <a:pt x="16217" y="16546"/>
                    </a:lnTo>
                    <a:lnTo>
                      <a:pt x="16221" y="16536"/>
                    </a:lnTo>
                    <a:lnTo>
                      <a:pt x="16226" y="16529"/>
                    </a:lnTo>
                    <a:lnTo>
                      <a:pt x="16232" y="16521"/>
                    </a:lnTo>
                    <a:lnTo>
                      <a:pt x="16239" y="16514"/>
                    </a:lnTo>
                    <a:lnTo>
                      <a:pt x="16246" y="16506"/>
                    </a:lnTo>
                    <a:lnTo>
                      <a:pt x="16253" y="16499"/>
                    </a:lnTo>
                    <a:lnTo>
                      <a:pt x="16261" y="16491"/>
                    </a:lnTo>
                    <a:lnTo>
                      <a:pt x="16267" y="16482"/>
                    </a:lnTo>
                    <a:lnTo>
                      <a:pt x="16271" y="16474"/>
                    </a:lnTo>
                    <a:lnTo>
                      <a:pt x="16274" y="16471"/>
                    </a:lnTo>
                    <a:lnTo>
                      <a:pt x="16276" y="16470"/>
                    </a:lnTo>
                    <a:lnTo>
                      <a:pt x="16280" y="16468"/>
                    </a:lnTo>
                    <a:lnTo>
                      <a:pt x="16285" y="16468"/>
                    </a:lnTo>
                    <a:lnTo>
                      <a:pt x="16293" y="16467"/>
                    </a:lnTo>
                    <a:lnTo>
                      <a:pt x="16302" y="16469"/>
                    </a:lnTo>
                    <a:lnTo>
                      <a:pt x="16306" y="16471"/>
                    </a:lnTo>
                    <a:lnTo>
                      <a:pt x="16310" y="16473"/>
                    </a:lnTo>
                    <a:lnTo>
                      <a:pt x="16312" y="16476"/>
                    </a:lnTo>
                    <a:lnTo>
                      <a:pt x="16315" y="16479"/>
                    </a:lnTo>
                    <a:lnTo>
                      <a:pt x="16317" y="16482"/>
                    </a:lnTo>
                    <a:lnTo>
                      <a:pt x="16317" y="16487"/>
                    </a:lnTo>
                    <a:lnTo>
                      <a:pt x="16317" y="16492"/>
                    </a:lnTo>
                    <a:lnTo>
                      <a:pt x="16316" y="16497"/>
                    </a:lnTo>
                    <a:lnTo>
                      <a:pt x="16299" y="16520"/>
                    </a:lnTo>
                    <a:lnTo>
                      <a:pt x="16273" y="16554"/>
                    </a:lnTo>
                    <a:lnTo>
                      <a:pt x="16261" y="16571"/>
                    </a:lnTo>
                    <a:lnTo>
                      <a:pt x="16250" y="16587"/>
                    </a:lnTo>
                    <a:lnTo>
                      <a:pt x="16246" y="16593"/>
                    </a:lnTo>
                    <a:lnTo>
                      <a:pt x="16244" y="16599"/>
                    </a:lnTo>
                    <a:lnTo>
                      <a:pt x="16243" y="16603"/>
                    </a:lnTo>
                    <a:lnTo>
                      <a:pt x="16244" y="16606"/>
                    </a:lnTo>
                    <a:lnTo>
                      <a:pt x="16249" y="16611"/>
                    </a:lnTo>
                    <a:lnTo>
                      <a:pt x="16253" y="16615"/>
                    </a:lnTo>
                    <a:lnTo>
                      <a:pt x="16259" y="16616"/>
                    </a:lnTo>
                    <a:lnTo>
                      <a:pt x="16265" y="16616"/>
                    </a:lnTo>
                    <a:lnTo>
                      <a:pt x="16270" y="16615"/>
                    </a:lnTo>
                    <a:lnTo>
                      <a:pt x="16277" y="16613"/>
                    </a:lnTo>
                    <a:lnTo>
                      <a:pt x="16283" y="16613"/>
                    </a:lnTo>
                    <a:lnTo>
                      <a:pt x="16289" y="16615"/>
                    </a:lnTo>
                    <a:lnTo>
                      <a:pt x="16300" y="16619"/>
                    </a:lnTo>
                    <a:lnTo>
                      <a:pt x="16306" y="16624"/>
                    </a:lnTo>
                    <a:lnTo>
                      <a:pt x="16306" y="16617"/>
                    </a:lnTo>
                    <a:lnTo>
                      <a:pt x="16304" y="16611"/>
                    </a:lnTo>
                    <a:lnTo>
                      <a:pt x="16302" y="16606"/>
                    </a:lnTo>
                    <a:lnTo>
                      <a:pt x="16298" y="16600"/>
                    </a:lnTo>
                    <a:lnTo>
                      <a:pt x="16293" y="16591"/>
                    </a:lnTo>
                    <a:lnTo>
                      <a:pt x="16289" y="16581"/>
                    </a:lnTo>
                    <a:lnTo>
                      <a:pt x="16303" y="16583"/>
                    </a:lnTo>
                    <a:lnTo>
                      <a:pt x="16316" y="16587"/>
                    </a:lnTo>
                    <a:lnTo>
                      <a:pt x="16328" y="16592"/>
                    </a:lnTo>
                    <a:lnTo>
                      <a:pt x="16341" y="16593"/>
                    </a:lnTo>
                    <a:lnTo>
                      <a:pt x="16358" y="16593"/>
                    </a:lnTo>
                    <a:lnTo>
                      <a:pt x="16370" y="16594"/>
                    </a:lnTo>
                    <a:lnTo>
                      <a:pt x="16375" y="16597"/>
                    </a:lnTo>
                    <a:lnTo>
                      <a:pt x="16381" y="16600"/>
                    </a:lnTo>
                    <a:lnTo>
                      <a:pt x="16386" y="16605"/>
                    </a:lnTo>
                    <a:lnTo>
                      <a:pt x="16392" y="16612"/>
                    </a:lnTo>
                    <a:lnTo>
                      <a:pt x="16399" y="16621"/>
                    </a:lnTo>
                    <a:lnTo>
                      <a:pt x="16406" y="16628"/>
                    </a:lnTo>
                    <a:lnTo>
                      <a:pt x="16413" y="16633"/>
                    </a:lnTo>
                    <a:lnTo>
                      <a:pt x="16419" y="16636"/>
                    </a:lnTo>
                    <a:lnTo>
                      <a:pt x="16425" y="16637"/>
                    </a:lnTo>
                    <a:lnTo>
                      <a:pt x="16430" y="16637"/>
                    </a:lnTo>
                    <a:lnTo>
                      <a:pt x="16435" y="16636"/>
                    </a:lnTo>
                    <a:lnTo>
                      <a:pt x="16439" y="16634"/>
                    </a:lnTo>
                    <a:lnTo>
                      <a:pt x="16442" y="16630"/>
                    </a:lnTo>
                    <a:lnTo>
                      <a:pt x="16444" y="16627"/>
                    </a:lnTo>
                    <a:lnTo>
                      <a:pt x="16445" y="16622"/>
                    </a:lnTo>
                    <a:lnTo>
                      <a:pt x="16445" y="16617"/>
                    </a:lnTo>
                    <a:lnTo>
                      <a:pt x="16442" y="16611"/>
                    </a:lnTo>
                    <a:lnTo>
                      <a:pt x="16440" y="16606"/>
                    </a:lnTo>
                    <a:lnTo>
                      <a:pt x="16435" y="16600"/>
                    </a:lnTo>
                    <a:lnTo>
                      <a:pt x="16429" y="16595"/>
                    </a:lnTo>
                    <a:lnTo>
                      <a:pt x="16416" y="16585"/>
                    </a:lnTo>
                    <a:lnTo>
                      <a:pt x="16404" y="16575"/>
                    </a:lnTo>
                    <a:lnTo>
                      <a:pt x="16392" y="16564"/>
                    </a:lnTo>
                    <a:lnTo>
                      <a:pt x="16380" y="16553"/>
                    </a:lnTo>
                    <a:lnTo>
                      <a:pt x="16373" y="16547"/>
                    </a:lnTo>
                    <a:lnTo>
                      <a:pt x="16367" y="16541"/>
                    </a:lnTo>
                    <a:lnTo>
                      <a:pt x="16362" y="16535"/>
                    </a:lnTo>
                    <a:lnTo>
                      <a:pt x="16359" y="16530"/>
                    </a:lnTo>
                    <a:lnTo>
                      <a:pt x="16357" y="16527"/>
                    </a:lnTo>
                    <a:lnTo>
                      <a:pt x="16357" y="16522"/>
                    </a:lnTo>
                    <a:lnTo>
                      <a:pt x="16357" y="16518"/>
                    </a:lnTo>
                    <a:lnTo>
                      <a:pt x="16358" y="16515"/>
                    </a:lnTo>
                    <a:lnTo>
                      <a:pt x="16363" y="16506"/>
                    </a:lnTo>
                    <a:lnTo>
                      <a:pt x="16368" y="16497"/>
                    </a:lnTo>
                    <a:lnTo>
                      <a:pt x="16370" y="16491"/>
                    </a:lnTo>
                    <a:lnTo>
                      <a:pt x="16373" y="16485"/>
                    </a:lnTo>
                    <a:lnTo>
                      <a:pt x="16374" y="16477"/>
                    </a:lnTo>
                    <a:lnTo>
                      <a:pt x="16375" y="16469"/>
                    </a:lnTo>
                    <a:lnTo>
                      <a:pt x="16374" y="16463"/>
                    </a:lnTo>
                    <a:lnTo>
                      <a:pt x="16373" y="16456"/>
                    </a:lnTo>
                    <a:lnTo>
                      <a:pt x="16370" y="16449"/>
                    </a:lnTo>
                    <a:lnTo>
                      <a:pt x="16367" y="16441"/>
                    </a:lnTo>
                    <a:lnTo>
                      <a:pt x="16364" y="16435"/>
                    </a:lnTo>
                    <a:lnTo>
                      <a:pt x="16363" y="16429"/>
                    </a:lnTo>
                    <a:lnTo>
                      <a:pt x="16363" y="16423"/>
                    </a:lnTo>
                    <a:lnTo>
                      <a:pt x="16364" y="16418"/>
                    </a:lnTo>
                    <a:lnTo>
                      <a:pt x="16369" y="16415"/>
                    </a:lnTo>
                    <a:lnTo>
                      <a:pt x="16375" y="16410"/>
                    </a:lnTo>
                    <a:lnTo>
                      <a:pt x="16382" y="16404"/>
                    </a:lnTo>
                    <a:lnTo>
                      <a:pt x="16391" y="16399"/>
                    </a:lnTo>
                    <a:lnTo>
                      <a:pt x="16407" y="16390"/>
                    </a:lnTo>
                    <a:lnTo>
                      <a:pt x="16422" y="16385"/>
                    </a:lnTo>
                    <a:lnTo>
                      <a:pt x="16439" y="16382"/>
                    </a:lnTo>
                    <a:lnTo>
                      <a:pt x="16458" y="16381"/>
                    </a:lnTo>
                    <a:lnTo>
                      <a:pt x="16476" y="16380"/>
                    </a:lnTo>
                    <a:lnTo>
                      <a:pt x="16493" y="16378"/>
                    </a:lnTo>
                    <a:lnTo>
                      <a:pt x="16492" y="16370"/>
                    </a:lnTo>
                    <a:lnTo>
                      <a:pt x="16489" y="16364"/>
                    </a:lnTo>
                    <a:lnTo>
                      <a:pt x="16484" y="16359"/>
                    </a:lnTo>
                    <a:lnTo>
                      <a:pt x="16480" y="16355"/>
                    </a:lnTo>
                    <a:lnTo>
                      <a:pt x="16465" y="16345"/>
                    </a:lnTo>
                    <a:lnTo>
                      <a:pt x="16450" y="16338"/>
                    </a:lnTo>
                    <a:lnTo>
                      <a:pt x="16434" y="16329"/>
                    </a:lnTo>
                    <a:lnTo>
                      <a:pt x="16422" y="16321"/>
                    </a:lnTo>
                    <a:lnTo>
                      <a:pt x="16417" y="16316"/>
                    </a:lnTo>
                    <a:lnTo>
                      <a:pt x="16413" y="16311"/>
                    </a:lnTo>
                    <a:lnTo>
                      <a:pt x="16412" y="16305"/>
                    </a:lnTo>
                    <a:lnTo>
                      <a:pt x="16412" y="16299"/>
                    </a:lnTo>
                    <a:lnTo>
                      <a:pt x="16415" y="16284"/>
                    </a:lnTo>
                    <a:lnTo>
                      <a:pt x="16418" y="16264"/>
                    </a:lnTo>
                    <a:lnTo>
                      <a:pt x="16419" y="16249"/>
                    </a:lnTo>
                    <a:lnTo>
                      <a:pt x="16419" y="16242"/>
                    </a:lnTo>
                    <a:lnTo>
                      <a:pt x="16409" y="16252"/>
                    </a:lnTo>
                    <a:lnTo>
                      <a:pt x="16389" y="16274"/>
                    </a:lnTo>
                    <a:lnTo>
                      <a:pt x="16371" y="16296"/>
                    </a:lnTo>
                    <a:lnTo>
                      <a:pt x="16360" y="16311"/>
                    </a:lnTo>
                    <a:lnTo>
                      <a:pt x="16353" y="16322"/>
                    </a:lnTo>
                    <a:lnTo>
                      <a:pt x="16346" y="16332"/>
                    </a:lnTo>
                    <a:lnTo>
                      <a:pt x="16340" y="16341"/>
                    </a:lnTo>
                    <a:lnTo>
                      <a:pt x="16333" y="16349"/>
                    </a:lnTo>
                    <a:lnTo>
                      <a:pt x="16324" y="16356"/>
                    </a:lnTo>
                    <a:lnTo>
                      <a:pt x="16316" y="16359"/>
                    </a:lnTo>
                    <a:lnTo>
                      <a:pt x="16305" y="16363"/>
                    </a:lnTo>
                    <a:lnTo>
                      <a:pt x="16293" y="16364"/>
                    </a:lnTo>
                    <a:lnTo>
                      <a:pt x="16291" y="16379"/>
                    </a:lnTo>
                    <a:lnTo>
                      <a:pt x="16286" y="16402"/>
                    </a:lnTo>
                    <a:lnTo>
                      <a:pt x="16283" y="16414"/>
                    </a:lnTo>
                    <a:lnTo>
                      <a:pt x="16280" y="16423"/>
                    </a:lnTo>
                    <a:lnTo>
                      <a:pt x="16276" y="16432"/>
                    </a:lnTo>
                    <a:lnTo>
                      <a:pt x="16273" y="16437"/>
                    </a:lnTo>
                    <a:lnTo>
                      <a:pt x="16256" y="16452"/>
                    </a:lnTo>
                    <a:lnTo>
                      <a:pt x="16237" y="16467"/>
                    </a:lnTo>
                    <a:lnTo>
                      <a:pt x="16228" y="16474"/>
                    </a:lnTo>
                    <a:lnTo>
                      <a:pt x="16218" y="16481"/>
                    </a:lnTo>
                    <a:lnTo>
                      <a:pt x="16210" y="16489"/>
                    </a:lnTo>
                    <a:lnTo>
                      <a:pt x="16203" y="16498"/>
                    </a:lnTo>
                    <a:lnTo>
                      <a:pt x="16198" y="16504"/>
                    </a:lnTo>
                    <a:lnTo>
                      <a:pt x="16193" y="16512"/>
                    </a:lnTo>
                    <a:lnTo>
                      <a:pt x="16190" y="16521"/>
                    </a:lnTo>
                    <a:lnTo>
                      <a:pt x="16187" y="16529"/>
                    </a:lnTo>
                    <a:lnTo>
                      <a:pt x="16182" y="16548"/>
                    </a:lnTo>
                    <a:lnTo>
                      <a:pt x="16179" y="16570"/>
                    </a:lnTo>
                    <a:lnTo>
                      <a:pt x="16176" y="16611"/>
                    </a:lnTo>
                    <a:lnTo>
                      <a:pt x="16174" y="16648"/>
                    </a:lnTo>
                    <a:lnTo>
                      <a:pt x="16173" y="16658"/>
                    </a:lnTo>
                    <a:lnTo>
                      <a:pt x="16168" y="16669"/>
                    </a:lnTo>
                    <a:lnTo>
                      <a:pt x="16163" y="16681"/>
                    </a:lnTo>
                    <a:lnTo>
                      <a:pt x="16156" y="16693"/>
                    </a:lnTo>
                    <a:lnTo>
                      <a:pt x="16149" y="16704"/>
                    </a:lnTo>
                    <a:lnTo>
                      <a:pt x="16141" y="16713"/>
                    </a:lnTo>
                    <a:lnTo>
                      <a:pt x="16134" y="16721"/>
                    </a:lnTo>
                    <a:lnTo>
                      <a:pt x="16127" y="16724"/>
                    </a:lnTo>
                    <a:lnTo>
                      <a:pt x="15948" y="16724"/>
                    </a:lnTo>
                    <a:lnTo>
                      <a:pt x="15938" y="16700"/>
                    </a:lnTo>
                    <a:lnTo>
                      <a:pt x="15937" y="16688"/>
                    </a:lnTo>
                    <a:lnTo>
                      <a:pt x="15938" y="16672"/>
                    </a:lnTo>
                    <a:lnTo>
                      <a:pt x="15939" y="16666"/>
                    </a:lnTo>
                    <a:lnTo>
                      <a:pt x="15939" y="16659"/>
                    </a:lnTo>
                    <a:lnTo>
                      <a:pt x="15938" y="16653"/>
                    </a:lnTo>
                    <a:lnTo>
                      <a:pt x="15937" y="16648"/>
                    </a:lnTo>
                    <a:lnTo>
                      <a:pt x="15928" y="16636"/>
                    </a:lnTo>
                    <a:lnTo>
                      <a:pt x="15919" y="16624"/>
                    </a:lnTo>
                    <a:lnTo>
                      <a:pt x="15914" y="16618"/>
                    </a:lnTo>
                    <a:lnTo>
                      <a:pt x="15909" y="16612"/>
                    </a:lnTo>
                    <a:lnTo>
                      <a:pt x="15906" y="16605"/>
                    </a:lnTo>
                    <a:lnTo>
                      <a:pt x="15903" y="16598"/>
                    </a:lnTo>
                    <a:lnTo>
                      <a:pt x="15904" y="16579"/>
                    </a:lnTo>
                    <a:lnTo>
                      <a:pt x="15908" y="16563"/>
                    </a:lnTo>
                    <a:lnTo>
                      <a:pt x="15907" y="16558"/>
                    </a:lnTo>
                    <a:lnTo>
                      <a:pt x="15906" y="16554"/>
                    </a:lnTo>
                    <a:lnTo>
                      <a:pt x="15903" y="16552"/>
                    </a:lnTo>
                    <a:lnTo>
                      <a:pt x="15901" y="16550"/>
                    </a:lnTo>
                    <a:lnTo>
                      <a:pt x="15894" y="16547"/>
                    </a:lnTo>
                    <a:lnTo>
                      <a:pt x="15886" y="16546"/>
                    </a:lnTo>
                    <a:lnTo>
                      <a:pt x="15878" y="16546"/>
                    </a:lnTo>
                    <a:lnTo>
                      <a:pt x="15869" y="16545"/>
                    </a:lnTo>
                    <a:lnTo>
                      <a:pt x="15866" y="16544"/>
                    </a:lnTo>
                    <a:lnTo>
                      <a:pt x="15862" y="16542"/>
                    </a:lnTo>
                    <a:lnTo>
                      <a:pt x="15860" y="16541"/>
                    </a:lnTo>
                    <a:lnTo>
                      <a:pt x="15857" y="16539"/>
                    </a:lnTo>
                    <a:lnTo>
                      <a:pt x="15851" y="16532"/>
                    </a:lnTo>
                    <a:lnTo>
                      <a:pt x="15847" y="16526"/>
                    </a:lnTo>
                    <a:lnTo>
                      <a:pt x="15844" y="16523"/>
                    </a:lnTo>
                    <a:lnTo>
                      <a:pt x="15842" y="16521"/>
                    </a:lnTo>
                    <a:lnTo>
                      <a:pt x="15837" y="16520"/>
                    </a:lnTo>
                    <a:lnTo>
                      <a:pt x="15832" y="16518"/>
                    </a:lnTo>
                    <a:lnTo>
                      <a:pt x="15824" y="16520"/>
                    </a:lnTo>
                    <a:lnTo>
                      <a:pt x="15817" y="16522"/>
                    </a:lnTo>
                    <a:lnTo>
                      <a:pt x="15809" y="16524"/>
                    </a:lnTo>
                    <a:lnTo>
                      <a:pt x="15802" y="16528"/>
                    </a:lnTo>
                    <a:lnTo>
                      <a:pt x="15795" y="16532"/>
                    </a:lnTo>
                    <a:lnTo>
                      <a:pt x="15788" y="16534"/>
                    </a:lnTo>
                    <a:lnTo>
                      <a:pt x="15779" y="16536"/>
                    </a:lnTo>
                    <a:lnTo>
                      <a:pt x="15772" y="16538"/>
                    </a:lnTo>
                    <a:lnTo>
                      <a:pt x="15766" y="16538"/>
                    </a:lnTo>
                    <a:lnTo>
                      <a:pt x="15761" y="16535"/>
                    </a:lnTo>
                    <a:lnTo>
                      <a:pt x="15754" y="16533"/>
                    </a:lnTo>
                    <a:lnTo>
                      <a:pt x="15748" y="16528"/>
                    </a:lnTo>
                    <a:lnTo>
                      <a:pt x="15735" y="16517"/>
                    </a:lnTo>
                    <a:lnTo>
                      <a:pt x="15721" y="16505"/>
                    </a:lnTo>
                    <a:lnTo>
                      <a:pt x="15715" y="16498"/>
                    </a:lnTo>
                    <a:lnTo>
                      <a:pt x="15711" y="16491"/>
                    </a:lnTo>
                    <a:lnTo>
                      <a:pt x="15706" y="16483"/>
                    </a:lnTo>
                    <a:lnTo>
                      <a:pt x="15703" y="16477"/>
                    </a:lnTo>
                    <a:lnTo>
                      <a:pt x="15701" y="16470"/>
                    </a:lnTo>
                    <a:lnTo>
                      <a:pt x="15700" y="16464"/>
                    </a:lnTo>
                    <a:lnTo>
                      <a:pt x="15700" y="16459"/>
                    </a:lnTo>
                    <a:lnTo>
                      <a:pt x="15702" y="16455"/>
                    </a:lnTo>
                    <a:lnTo>
                      <a:pt x="15711" y="16446"/>
                    </a:lnTo>
                    <a:lnTo>
                      <a:pt x="15721" y="16438"/>
                    </a:lnTo>
                    <a:lnTo>
                      <a:pt x="15726" y="16433"/>
                    </a:lnTo>
                    <a:lnTo>
                      <a:pt x="15731" y="16428"/>
                    </a:lnTo>
                    <a:lnTo>
                      <a:pt x="15733" y="16422"/>
                    </a:lnTo>
                    <a:lnTo>
                      <a:pt x="15735" y="16416"/>
                    </a:lnTo>
                    <a:lnTo>
                      <a:pt x="15738" y="16415"/>
                    </a:lnTo>
                    <a:lnTo>
                      <a:pt x="15741" y="16415"/>
                    </a:lnTo>
                    <a:lnTo>
                      <a:pt x="15743" y="16421"/>
                    </a:lnTo>
                    <a:lnTo>
                      <a:pt x="15748" y="16428"/>
                    </a:lnTo>
                    <a:lnTo>
                      <a:pt x="15754" y="16435"/>
                    </a:lnTo>
                    <a:lnTo>
                      <a:pt x="15760" y="16443"/>
                    </a:lnTo>
                    <a:lnTo>
                      <a:pt x="15773" y="16457"/>
                    </a:lnTo>
                    <a:lnTo>
                      <a:pt x="15784" y="16469"/>
                    </a:lnTo>
                    <a:lnTo>
                      <a:pt x="15786" y="16471"/>
                    </a:lnTo>
                    <a:lnTo>
                      <a:pt x="15789" y="16474"/>
                    </a:lnTo>
                    <a:lnTo>
                      <a:pt x="15791" y="16475"/>
                    </a:lnTo>
                    <a:lnTo>
                      <a:pt x="15794" y="16475"/>
                    </a:lnTo>
                    <a:lnTo>
                      <a:pt x="15797" y="16474"/>
                    </a:lnTo>
                    <a:lnTo>
                      <a:pt x="15800" y="16470"/>
                    </a:lnTo>
                    <a:lnTo>
                      <a:pt x="15801" y="16465"/>
                    </a:lnTo>
                    <a:lnTo>
                      <a:pt x="15801" y="16461"/>
                    </a:lnTo>
                    <a:lnTo>
                      <a:pt x="15798" y="16455"/>
                    </a:lnTo>
                    <a:lnTo>
                      <a:pt x="15795" y="16449"/>
                    </a:lnTo>
                    <a:lnTo>
                      <a:pt x="15786" y="16441"/>
                    </a:lnTo>
                    <a:lnTo>
                      <a:pt x="15782" y="16435"/>
                    </a:lnTo>
                    <a:lnTo>
                      <a:pt x="15779" y="16428"/>
                    </a:lnTo>
                    <a:lnTo>
                      <a:pt x="15777" y="16418"/>
                    </a:lnTo>
                    <a:lnTo>
                      <a:pt x="15773" y="16406"/>
                    </a:lnTo>
                    <a:lnTo>
                      <a:pt x="15768" y="16396"/>
                    </a:lnTo>
                    <a:lnTo>
                      <a:pt x="15762" y="16386"/>
                    </a:lnTo>
                    <a:lnTo>
                      <a:pt x="15756" y="16375"/>
                    </a:lnTo>
                    <a:lnTo>
                      <a:pt x="15754" y="16370"/>
                    </a:lnTo>
                    <a:lnTo>
                      <a:pt x="15754" y="16364"/>
                    </a:lnTo>
                    <a:lnTo>
                      <a:pt x="15756" y="16358"/>
                    </a:lnTo>
                    <a:lnTo>
                      <a:pt x="15759" y="16352"/>
                    </a:lnTo>
                    <a:lnTo>
                      <a:pt x="15762" y="16345"/>
                    </a:lnTo>
                    <a:lnTo>
                      <a:pt x="15766" y="16339"/>
                    </a:lnTo>
                    <a:lnTo>
                      <a:pt x="15768" y="16332"/>
                    </a:lnTo>
                    <a:lnTo>
                      <a:pt x="15768" y="16326"/>
                    </a:lnTo>
                    <a:lnTo>
                      <a:pt x="15774" y="16326"/>
                    </a:lnTo>
                    <a:lnTo>
                      <a:pt x="15780" y="16328"/>
                    </a:lnTo>
                    <a:lnTo>
                      <a:pt x="15786" y="16331"/>
                    </a:lnTo>
                    <a:lnTo>
                      <a:pt x="15792" y="16335"/>
                    </a:lnTo>
                    <a:lnTo>
                      <a:pt x="15806" y="16345"/>
                    </a:lnTo>
                    <a:lnTo>
                      <a:pt x="15818" y="16357"/>
                    </a:lnTo>
                    <a:lnTo>
                      <a:pt x="15842" y="16382"/>
                    </a:lnTo>
                    <a:lnTo>
                      <a:pt x="15861" y="16402"/>
                    </a:lnTo>
                    <a:lnTo>
                      <a:pt x="15879" y="16421"/>
                    </a:lnTo>
                    <a:lnTo>
                      <a:pt x="15903" y="16446"/>
                    </a:lnTo>
                    <a:lnTo>
                      <a:pt x="15915" y="16458"/>
                    </a:lnTo>
                    <a:lnTo>
                      <a:pt x="15927" y="16468"/>
                    </a:lnTo>
                    <a:lnTo>
                      <a:pt x="15933" y="16471"/>
                    </a:lnTo>
                    <a:lnTo>
                      <a:pt x="15939" y="16475"/>
                    </a:lnTo>
                    <a:lnTo>
                      <a:pt x="15945" y="16476"/>
                    </a:lnTo>
                    <a:lnTo>
                      <a:pt x="15950" y="16477"/>
                    </a:lnTo>
                    <a:lnTo>
                      <a:pt x="15946" y="16469"/>
                    </a:lnTo>
                    <a:lnTo>
                      <a:pt x="15940" y="16458"/>
                    </a:lnTo>
                    <a:lnTo>
                      <a:pt x="15933" y="16447"/>
                    </a:lnTo>
                    <a:lnTo>
                      <a:pt x="15926" y="16437"/>
                    </a:lnTo>
                    <a:lnTo>
                      <a:pt x="15916" y="16426"/>
                    </a:lnTo>
                    <a:lnTo>
                      <a:pt x="15908" y="16416"/>
                    </a:lnTo>
                    <a:lnTo>
                      <a:pt x="15900" y="16408"/>
                    </a:lnTo>
                    <a:lnTo>
                      <a:pt x="15892" y="16402"/>
                    </a:lnTo>
                    <a:lnTo>
                      <a:pt x="15890" y="16394"/>
                    </a:lnTo>
                    <a:lnTo>
                      <a:pt x="15886" y="16386"/>
                    </a:lnTo>
                    <a:lnTo>
                      <a:pt x="15880" y="16376"/>
                    </a:lnTo>
                    <a:lnTo>
                      <a:pt x="15874" y="16367"/>
                    </a:lnTo>
                    <a:lnTo>
                      <a:pt x="15860" y="16347"/>
                    </a:lnTo>
                    <a:lnTo>
                      <a:pt x="15848" y="16332"/>
                    </a:lnTo>
                    <a:lnTo>
                      <a:pt x="15839" y="16319"/>
                    </a:lnTo>
                    <a:lnTo>
                      <a:pt x="15830" y="16304"/>
                    </a:lnTo>
                    <a:lnTo>
                      <a:pt x="15825" y="16297"/>
                    </a:lnTo>
                    <a:lnTo>
                      <a:pt x="15821" y="16288"/>
                    </a:lnTo>
                    <a:lnTo>
                      <a:pt x="15821" y="16285"/>
                    </a:lnTo>
                    <a:lnTo>
                      <a:pt x="15820" y="16281"/>
                    </a:lnTo>
                    <a:lnTo>
                      <a:pt x="15821" y="16278"/>
                    </a:lnTo>
                    <a:lnTo>
                      <a:pt x="15821" y="16275"/>
                    </a:lnTo>
                    <a:lnTo>
                      <a:pt x="15829" y="16264"/>
                    </a:lnTo>
                    <a:lnTo>
                      <a:pt x="15835" y="16257"/>
                    </a:lnTo>
                    <a:lnTo>
                      <a:pt x="15838" y="16252"/>
                    </a:lnTo>
                    <a:lnTo>
                      <a:pt x="15839" y="16248"/>
                    </a:lnTo>
                    <a:lnTo>
                      <a:pt x="15842" y="16242"/>
                    </a:lnTo>
                    <a:lnTo>
                      <a:pt x="15842" y="16233"/>
                    </a:lnTo>
                    <a:lnTo>
                      <a:pt x="15841" y="16217"/>
                    </a:lnTo>
                    <a:lnTo>
                      <a:pt x="15839" y="16203"/>
                    </a:lnTo>
                    <a:lnTo>
                      <a:pt x="15838" y="16187"/>
                    </a:lnTo>
                    <a:lnTo>
                      <a:pt x="15838" y="16173"/>
                    </a:lnTo>
                    <a:lnTo>
                      <a:pt x="15839" y="16171"/>
                    </a:lnTo>
                    <a:lnTo>
                      <a:pt x="15841" y="16168"/>
                    </a:lnTo>
                    <a:lnTo>
                      <a:pt x="15844" y="16167"/>
                    </a:lnTo>
                    <a:lnTo>
                      <a:pt x="15848" y="16166"/>
                    </a:lnTo>
                    <a:lnTo>
                      <a:pt x="15856" y="16165"/>
                    </a:lnTo>
                    <a:lnTo>
                      <a:pt x="15863" y="16163"/>
                    </a:lnTo>
                    <a:lnTo>
                      <a:pt x="15869" y="16161"/>
                    </a:lnTo>
                    <a:lnTo>
                      <a:pt x="15875" y="16160"/>
                    </a:lnTo>
                    <a:lnTo>
                      <a:pt x="15880" y="16160"/>
                    </a:lnTo>
                    <a:lnTo>
                      <a:pt x="15885" y="16161"/>
                    </a:lnTo>
                    <a:lnTo>
                      <a:pt x="15889" y="16162"/>
                    </a:lnTo>
                    <a:lnTo>
                      <a:pt x="15892" y="16165"/>
                    </a:lnTo>
                    <a:lnTo>
                      <a:pt x="15896" y="16167"/>
                    </a:lnTo>
                    <a:lnTo>
                      <a:pt x="15898" y="16171"/>
                    </a:lnTo>
                    <a:lnTo>
                      <a:pt x="15910" y="16187"/>
                    </a:lnTo>
                    <a:lnTo>
                      <a:pt x="15924" y="16205"/>
                    </a:lnTo>
                    <a:lnTo>
                      <a:pt x="15922" y="16193"/>
                    </a:lnTo>
                    <a:lnTo>
                      <a:pt x="15919" y="16181"/>
                    </a:lnTo>
                    <a:lnTo>
                      <a:pt x="15914" y="16169"/>
                    </a:lnTo>
                    <a:lnTo>
                      <a:pt x="15909" y="16159"/>
                    </a:lnTo>
                    <a:lnTo>
                      <a:pt x="15903" y="16148"/>
                    </a:lnTo>
                    <a:lnTo>
                      <a:pt x="15900" y="16136"/>
                    </a:lnTo>
                    <a:lnTo>
                      <a:pt x="15897" y="16131"/>
                    </a:lnTo>
                    <a:lnTo>
                      <a:pt x="15896" y="16125"/>
                    </a:lnTo>
                    <a:lnTo>
                      <a:pt x="15896" y="16119"/>
                    </a:lnTo>
                    <a:lnTo>
                      <a:pt x="15896" y="16113"/>
                    </a:lnTo>
                    <a:lnTo>
                      <a:pt x="15898" y="16107"/>
                    </a:lnTo>
                    <a:lnTo>
                      <a:pt x="15903" y="16100"/>
                    </a:lnTo>
                    <a:lnTo>
                      <a:pt x="15904" y="16096"/>
                    </a:lnTo>
                    <a:lnTo>
                      <a:pt x="15906" y="16092"/>
                    </a:lnTo>
                    <a:lnTo>
                      <a:pt x="15907" y="16091"/>
                    </a:lnTo>
                    <a:lnTo>
                      <a:pt x="15904" y="16090"/>
                    </a:lnTo>
                    <a:lnTo>
                      <a:pt x="15900" y="16091"/>
                    </a:lnTo>
                    <a:lnTo>
                      <a:pt x="15894" y="16095"/>
                    </a:lnTo>
                    <a:lnTo>
                      <a:pt x="15886" y="16100"/>
                    </a:lnTo>
                    <a:lnTo>
                      <a:pt x="15879" y="16104"/>
                    </a:lnTo>
                    <a:lnTo>
                      <a:pt x="15866" y="16115"/>
                    </a:lnTo>
                    <a:lnTo>
                      <a:pt x="15855" y="16122"/>
                    </a:lnTo>
                    <a:lnTo>
                      <a:pt x="15847" y="16127"/>
                    </a:lnTo>
                    <a:lnTo>
                      <a:pt x="15838" y="16132"/>
                    </a:lnTo>
                    <a:lnTo>
                      <a:pt x="15830" y="16137"/>
                    </a:lnTo>
                    <a:lnTo>
                      <a:pt x="15820" y="16140"/>
                    </a:lnTo>
                    <a:lnTo>
                      <a:pt x="15810" y="16143"/>
                    </a:lnTo>
                    <a:lnTo>
                      <a:pt x="15801" y="16143"/>
                    </a:lnTo>
                    <a:lnTo>
                      <a:pt x="15791" y="16143"/>
                    </a:lnTo>
                    <a:lnTo>
                      <a:pt x="15783" y="16140"/>
                    </a:lnTo>
                    <a:lnTo>
                      <a:pt x="15773" y="16136"/>
                    </a:lnTo>
                    <a:lnTo>
                      <a:pt x="15765" y="16131"/>
                    </a:lnTo>
                    <a:lnTo>
                      <a:pt x="15756" y="16125"/>
                    </a:lnTo>
                    <a:lnTo>
                      <a:pt x="15748" y="16119"/>
                    </a:lnTo>
                    <a:lnTo>
                      <a:pt x="15741" y="16112"/>
                    </a:lnTo>
                    <a:lnTo>
                      <a:pt x="15733" y="16103"/>
                    </a:lnTo>
                    <a:lnTo>
                      <a:pt x="15727" y="16096"/>
                    </a:lnTo>
                    <a:lnTo>
                      <a:pt x="15723" y="16086"/>
                    </a:lnTo>
                    <a:lnTo>
                      <a:pt x="15721" y="16082"/>
                    </a:lnTo>
                    <a:lnTo>
                      <a:pt x="15720" y="16077"/>
                    </a:lnTo>
                    <a:lnTo>
                      <a:pt x="15717" y="16073"/>
                    </a:lnTo>
                    <a:lnTo>
                      <a:pt x="15713" y="16071"/>
                    </a:lnTo>
                    <a:lnTo>
                      <a:pt x="15706" y="16065"/>
                    </a:lnTo>
                    <a:lnTo>
                      <a:pt x="15699" y="16061"/>
                    </a:lnTo>
                    <a:lnTo>
                      <a:pt x="15695" y="16059"/>
                    </a:lnTo>
                    <a:lnTo>
                      <a:pt x="15693" y="16056"/>
                    </a:lnTo>
                    <a:lnTo>
                      <a:pt x="15690" y="16054"/>
                    </a:lnTo>
                    <a:lnTo>
                      <a:pt x="15690" y="16050"/>
                    </a:lnTo>
                    <a:lnTo>
                      <a:pt x="15691" y="16045"/>
                    </a:lnTo>
                    <a:lnTo>
                      <a:pt x="15694" y="16041"/>
                    </a:lnTo>
                    <a:lnTo>
                      <a:pt x="15699" y="16035"/>
                    </a:lnTo>
                    <a:lnTo>
                      <a:pt x="15705" y="16027"/>
                    </a:lnTo>
                    <a:lnTo>
                      <a:pt x="15708" y="16024"/>
                    </a:lnTo>
                    <a:lnTo>
                      <a:pt x="15711" y="16021"/>
                    </a:lnTo>
                    <a:lnTo>
                      <a:pt x="15711" y="16019"/>
                    </a:lnTo>
                    <a:lnTo>
                      <a:pt x="15709" y="16018"/>
                    </a:lnTo>
                    <a:lnTo>
                      <a:pt x="15705" y="16018"/>
                    </a:lnTo>
                    <a:lnTo>
                      <a:pt x="15696" y="16019"/>
                    </a:lnTo>
                    <a:lnTo>
                      <a:pt x="15688" y="16020"/>
                    </a:lnTo>
                    <a:lnTo>
                      <a:pt x="15677" y="16020"/>
                    </a:lnTo>
                    <a:lnTo>
                      <a:pt x="15673" y="16020"/>
                    </a:lnTo>
                    <a:lnTo>
                      <a:pt x="15670" y="16019"/>
                    </a:lnTo>
                    <a:lnTo>
                      <a:pt x="15666" y="16017"/>
                    </a:lnTo>
                    <a:lnTo>
                      <a:pt x="15664" y="16014"/>
                    </a:lnTo>
                    <a:lnTo>
                      <a:pt x="15659" y="16002"/>
                    </a:lnTo>
                    <a:lnTo>
                      <a:pt x="15655" y="15988"/>
                    </a:lnTo>
                    <a:lnTo>
                      <a:pt x="15654" y="15980"/>
                    </a:lnTo>
                    <a:lnTo>
                      <a:pt x="15654" y="15973"/>
                    </a:lnTo>
                    <a:lnTo>
                      <a:pt x="15654" y="15966"/>
                    </a:lnTo>
                    <a:lnTo>
                      <a:pt x="15655" y="15960"/>
                    </a:lnTo>
                    <a:lnTo>
                      <a:pt x="15658" y="15955"/>
                    </a:lnTo>
                    <a:lnTo>
                      <a:pt x="15660" y="15952"/>
                    </a:lnTo>
                    <a:lnTo>
                      <a:pt x="15662" y="15948"/>
                    </a:lnTo>
                    <a:lnTo>
                      <a:pt x="15666" y="15946"/>
                    </a:lnTo>
                    <a:lnTo>
                      <a:pt x="15672" y="15943"/>
                    </a:lnTo>
                    <a:lnTo>
                      <a:pt x="15678" y="15941"/>
                    </a:lnTo>
                    <a:lnTo>
                      <a:pt x="15681" y="15940"/>
                    </a:lnTo>
                    <a:lnTo>
                      <a:pt x="15683" y="15938"/>
                    </a:lnTo>
                    <a:lnTo>
                      <a:pt x="15684" y="15937"/>
                    </a:lnTo>
                    <a:lnTo>
                      <a:pt x="15684" y="15935"/>
                    </a:lnTo>
                    <a:lnTo>
                      <a:pt x="15683" y="15927"/>
                    </a:lnTo>
                    <a:lnTo>
                      <a:pt x="15677" y="15915"/>
                    </a:lnTo>
                    <a:lnTo>
                      <a:pt x="15671" y="15906"/>
                    </a:lnTo>
                    <a:lnTo>
                      <a:pt x="15668" y="15897"/>
                    </a:lnTo>
                    <a:lnTo>
                      <a:pt x="15666" y="15891"/>
                    </a:lnTo>
                    <a:lnTo>
                      <a:pt x="15665" y="15885"/>
                    </a:lnTo>
                    <a:lnTo>
                      <a:pt x="15666" y="15882"/>
                    </a:lnTo>
                    <a:lnTo>
                      <a:pt x="15667" y="15877"/>
                    </a:lnTo>
                    <a:lnTo>
                      <a:pt x="15670" y="15875"/>
                    </a:lnTo>
                    <a:lnTo>
                      <a:pt x="15672" y="15871"/>
                    </a:lnTo>
                    <a:lnTo>
                      <a:pt x="15678" y="15866"/>
                    </a:lnTo>
                    <a:lnTo>
                      <a:pt x="15684" y="15859"/>
                    </a:lnTo>
                    <a:lnTo>
                      <a:pt x="15688" y="15855"/>
                    </a:lnTo>
                    <a:lnTo>
                      <a:pt x="15689" y="15850"/>
                    </a:lnTo>
                    <a:lnTo>
                      <a:pt x="15691" y="15844"/>
                    </a:lnTo>
                    <a:lnTo>
                      <a:pt x="15691" y="15837"/>
                    </a:lnTo>
                    <a:lnTo>
                      <a:pt x="15693" y="15828"/>
                    </a:lnTo>
                    <a:lnTo>
                      <a:pt x="15694" y="15823"/>
                    </a:lnTo>
                    <a:lnTo>
                      <a:pt x="15695" y="15822"/>
                    </a:lnTo>
                    <a:lnTo>
                      <a:pt x="15697" y="15822"/>
                    </a:lnTo>
                    <a:lnTo>
                      <a:pt x="15699" y="15822"/>
                    </a:lnTo>
                    <a:lnTo>
                      <a:pt x="15701" y="15823"/>
                    </a:lnTo>
                    <a:lnTo>
                      <a:pt x="15709" y="15832"/>
                    </a:lnTo>
                    <a:lnTo>
                      <a:pt x="15720" y="15843"/>
                    </a:lnTo>
                    <a:lnTo>
                      <a:pt x="15727" y="15854"/>
                    </a:lnTo>
                    <a:lnTo>
                      <a:pt x="15737" y="15868"/>
                    </a:lnTo>
                    <a:lnTo>
                      <a:pt x="15742" y="15876"/>
                    </a:lnTo>
                    <a:lnTo>
                      <a:pt x="15747" y="15882"/>
                    </a:lnTo>
                    <a:lnTo>
                      <a:pt x="15752" y="15885"/>
                    </a:lnTo>
                    <a:lnTo>
                      <a:pt x="15756" y="15888"/>
                    </a:lnTo>
                    <a:lnTo>
                      <a:pt x="15752" y="15876"/>
                    </a:lnTo>
                    <a:lnTo>
                      <a:pt x="15744" y="15860"/>
                    </a:lnTo>
                    <a:lnTo>
                      <a:pt x="15735" y="15846"/>
                    </a:lnTo>
                    <a:lnTo>
                      <a:pt x="15727" y="15836"/>
                    </a:lnTo>
                    <a:lnTo>
                      <a:pt x="15721" y="15826"/>
                    </a:lnTo>
                    <a:lnTo>
                      <a:pt x="15714" y="15811"/>
                    </a:lnTo>
                    <a:lnTo>
                      <a:pt x="15708" y="15795"/>
                    </a:lnTo>
                    <a:lnTo>
                      <a:pt x="15706" y="15783"/>
                    </a:lnTo>
                    <a:lnTo>
                      <a:pt x="15706" y="15776"/>
                    </a:lnTo>
                    <a:lnTo>
                      <a:pt x="15707" y="15769"/>
                    </a:lnTo>
                    <a:lnTo>
                      <a:pt x="15708" y="15761"/>
                    </a:lnTo>
                    <a:lnTo>
                      <a:pt x="15712" y="15755"/>
                    </a:lnTo>
                    <a:lnTo>
                      <a:pt x="15714" y="15749"/>
                    </a:lnTo>
                    <a:lnTo>
                      <a:pt x="15719" y="15743"/>
                    </a:lnTo>
                    <a:lnTo>
                      <a:pt x="15724" y="15737"/>
                    </a:lnTo>
                    <a:lnTo>
                      <a:pt x="15729" y="15731"/>
                    </a:lnTo>
                    <a:lnTo>
                      <a:pt x="15739" y="15722"/>
                    </a:lnTo>
                    <a:lnTo>
                      <a:pt x="15752" y="15713"/>
                    </a:lnTo>
                    <a:lnTo>
                      <a:pt x="15765" y="15706"/>
                    </a:lnTo>
                    <a:lnTo>
                      <a:pt x="15777" y="15700"/>
                    </a:lnTo>
                    <a:lnTo>
                      <a:pt x="15784" y="15695"/>
                    </a:lnTo>
                    <a:lnTo>
                      <a:pt x="15790" y="15690"/>
                    </a:lnTo>
                    <a:lnTo>
                      <a:pt x="15795" y="15686"/>
                    </a:lnTo>
                    <a:lnTo>
                      <a:pt x="15800" y="15681"/>
                    </a:lnTo>
                    <a:lnTo>
                      <a:pt x="15803" y="15675"/>
                    </a:lnTo>
                    <a:lnTo>
                      <a:pt x="15806" y="15670"/>
                    </a:lnTo>
                    <a:lnTo>
                      <a:pt x="15808" y="15664"/>
                    </a:lnTo>
                    <a:lnTo>
                      <a:pt x="15810" y="15658"/>
                    </a:lnTo>
                    <a:lnTo>
                      <a:pt x="15815" y="15633"/>
                    </a:lnTo>
                    <a:lnTo>
                      <a:pt x="15821" y="15606"/>
                    </a:lnTo>
                    <a:lnTo>
                      <a:pt x="15827" y="15594"/>
                    </a:lnTo>
                    <a:lnTo>
                      <a:pt x="15833" y="15582"/>
                    </a:lnTo>
                    <a:lnTo>
                      <a:pt x="15836" y="15576"/>
                    </a:lnTo>
                    <a:lnTo>
                      <a:pt x="15838" y="15570"/>
                    </a:lnTo>
                    <a:lnTo>
                      <a:pt x="15839" y="15564"/>
                    </a:lnTo>
                    <a:lnTo>
                      <a:pt x="15839" y="15558"/>
                    </a:lnTo>
                    <a:lnTo>
                      <a:pt x="15836" y="15559"/>
                    </a:lnTo>
                    <a:lnTo>
                      <a:pt x="15831" y="15562"/>
                    </a:lnTo>
                    <a:lnTo>
                      <a:pt x="15827" y="15565"/>
                    </a:lnTo>
                    <a:lnTo>
                      <a:pt x="15824" y="15569"/>
                    </a:lnTo>
                    <a:lnTo>
                      <a:pt x="15815" y="15577"/>
                    </a:lnTo>
                    <a:lnTo>
                      <a:pt x="15808" y="15587"/>
                    </a:lnTo>
                    <a:lnTo>
                      <a:pt x="15794" y="15606"/>
                    </a:lnTo>
                    <a:lnTo>
                      <a:pt x="15782" y="15622"/>
                    </a:lnTo>
                    <a:lnTo>
                      <a:pt x="15764" y="15640"/>
                    </a:lnTo>
                    <a:lnTo>
                      <a:pt x="15744" y="15657"/>
                    </a:lnTo>
                    <a:lnTo>
                      <a:pt x="15725" y="15674"/>
                    </a:lnTo>
                    <a:lnTo>
                      <a:pt x="15705" y="15690"/>
                    </a:lnTo>
                    <a:lnTo>
                      <a:pt x="15695" y="15701"/>
                    </a:lnTo>
                    <a:lnTo>
                      <a:pt x="15679" y="15716"/>
                    </a:lnTo>
                    <a:lnTo>
                      <a:pt x="15660" y="15731"/>
                    </a:lnTo>
                    <a:lnTo>
                      <a:pt x="15641" y="15747"/>
                    </a:lnTo>
                    <a:lnTo>
                      <a:pt x="15630" y="15754"/>
                    </a:lnTo>
                    <a:lnTo>
                      <a:pt x="15622" y="15759"/>
                    </a:lnTo>
                    <a:lnTo>
                      <a:pt x="15612" y="15763"/>
                    </a:lnTo>
                    <a:lnTo>
                      <a:pt x="15605" y="15764"/>
                    </a:lnTo>
                    <a:lnTo>
                      <a:pt x="15601" y="15764"/>
                    </a:lnTo>
                    <a:lnTo>
                      <a:pt x="15599" y="15764"/>
                    </a:lnTo>
                    <a:lnTo>
                      <a:pt x="15596" y="15763"/>
                    </a:lnTo>
                    <a:lnTo>
                      <a:pt x="15594" y="15760"/>
                    </a:lnTo>
                    <a:lnTo>
                      <a:pt x="15591" y="15758"/>
                    </a:lnTo>
                    <a:lnTo>
                      <a:pt x="15590" y="15754"/>
                    </a:lnTo>
                    <a:lnTo>
                      <a:pt x="15590" y="15749"/>
                    </a:lnTo>
                    <a:lnTo>
                      <a:pt x="15589" y="15745"/>
                    </a:lnTo>
                    <a:lnTo>
                      <a:pt x="15589" y="15736"/>
                    </a:lnTo>
                    <a:lnTo>
                      <a:pt x="15588" y="15729"/>
                    </a:lnTo>
                    <a:lnTo>
                      <a:pt x="15585" y="15723"/>
                    </a:lnTo>
                    <a:lnTo>
                      <a:pt x="15583" y="15719"/>
                    </a:lnTo>
                    <a:lnTo>
                      <a:pt x="15577" y="15712"/>
                    </a:lnTo>
                    <a:lnTo>
                      <a:pt x="15575" y="15706"/>
                    </a:lnTo>
                    <a:lnTo>
                      <a:pt x="15575" y="15700"/>
                    </a:lnTo>
                    <a:lnTo>
                      <a:pt x="15578" y="15695"/>
                    </a:lnTo>
                    <a:lnTo>
                      <a:pt x="15582" y="15689"/>
                    </a:lnTo>
                    <a:lnTo>
                      <a:pt x="15587" y="15683"/>
                    </a:lnTo>
                    <a:lnTo>
                      <a:pt x="15597" y="15672"/>
                    </a:lnTo>
                    <a:lnTo>
                      <a:pt x="15606" y="15664"/>
                    </a:lnTo>
                    <a:lnTo>
                      <a:pt x="15613" y="15653"/>
                    </a:lnTo>
                    <a:lnTo>
                      <a:pt x="15616" y="15645"/>
                    </a:lnTo>
                    <a:lnTo>
                      <a:pt x="15617" y="15642"/>
                    </a:lnTo>
                    <a:lnTo>
                      <a:pt x="15617" y="15640"/>
                    </a:lnTo>
                    <a:lnTo>
                      <a:pt x="15617" y="15639"/>
                    </a:lnTo>
                    <a:lnTo>
                      <a:pt x="15616" y="15636"/>
                    </a:lnTo>
                    <a:lnTo>
                      <a:pt x="15612" y="15635"/>
                    </a:lnTo>
                    <a:lnTo>
                      <a:pt x="15606" y="15636"/>
                    </a:lnTo>
                    <a:lnTo>
                      <a:pt x="15600" y="15637"/>
                    </a:lnTo>
                    <a:lnTo>
                      <a:pt x="15591" y="15641"/>
                    </a:lnTo>
                    <a:lnTo>
                      <a:pt x="15555" y="15658"/>
                    </a:lnTo>
                    <a:lnTo>
                      <a:pt x="15528" y="15674"/>
                    </a:lnTo>
                    <a:lnTo>
                      <a:pt x="15517" y="15683"/>
                    </a:lnTo>
                    <a:lnTo>
                      <a:pt x="15502" y="15700"/>
                    </a:lnTo>
                    <a:lnTo>
                      <a:pt x="15494" y="15707"/>
                    </a:lnTo>
                    <a:lnTo>
                      <a:pt x="15487" y="15711"/>
                    </a:lnTo>
                    <a:lnTo>
                      <a:pt x="15483" y="15712"/>
                    </a:lnTo>
                    <a:lnTo>
                      <a:pt x="15480" y="15711"/>
                    </a:lnTo>
                    <a:lnTo>
                      <a:pt x="15477" y="15708"/>
                    </a:lnTo>
                    <a:lnTo>
                      <a:pt x="15475" y="15705"/>
                    </a:lnTo>
                    <a:lnTo>
                      <a:pt x="15472" y="15695"/>
                    </a:lnTo>
                    <a:lnTo>
                      <a:pt x="15471" y="15686"/>
                    </a:lnTo>
                    <a:lnTo>
                      <a:pt x="15472" y="15674"/>
                    </a:lnTo>
                    <a:lnTo>
                      <a:pt x="15475" y="15662"/>
                    </a:lnTo>
                    <a:lnTo>
                      <a:pt x="15478" y="15636"/>
                    </a:lnTo>
                    <a:lnTo>
                      <a:pt x="15481" y="15615"/>
                    </a:lnTo>
                    <a:lnTo>
                      <a:pt x="15481" y="15615"/>
                    </a:lnTo>
                    <a:close/>
                  </a:path>
                </a:pathLst>
              </a:custGeom>
              <a:solidFill>
                <a:srgbClr val="F2F2F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3"/>
              <p:cNvSpPr>
                <a:spLocks/>
              </p:cNvSpPr>
              <p:nvPr/>
            </p:nvSpPr>
            <p:spPr bwMode="auto">
              <a:xfrm>
                <a:off x="7346951" y="8370888"/>
                <a:ext cx="112713" cy="77788"/>
              </a:xfrm>
              <a:custGeom>
                <a:avLst/>
                <a:gdLst>
                  <a:gd name="T0" fmla="*/ 277 w 281"/>
                  <a:gd name="T1" fmla="*/ 189 h 198"/>
                  <a:gd name="T2" fmla="*/ 263 w 281"/>
                  <a:gd name="T3" fmla="*/ 169 h 198"/>
                  <a:gd name="T4" fmla="*/ 248 w 281"/>
                  <a:gd name="T5" fmla="*/ 149 h 198"/>
                  <a:gd name="T6" fmla="*/ 237 w 281"/>
                  <a:gd name="T7" fmla="*/ 130 h 198"/>
                  <a:gd name="T8" fmla="*/ 224 w 281"/>
                  <a:gd name="T9" fmla="*/ 113 h 198"/>
                  <a:gd name="T10" fmla="*/ 210 w 281"/>
                  <a:gd name="T11" fmla="*/ 102 h 198"/>
                  <a:gd name="T12" fmla="*/ 198 w 281"/>
                  <a:gd name="T13" fmla="*/ 96 h 198"/>
                  <a:gd name="T14" fmla="*/ 179 w 281"/>
                  <a:gd name="T15" fmla="*/ 89 h 198"/>
                  <a:gd name="T16" fmla="*/ 153 w 281"/>
                  <a:gd name="T17" fmla="*/ 75 h 198"/>
                  <a:gd name="T18" fmla="*/ 129 w 281"/>
                  <a:gd name="T19" fmla="*/ 56 h 198"/>
                  <a:gd name="T20" fmla="*/ 96 w 281"/>
                  <a:gd name="T21" fmla="*/ 25 h 198"/>
                  <a:gd name="T22" fmla="*/ 72 w 281"/>
                  <a:gd name="T23" fmla="*/ 9 h 198"/>
                  <a:gd name="T24" fmla="*/ 53 w 281"/>
                  <a:gd name="T25" fmla="*/ 2 h 198"/>
                  <a:gd name="T26" fmla="*/ 31 w 281"/>
                  <a:gd name="T27" fmla="*/ 0 h 198"/>
                  <a:gd name="T28" fmla="*/ 17 w 281"/>
                  <a:gd name="T29" fmla="*/ 1 h 198"/>
                  <a:gd name="T30" fmla="*/ 8 w 281"/>
                  <a:gd name="T31" fmla="*/ 4 h 198"/>
                  <a:gd name="T32" fmla="*/ 2 w 281"/>
                  <a:gd name="T33" fmla="*/ 12 h 198"/>
                  <a:gd name="T34" fmla="*/ 0 w 281"/>
                  <a:gd name="T35" fmla="*/ 18 h 198"/>
                  <a:gd name="T36" fmla="*/ 3 w 281"/>
                  <a:gd name="T37" fmla="*/ 27 h 198"/>
                  <a:gd name="T38" fmla="*/ 24 w 281"/>
                  <a:gd name="T39" fmla="*/ 43 h 198"/>
                  <a:gd name="T40" fmla="*/ 47 w 281"/>
                  <a:gd name="T41" fmla="*/ 57 h 198"/>
                  <a:gd name="T42" fmla="*/ 67 w 281"/>
                  <a:gd name="T43" fmla="*/ 71 h 198"/>
                  <a:gd name="T44" fmla="*/ 77 w 281"/>
                  <a:gd name="T45" fmla="*/ 81 h 198"/>
                  <a:gd name="T46" fmla="*/ 78 w 281"/>
                  <a:gd name="T47" fmla="*/ 102 h 198"/>
                  <a:gd name="T48" fmla="*/ 78 w 281"/>
                  <a:gd name="T49" fmla="*/ 122 h 198"/>
                  <a:gd name="T50" fmla="*/ 82 w 281"/>
                  <a:gd name="T51" fmla="*/ 134 h 198"/>
                  <a:gd name="T52" fmla="*/ 92 w 281"/>
                  <a:gd name="T53" fmla="*/ 145 h 198"/>
                  <a:gd name="T54" fmla="*/ 107 w 281"/>
                  <a:gd name="T55" fmla="*/ 151 h 198"/>
                  <a:gd name="T56" fmla="*/ 120 w 281"/>
                  <a:gd name="T57" fmla="*/ 156 h 198"/>
                  <a:gd name="T58" fmla="*/ 129 w 281"/>
                  <a:gd name="T59" fmla="*/ 162 h 198"/>
                  <a:gd name="T60" fmla="*/ 133 w 281"/>
                  <a:gd name="T61" fmla="*/ 169 h 198"/>
                  <a:gd name="T62" fmla="*/ 151 w 281"/>
                  <a:gd name="T63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1" h="198">
                    <a:moveTo>
                      <a:pt x="281" y="198"/>
                    </a:moveTo>
                    <a:lnTo>
                      <a:pt x="277" y="189"/>
                    </a:lnTo>
                    <a:lnTo>
                      <a:pt x="271" y="179"/>
                    </a:lnTo>
                    <a:lnTo>
                      <a:pt x="263" y="169"/>
                    </a:lnTo>
                    <a:lnTo>
                      <a:pt x="255" y="158"/>
                    </a:lnTo>
                    <a:lnTo>
                      <a:pt x="248" y="149"/>
                    </a:lnTo>
                    <a:lnTo>
                      <a:pt x="242" y="138"/>
                    </a:lnTo>
                    <a:lnTo>
                      <a:pt x="237" y="130"/>
                    </a:lnTo>
                    <a:lnTo>
                      <a:pt x="234" y="120"/>
                    </a:lnTo>
                    <a:lnTo>
                      <a:pt x="224" y="113"/>
                    </a:lnTo>
                    <a:lnTo>
                      <a:pt x="215" y="104"/>
                    </a:lnTo>
                    <a:lnTo>
                      <a:pt x="210" y="102"/>
                    </a:lnTo>
                    <a:lnTo>
                      <a:pt x="206" y="98"/>
                    </a:lnTo>
                    <a:lnTo>
                      <a:pt x="198" y="96"/>
                    </a:lnTo>
                    <a:lnTo>
                      <a:pt x="192" y="93"/>
                    </a:lnTo>
                    <a:lnTo>
                      <a:pt x="179" y="89"/>
                    </a:lnTo>
                    <a:lnTo>
                      <a:pt x="166" y="83"/>
                    </a:lnTo>
                    <a:lnTo>
                      <a:pt x="153" y="75"/>
                    </a:lnTo>
                    <a:lnTo>
                      <a:pt x="142" y="73"/>
                    </a:lnTo>
                    <a:lnTo>
                      <a:pt x="129" y="56"/>
                    </a:lnTo>
                    <a:lnTo>
                      <a:pt x="113" y="40"/>
                    </a:lnTo>
                    <a:lnTo>
                      <a:pt x="96" y="25"/>
                    </a:lnTo>
                    <a:lnTo>
                      <a:pt x="79" y="13"/>
                    </a:lnTo>
                    <a:lnTo>
                      <a:pt x="72" y="9"/>
                    </a:lnTo>
                    <a:lnTo>
                      <a:pt x="64" y="6"/>
                    </a:lnTo>
                    <a:lnTo>
                      <a:pt x="53" y="2"/>
                    </a:lnTo>
                    <a:lnTo>
                      <a:pt x="42" y="0"/>
                    </a:lnTo>
                    <a:lnTo>
                      <a:pt x="31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2" y="3"/>
                    </a:lnTo>
                    <a:lnTo>
                      <a:pt x="8" y="4"/>
                    </a:lnTo>
                    <a:lnTo>
                      <a:pt x="5" y="8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7"/>
                    </a:lnTo>
                    <a:lnTo>
                      <a:pt x="9" y="33"/>
                    </a:lnTo>
                    <a:lnTo>
                      <a:pt x="24" y="43"/>
                    </a:lnTo>
                    <a:lnTo>
                      <a:pt x="36" y="50"/>
                    </a:lnTo>
                    <a:lnTo>
                      <a:pt x="47" y="57"/>
                    </a:lnTo>
                    <a:lnTo>
                      <a:pt x="61" y="66"/>
                    </a:lnTo>
                    <a:lnTo>
                      <a:pt x="67" y="71"/>
                    </a:lnTo>
                    <a:lnTo>
                      <a:pt x="73" y="77"/>
                    </a:lnTo>
                    <a:lnTo>
                      <a:pt x="77" y="81"/>
                    </a:lnTo>
                    <a:lnTo>
                      <a:pt x="78" y="87"/>
                    </a:lnTo>
                    <a:lnTo>
                      <a:pt x="78" y="102"/>
                    </a:lnTo>
                    <a:lnTo>
                      <a:pt x="77" y="116"/>
                    </a:lnTo>
                    <a:lnTo>
                      <a:pt x="78" y="122"/>
                    </a:lnTo>
                    <a:lnTo>
                      <a:pt x="79" y="128"/>
                    </a:lnTo>
                    <a:lnTo>
                      <a:pt x="82" y="134"/>
                    </a:lnTo>
                    <a:lnTo>
                      <a:pt x="86" y="140"/>
                    </a:lnTo>
                    <a:lnTo>
                      <a:pt x="92" y="145"/>
                    </a:lnTo>
                    <a:lnTo>
                      <a:pt x="100" y="148"/>
                    </a:lnTo>
                    <a:lnTo>
                      <a:pt x="107" y="151"/>
                    </a:lnTo>
                    <a:lnTo>
                      <a:pt x="114" y="154"/>
                    </a:lnTo>
                    <a:lnTo>
                      <a:pt x="120" y="156"/>
                    </a:lnTo>
                    <a:lnTo>
                      <a:pt x="126" y="160"/>
                    </a:lnTo>
                    <a:lnTo>
                      <a:pt x="129" y="162"/>
                    </a:lnTo>
                    <a:lnTo>
                      <a:pt x="131" y="166"/>
                    </a:lnTo>
                    <a:lnTo>
                      <a:pt x="133" y="169"/>
                    </a:lnTo>
                    <a:lnTo>
                      <a:pt x="135" y="173"/>
                    </a:lnTo>
                    <a:lnTo>
                      <a:pt x="151" y="198"/>
                    </a:lnTo>
                    <a:lnTo>
                      <a:pt x="281" y="1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4"/>
              <p:cNvSpPr>
                <a:spLocks/>
              </p:cNvSpPr>
              <p:nvPr/>
            </p:nvSpPr>
            <p:spPr bwMode="auto">
              <a:xfrm>
                <a:off x="5911851" y="2657475"/>
                <a:ext cx="58738" cy="47625"/>
              </a:xfrm>
              <a:custGeom>
                <a:avLst/>
                <a:gdLst>
                  <a:gd name="T0" fmla="*/ 78 w 148"/>
                  <a:gd name="T1" fmla="*/ 100 h 118"/>
                  <a:gd name="T2" fmla="*/ 88 w 148"/>
                  <a:gd name="T3" fmla="*/ 85 h 118"/>
                  <a:gd name="T4" fmla="*/ 98 w 148"/>
                  <a:gd name="T5" fmla="*/ 70 h 118"/>
                  <a:gd name="T6" fmla="*/ 107 w 148"/>
                  <a:gd name="T7" fmla="*/ 67 h 118"/>
                  <a:gd name="T8" fmla="*/ 118 w 148"/>
                  <a:gd name="T9" fmla="*/ 64 h 118"/>
                  <a:gd name="T10" fmla="*/ 126 w 148"/>
                  <a:gd name="T11" fmla="*/ 67 h 118"/>
                  <a:gd name="T12" fmla="*/ 134 w 148"/>
                  <a:gd name="T13" fmla="*/ 69 h 118"/>
                  <a:gd name="T14" fmla="*/ 141 w 148"/>
                  <a:gd name="T15" fmla="*/ 69 h 118"/>
                  <a:gd name="T16" fmla="*/ 147 w 148"/>
                  <a:gd name="T17" fmla="*/ 68 h 118"/>
                  <a:gd name="T18" fmla="*/ 148 w 148"/>
                  <a:gd name="T19" fmla="*/ 58 h 118"/>
                  <a:gd name="T20" fmla="*/ 148 w 148"/>
                  <a:gd name="T21" fmla="*/ 50 h 118"/>
                  <a:gd name="T22" fmla="*/ 147 w 148"/>
                  <a:gd name="T23" fmla="*/ 43 h 118"/>
                  <a:gd name="T24" fmla="*/ 144 w 148"/>
                  <a:gd name="T25" fmla="*/ 34 h 118"/>
                  <a:gd name="T26" fmla="*/ 142 w 148"/>
                  <a:gd name="T27" fmla="*/ 33 h 118"/>
                  <a:gd name="T28" fmla="*/ 142 w 148"/>
                  <a:gd name="T29" fmla="*/ 32 h 118"/>
                  <a:gd name="T30" fmla="*/ 137 w 148"/>
                  <a:gd name="T31" fmla="*/ 29 h 118"/>
                  <a:gd name="T32" fmla="*/ 134 w 148"/>
                  <a:gd name="T33" fmla="*/ 26 h 118"/>
                  <a:gd name="T34" fmla="*/ 117 w 148"/>
                  <a:gd name="T35" fmla="*/ 20 h 118"/>
                  <a:gd name="T36" fmla="*/ 98 w 148"/>
                  <a:gd name="T37" fmla="*/ 15 h 118"/>
                  <a:gd name="T38" fmla="*/ 79 w 148"/>
                  <a:gd name="T39" fmla="*/ 10 h 118"/>
                  <a:gd name="T40" fmla="*/ 61 w 148"/>
                  <a:gd name="T41" fmla="*/ 5 h 118"/>
                  <a:gd name="T42" fmla="*/ 48 w 148"/>
                  <a:gd name="T43" fmla="*/ 2 h 118"/>
                  <a:gd name="T44" fmla="*/ 31 w 148"/>
                  <a:gd name="T45" fmla="*/ 0 h 118"/>
                  <a:gd name="T46" fmla="*/ 23 w 148"/>
                  <a:gd name="T47" fmla="*/ 0 h 118"/>
                  <a:gd name="T48" fmla="*/ 14 w 148"/>
                  <a:gd name="T49" fmla="*/ 2 h 118"/>
                  <a:gd name="T50" fmla="*/ 8 w 148"/>
                  <a:gd name="T51" fmla="*/ 5 h 118"/>
                  <a:gd name="T52" fmla="*/ 4 w 148"/>
                  <a:gd name="T53" fmla="*/ 10 h 118"/>
                  <a:gd name="T54" fmla="*/ 1 w 148"/>
                  <a:gd name="T55" fmla="*/ 14 h 118"/>
                  <a:gd name="T56" fmla="*/ 0 w 148"/>
                  <a:gd name="T57" fmla="*/ 18 h 118"/>
                  <a:gd name="T58" fmla="*/ 0 w 148"/>
                  <a:gd name="T59" fmla="*/ 23 h 118"/>
                  <a:gd name="T60" fmla="*/ 0 w 148"/>
                  <a:gd name="T61" fmla="*/ 28 h 118"/>
                  <a:gd name="T62" fmla="*/ 1 w 148"/>
                  <a:gd name="T63" fmla="*/ 38 h 118"/>
                  <a:gd name="T64" fmla="*/ 4 w 148"/>
                  <a:gd name="T65" fmla="*/ 46 h 118"/>
                  <a:gd name="T66" fmla="*/ 6 w 148"/>
                  <a:gd name="T67" fmla="*/ 58 h 118"/>
                  <a:gd name="T68" fmla="*/ 10 w 148"/>
                  <a:gd name="T69" fmla="*/ 70 h 118"/>
                  <a:gd name="T70" fmla="*/ 18 w 148"/>
                  <a:gd name="T71" fmla="*/ 85 h 118"/>
                  <a:gd name="T72" fmla="*/ 27 w 148"/>
                  <a:gd name="T73" fmla="*/ 99 h 118"/>
                  <a:gd name="T74" fmla="*/ 30 w 148"/>
                  <a:gd name="T75" fmla="*/ 106 h 118"/>
                  <a:gd name="T76" fmla="*/ 35 w 148"/>
                  <a:gd name="T77" fmla="*/ 114 h 118"/>
                  <a:gd name="T78" fmla="*/ 37 w 148"/>
                  <a:gd name="T79" fmla="*/ 116 h 118"/>
                  <a:gd name="T80" fmla="*/ 40 w 148"/>
                  <a:gd name="T81" fmla="*/ 117 h 118"/>
                  <a:gd name="T82" fmla="*/ 43 w 148"/>
                  <a:gd name="T83" fmla="*/ 117 h 118"/>
                  <a:gd name="T84" fmla="*/ 46 w 148"/>
                  <a:gd name="T85" fmla="*/ 117 h 118"/>
                  <a:gd name="T86" fmla="*/ 52 w 148"/>
                  <a:gd name="T87" fmla="*/ 117 h 118"/>
                  <a:gd name="T88" fmla="*/ 57 w 148"/>
                  <a:gd name="T89" fmla="*/ 118 h 118"/>
                  <a:gd name="T90" fmla="*/ 78 w 148"/>
                  <a:gd name="T91" fmla="*/ 10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8" h="118">
                    <a:moveTo>
                      <a:pt x="78" y="100"/>
                    </a:moveTo>
                    <a:lnTo>
                      <a:pt x="88" y="85"/>
                    </a:lnTo>
                    <a:lnTo>
                      <a:pt x="98" y="70"/>
                    </a:lnTo>
                    <a:lnTo>
                      <a:pt x="107" y="67"/>
                    </a:lnTo>
                    <a:lnTo>
                      <a:pt x="118" y="64"/>
                    </a:lnTo>
                    <a:lnTo>
                      <a:pt x="126" y="67"/>
                    </a:lnTo>
                    <a:lnTo>
                      <a:pt x="134" y="69"/>
                    </a:lnTo>
                    <a:lnTo>
                      <a:pt x="141" y="69"/>
                    </a:lnTo>
                    <a:lnTo>
                      <a:pt x="147" y="68"/>
                    </a:lnTo>
                    <a:lnTo>
                      <a:pt x="148" y="58"/>
                    </a:lnTo>
                    <a:lnTo>
                      <a:pt x="148" y="50"/>
                    </a:lnTo>
                    <a:lnTo>
                      <a:pt x="147" y="43"/>
                    </a:lnTo>
                    <a:lnTo>
                      <a:pt x="144" y="34"/>
                    </a:lnTo>
                    <a:lnTo>
                      <a:pt x="142" y="33"/>
                    </a:lnTo>
                    <a:lnTo>
                      <a:pt x="142" y="32"/>
                    </a:lnTo>
                    <a:lnTo>
                      <a:pt x="137" y="29"/>
                    </a:lnTo>
                    <a:lnTo>
                      <a:pt x="134" y="26"/>
                    </a:lnTo>
                    <a:lnTo>
                      <a:pt x="117" y="20"/>
                    </a:lnTo>
                    <a:lnTo>
                      <a:pt x="98" y="15"/>
                    </a:lnTo>
                    <a:lnTo>
                      <a:pt x="79" y="10"/>
                    </a:lnTo>
                    <a:lnTo>
                      <a:pt x="61" y="5"/>
                    </a:lnTo>
                    <a:lnTo>
                      <a:pt x="48" y="2"/>
                    </a:lnTo>
                    <a:lnTo>
                      <a:pt x="31" y="0"/>
                    </a:lnTo>
                    <a:lnTo>
                      <a:pt x="23" y="0"/>
                    </a:lnTo>
                    <a:lnTo>
                      <a:pt x="14" y="2"/>
                    </a:lnTo>
                    <a:lnTo>
                      <a:pt x="8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1" y="38"/>
                    </a:lnTo>
                    <a:lnTo>
                      <a:pt x="4" y="46"/>
                    </a:lnTo>
                    <a:lnTo>
                      <a:pt x="6" y="58"/>
                    </a:lnTo>
                    <a:lnTo>
                      <a:pt x="10" y="70"/>
                    </a:lnTo>
                    <a:lnTo>
                      <a:pt x="18" y="85"/>
                    </a:lnTo>
                    <a:lnTo>
                      <a:pt x="27" y="99"/>
                    </a:lnTo>
                    <a:lnTo>
                      <a:pt x="30" y="106"/>
                    </a:lnTo>
                    <a:lnTo>
                      <a:pt x="35" y="114"/>
                    </a:lnTo>
                    <a:lnTo>
                      <a:pt x="37" y="116"/>
                    </a:lnTo>
                    <a:lnTo>
                      <a:pt x="40" y="117"/>
                    </a:lnTo>
                    <a:lnTo>
                      <a:pt x="43" y="117"/>
                    </a:lnTo>
                    <a:lnTo>
                      <a:pt x="46" y="117"/>
                    </a:lnTo>
                    <a:lnTo>
                      <a:pt x="52" y="117"/>
                    </a:lnTo>
                    <a:lnTo>
                      <a:pt x="57" y="118"/>
                    </a:lnTo>
                    <a:lnTo>
                      <a:pt x="78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5"/>
              <p:cNvSpPr>
                <a:spLocks/>
              </p:cNvSpPr>
              <p:nvPr/>
            </p:nvSpPr>
            <p:spPr bwMode="auto">
              <a:xfrm>
                <a:off x="2057401" y="3859213"/>
                <a:ext cx="103188" cy="147638"/>
              </a:xfrm>
              <a:custGeom>
                <a:avLst/>
                <a:gdLst>
                  <a:gd name="T0" fmla="*/ 27 w 260"/>
                  <a:gd name="T1" fmla="*/ 161 h 371"/>
                  <a:gd name="T2" fmla="*/ 8 w 260"/>
                  <a:gd name="T3" fmla="*/ 116 h 371"/>
                  <a:gd name="T4" fmla="*/ 2 w 260"/>
                  <a:gd name="T5" fmla="*/ 96 h 371"/>
                  <a:gd name="T6" fmla="*/ 0 w 260"/>
                  <a:gd name="T7" fmla="*/ 77 h 371"/>
                  <a:gd name="T8" fmla="*/ 1 w 260"/>
                  <a:gd name="T9" fmla="*/ 56 h 371"/>
                  <a:gd name="T10" fmla="*/ 9 w 260"/>
                  <a:gd name="T11" fmla="*/ 44 h 371"/>
                  <a:gd name="T12" fmla="*/ 18 w 260"/>
                  <a:gd name="T13" fmla="*/ 40 h 371"/>
                  <a:gd name="T14" fmla="*/ 30 w 260"/>
                  <a:gd name="T15" fmla="*/ 31 h 371"/>
                  <a:gd name="T16" fmla="*/ 41 w 260"/>
                  <a:gd name="T17" fmla="*/ 16 h 371"/>
                  <a:gd name="T18" fmla="*/ 49 w 260"/>
                  <a:gd name="T19" fmla="*/ 5 h 371"/>
                  <a:gd name="T20" fmla="*/ 55 w 260"/>
                  <a:gd name="T21" fmla="*/ 9 h 371"/>
                  <a:gd name="T22" fmla="*/ 60 w 260"/>
                  <a:gd name="T23" fmla="*/ 15 h 371"/>
                  <a:gd name="T24" fmla="*/ 67 w 260"/>
                  <a:gd name="T25" fmla="*/ 17 h 371"/>
                  <a:gd name="T26" fmla="*/ 74 w 260"/>
                  <a:gd name="T27" fmla="*/ 16 h 371"/>
                  <a:gd name="T28" fmla="*/ 87 w 260"/>
                  <a:gd name="T29" fmla="*/ 10 h 371"/>
                  <a:gd name="T30" fmla="*/ 106 w 260"/>
                  <a:gd name="T31" fmla="*/ 3 h 371"/>
                  <a:gd name="T32" fmla="*/ 120 w 260"/>
                  <a:gd name="T33" fmla="*/ 19 h 371"/>
                  <a:gd name="T34" fmla="*/ 130 w 260"/>
                  <a:gd name="T35" fmla="*/ 52 h 371"/>
                  <a:gd name="T36" fmla="*/ 138 w 260"/>
                  <a:gd name="T37" fmla="*/ 72 h 371"/>
                  <a:gd name="T38" fmla="*/ 154 w 260"/>
                  <a:gd name="T39" fmla="*/ 94 h 371"/>
                  <a:gd name="T40" fmla="*/ 174 w 260"/>
                  <a:gd name="T41" fmla="*/ 122 h 371"/>
                  <a:gd name="T42" fmla="*/ 185 w 260"/>
                  <a:gd name="T43" fmla="*/ 137 h 371"/>
                  <a:gd name="T44" fmla="*/ 202 w 260"/>
                  <a:gd name="T45" fmla="*/ 151 h 371"/>
                  <a:gd name="T46" fmla="*/ 231 w 260"/>
                  <a:gd name="T47" fmla="*/ 160 h 371"/>
                  <a:gd name="T48" fmla="*/ 243 w 260"/>
                  <a:gd name="T49" fmla="*/ 166 h 371"/>
                  <a:gd name="T50" fmla="*/ 245 w 260"/>
                  <a:gd name="T51" fmla="*/ 174 h 371"/>
                  <a:gd name="T52" fmla="*/ 240 w 260"/>
                  <a:gd name="T53" fmla="*/ 188 h 371"/>
                  <a:gd name="T54" fmla="*/ 227 w 260"/>
                  <a:gd name="T55" fmla="*/ 220 h 371"/>
                  <a:gd name="T56" fmla="*/ 213 w 260"/>
                  <a:gd name="T57" fmla="*/ 255 h 371"/>
                  <a:gd name="T58" fmla="*/ 211 w 260"/>
                  <a:gd name="T59" fmla="*/ 272 h 371"/>
                  <a:gd name="T60" fmla="*/ 215 w 260"/>
                  <a:gd name="T61" fmla="*/ 284 h 371"/>
                  <a:gd name="T62" fmla="*/ 223 w 260"/>
                  <a:gd name="T63" fmla="*/ 301 h 371"/>
                  <a:gd name="T64" fmla="*/ 231 w 260"/>
                  <a:gd name="T65" fmla="*/ 318 h 371"/>
                  <a:gd name="T66" fmla="*/ 237 w 260"/>
                  <a:gd name="T67" fmla="*/ 328 h 371"/>
                  <a:gd name="T68" fmla="*/ 248 w 260"/>
                  <a:gd name="T69" fmla="*/ 341 h 371"/>
                  <a:gd name="T70" fmla="*/ 257 w 260"/>
                  <a:gd name="T71" fmla="*/ 355 h 371"/>
                  <a:gd name="T72" fmla="*/ 260 w 260"/>
                  <a:gd name="T73" fmla="*/ 366 h 371"/>
                  <a:gd name="T74" fmla="*/ 252 w 260"/>
                  <a:gd name="T75" fmla="*/ 367 h 371"/>
                  <a:gd name="T76" fmla="*/ 231 w 260"/>
                  <a:gd name="T77" fmla="*/ 349 h 371"/>
                  <a:gd name="T78" fmla="*/ 219 w 260"/>
                  <a:gd name="T79" fmla="*/ 340 h 371"/>
                  <a:gd name="T80" fmla="*/ 210 w 260"/>
                  <a:gd name="T81" fmla="*/ 330 h 371"/>
                  <a:gd name="T82" fmla="*/ 204 w 260"/>
                  <a:gd name="T83" fmla="*/ 314 h 371"/>
                  <a:gd name="T84" fmla="*/ 198 w 260"/>
                  <a:gd name="T85" fmla="*/ 293 h 371"/>
                  <a:gd name="T86" fmla="*/ 192 w 260"/>
                  <a:gd name="T87" fmla="*/ 278 h 371"/>
                  <a:gd name="T88" fmla="*/ 185 w 260"/>
                  <a:gd name="T89" fmla="*/ 271 h 371"/>
                  <a:gd name="T90" fmla="*/ 168 w 260"/>
                  <a:gd name="T91" fmla="*/ 261 h 371"/>
                  <a:gd name="T92" fmla="*/ 125 w 260"/>
                  <a:gd name="T93" fmla="*/ 235 h 371"/>
                  <a:gd name="T94" fmla="*/ 108 w 260"/>
                  <a:gd name="T95" fmla="*/ 228 h 371"/>
                  <a:gd name="T96" fmla="*/ 92 w 260"/>
                  <a:gd name="T97" fmla="*/ 222 h 371"/>
                  <a:gd name="T98" fmla="*/ 75 w 260"/>
                  <a:gd name="T99" fmla="*/ 216 h 371"/>
                  <a:gd name="T100" fmla="*/ 59 w 260"/>
                  <a:gd name="T101" fmla="*/ 211 h 371"/>
                  <a:gd name="T102" fmla="*/ 43 w 260"/>
                  <a:gd name="T103" fmla="*/ 20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0" h="371">
                    <a:moveTo>
                      <a:pt x="43" y="200"/>
                    </a:moveTo>
                    <a:lnTo>
                      <a:pt x="27" y="161"/>
                    </a:lnTo>
                    <a:lnTo>
                      <a:pt x="12" y="124"/>
                    </a:lnTo>
                    <a:lnTo>
                      <a:pt x="8" y="116"/>
                    </a:lnTo>
                    <a:lnTo>
                      <a:pt x="4" y="106"/>
                    </a:lnTo>
                    <a:lnTo>
                      <a:pt x="2" y="96"/>
                    </a:lnTo>
                    <a:lnTo>
                      <a:pt x="1" y="87"/>
                    </a:lnTo>
                    <a:lnTo>
                      <a:pt x="0" y="77"/>
                    </a:lnTo>
                    <a:lnTo>
                      <a:pt x="0" y="66"/>
                    </a:lnTo>
                    <a:lnTo>
                      <a:pt x="1" y="56"/>
                    </a:lnTo>
                    <a:lnTo>
                      <a:pt x="3" y="45"/>
                    </a:lnTo>
                    <a:lnTo>
                      <a:pt x="9" y="44"/>
                    </a:lnTo>
                    <a:lnTo>
                      <a:pt x="14" y="42"/>
                    </a:lnTo>
                    <a:lnTo>
                      <a:pt x="18" y="40"/>
                    </a:lnTo>
                    <a:lnTo>
                      <a:pt x="22" y="38"/>
                    </a:lnTo>
                    <a:lnTo>
                      <a:pt x="30" y="31"/>
                    </a:lnTo>
                    <a:lnTo>
                      <a:pt x="36" y="23"/>
                    </a:lnTo>
                    <a:lnTo>
                      <a:pt x="41" y="16"/>
                    </a:lnTo>
                    <a:lnTo>
                      <a:pt x="45" y="10"/>
                    </a:lnTo>
                    <a:lnTo>
                      <a:pt x="49" y="5"/>
                    </a:lnTo>
                    <a:lnTo>
                      <a:pt x="54" y="3"/>
                    </a:lnTo>
                    <a:lnTo>
                      <a:pt x="55" y="9"/>
                    </a:lnTo>
                    <a:lnTo>
                      <a:pt x="57" y="12"/>
                    </a:lnTo>
                    <a:lnTo>
                      <a:pt x="60" y="15"/>
                    </a:lnTo>
                    <a:lnTo>
                      <a:pt x="63" y="17"/>
                    </a:lnTo>
                    <a:lnTo>
                      <a:pt x="67" y="17"/>
                    </a:lnTo>
                    <a:lnTo>
                      <a:pt x="71" y="17"/>
                    </a:lnTo>
                    <a:lnTo>
                      <a:pt x="74" y="16"/>
                    </a:lnTo>
                    <a:lnTo>
                      <a:pt x="78" y="15"/>
                    </a:lnTo>
                    <a:lnTo>
                      <a:pt x="87" y="10"/>
                    </a:lnTo>
                    <a:lnTo>
                      <a:pt x="96" y="6"/>
                    </a:lnTo>
                    <a:lnTo>
                      <a:pt x="106" y="3"/>
                    </a:lnTo>
                    <a:lnTo>
                      <a:pt x="114" y="0"/>
                    </a:lnTo>
                    <a:lnTo>
                      <a:pt x="120" y="19"/>
                    </a:lnTo>
                    <a:lnTo>
                      <a:pt x="126" y="41"/>
                    </a:lnTo>
                    <a:lnTo>
                      <a:pt x="130" y="52"/>
                    </a:lnTo>
                    <a:lnTo>
                      <a:pt x="134" y="63"/>
                    </a:lnTo>
                    <a:lnTo>
                      <a:pt x="138" y="72"/>
                    </a:lnTo>
                    <a:lnTo>
                      <a:pt x="143" y="81"/>
                    </a:lnTo>
                    <a:lnTo>
                      <a:pt x="154" y="94"/>
                    </a:lnTo>
                    <a:lnTo>
                      <a:pt x="168" y="112"/>
                    </a:lnTo>
                    <a:lnTo>
                      <a:pt x="174" y="122"/>
                    </a:lnTo>
                    <a:lnTo>
                      <a:pt x="180" y="130"/>
                    </a:lnTo>
                    <a:lnTo>
                      <a:pt x="185" y="137"/>
                    </a:lnTo>
                    <a:lnTo>
                      <a:pt x="187" y="145"/>
                    </a:lnTo>
                    <a:lnTo>
                      <a:pt x="202" y="151"/>
                    </a:lnTo>
                    <a:lnTo>
                      <a:pt x="220" y="158"/>
                    </a:lnTo>
                    <a:lnTo>
                      <a:pt x="231" y="160"/>
                    </a:lnTo>
                    <a:lnTo>
                      <a:pt x="238" y="163"/>
                    </a:lnTo>
                    <a:lnTo>
                      <a:pt x="243" y="166"/>
                    </a:lnTo>
                    <a:lnTo>
                      <a:pt x="244" y="170"/>
                    </a:lnTo>
                    <a:lnTo>
                      <a:pt x="245" y="174"/>
                    </a:lnTo>
                    <a:lnTo>
                      <a:pt x="243" y="180"/>
                    </a:lnTo>
                    <a:lnTo>
                      <a:pt x="240" y="188"/>
                    </a:lnTo>
                    <a:lnTo>
                      <a:pt x="237" y="199"/>
                    </a:lnTo>
                    <a:lnTo>
                      <a:pt x="227" y="220"/>
                    </a:lnTo>
                    <a:lnTo>
                      <a:pt x="216" y="243"/>
                    </a:lnTo>
                    <a:lnTo>
                      <a:pt x="213" y="255"/>
                    </a:lnTo>
                    <a:lnTo>
                      <a:pt x="211" y="266"/>
                    </a:lnTo>
                    <a:lnTo>
                      <a:pt x="211" y="272"/>
                    </a:lnTo>
                    <a:lnTo>
                      <a:pt x="213" y="278"/>
                    </a:lnTo>
                    <a:lnTo>
                      <a:pt x="215" y="284"/>
                    </a:lnTo>
                    <a:lnTo>
                      <a:pt x="217" y="289"/>
                    </a:lnTo>
                    <a:lnTo>
                      <a:pt x="223" y="301"/>
                    </a:lnTo>
                    <a:lnTo>
                      <a:pt x="228" y="312"/>
                    </a:lnTo>
                    <a:lnTo>
                      <a:pt x="231" y="318"/>
                    </a:lnTo>
                    <a:lnTo>
                      <a:pt x="233" y="323"/>
                    </a:lnTo>
                    <a:lnTo>
                      <a:pt x="237" y="328"/>
                    </a:lnTo>
                    <a:lnTo>
                      <a:pt x="241" y="334"/>
                    </a:lnTo>
                    <a:lnTo>
                      <a:pt x="248" y="341"/>
                    </a:lnTo>
                    <a:lnTo>
                      <a:pt x="255" y="350"/>
                    </a:lnTo>
                    <a:lnTo>
                      <a:pt x="257" y="355"/>
                    </a:lnTo>
                    <a:lnTo>
                      <a:pt x="258" y="361"/>
                    </a:lnTo>
                    <a:lnTo>
                      <a:pt x="260" y="366"/>
                    </a:lnTo>
                    <a:lnTo>
                      <a:pt x="260" y="371"/>
                    </a:lnTo>
                    <a:lnTo>
                      <a:pt x="252" y="367"/>
                    </a:lnTo>
                    <a:lnTo>
                      <a:pt x="241" y="359"/>
                    </a:lnTo>
                    <a:lnTo>
                      <a:pt x="231" y="349"/>
                    </a:lnTo>
                    <a:lnTo>
                      <a:pt x="223" y="343"/>
                    </a:lnTo>
                    <a:lnTo>
                      <a:pt x="219" y="340"/>
                    </a:lnTo>
                    <a:lnTo>
                      <a:pt x="214" y="335"/>
                    </a:lnTo>
                    <a:lnTo>
                      <a:pt x="210" y="330"/>
                    </a:lnTo>
                    <a:lnTo>
                      <a:pt x="208" y="325"/>
                    </a:lnTo>
                    <a:lnTo>
                      <a:pt x="204" y="314"/>
                    </a:lnTo>
                    <a:lnTo>
                      <a:pt x="201" y="302"/>
                    </a:lnTo>
                    <a:lnTo>
                      <a:pt x="198" y="293"/>
                    </a:lnTo>
                    <a:lnTo>
                      <a:pt x="195" y="282"/>
                    </a:lnTo>
                    <a:lnTo>
                      <a:pt x="192" y="278"/>
                    </a:lnTo>
                    <a:lnTo>
                      <a:pt x="189" y="275"/>
                    </a:lnTo>
                    <a:lnTo>
                      <a:pt x="185" y="271"/>
                    </a:lnTo>
                    <a:lnTo>
                      <a:pt x="180" y="269"/>
                    </a:lnTo>
                    <a:lnTo>
                      <a:pt x="168" y="261"/>
                    </a:lnTo>
                    <a:lnTo>
                      <a:pt x="145" y="248"/>
                    </a:lnTo>
                    <a:lnTo>
                      <a:pt x="125" y="235"/>
                    </a:lnTo>
                    <a:lnTo>
                      <a:pt x="115" y="228"/>
                    </a:lnTo>
                    <a:lnTo>
                      <a:pt x="108" y="228"/>
                    </a:lnTo>
                    <a:lnTo>
                      <a:pt x="101" y="225"/>
                    </a:lnTo>
                    <a:lnTo>
                      <a:pt x="92" y="222"/>
                    </a:lnTo>
                    <a:lnTo>
                      <a:pt x="84" y="219"/>
                    </a:lnTo>
                    <a:lnTo>
                      <a:pt x="75" y="216"/>
                    </a:lnTo>
                    <a:lnTo>
                      <a:pt x="67" y="213"/>
                    </a:lnTo>
                    <a:lnTo>
                      <a:pt x="59" y="211"/>
                    </a:lnTo>
                    <a:lnTo>
                      <a:pt x="50" y="210"/>
                    </a:lnTo>
                    <a:lnTo>
                      <a:pt x="43" y="2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6"/>
              <p:cNvSpPr>
                <a:spLocks/>
              </p:cNvSpPr>
              <p:nvPr/>
            </p:nvSpPr>
            <p:spPr bwMode="auto">
              <a:xfrm>
                <a:off x="2041526" y="5172075"/>
                <a:ext cx="49213" cy="25400"/>
              </a:xfrm>
              <a:custGeom>
                <a:avLst/>
                <a:gdLst>
                  <a:gd name="T0" fmla="*/ 107 w 124"/>
                  <a:gd name="T1" fmla="*/ 0 h 64"/>
                  <a:gd name="T2" fmla="*/ 97 w 124"/>
                  <a:gd name="T3" fmla="*/ 1 h 64"/>
                  <a:gd name="T4" fmla="*/ 87 w 124"/>
                  <a:gd name="T5" fmla="*/ 4 h 64"/>
                  <a:gd name="T6" fmla="*/ 76 w 124"/>
                  <a:gd name="T7" fmla="*/ 5 h 64"/>
                  <a:gd name="T8" fmla="*/ 65 w 124"/>
                  <a:gd name="T9" fmla="*/ 5 h 64"/>
                  <a:gd name="T10" fmla="*/ 57 w 124"/>
                  <a:gd name="T11" fmla="*/ 3 h 64"/>
                  <a:gd name="T12" fmla="*/ 45 w 124"/>
                  <a:gd name="T13" fmla="*/ 0 h 64"/>
                  <a:gd name="T14" fmla="*/ 40 w 124"/>
                  <a:gd name="T15" fmla="*/ 0 h 64"/>
                  <a:gd name="T16" fmla="*/ 35 w 124"/>
                  <a:gd name="T17" fmla="*/ 0 h 64"/>
                  <a:gd name="T18" fmla="*/ 33 w 124"/>
                  <a:gd name="T19" fmla="*/ 1 h 64"/>
                  <a:gd name="T20" fmla="*/ 30 w 124"/>
                  <a:gd name="T21" fmla="*/ 4 h 64"/>
                  <a:gd name="T22" fmla="*/ 29 w 124"/>
                  <a:gd name="T23" fmla="*/ 5 h 64"/>
                  <a:gd name="T24" fmla="*/ 28 w 124"/>
                  <a:gd name="T25" fmla="*/ 9 h 64"/>
                  <a:gd name="T26" fmla="*/ 27 w 124"/>
                  <a:gd name="T27" fmla="*/ 10 h 64"/>
                  <a:gd name="T28" fmla="*/ 27 w 124"/>
                  <a:gd name="T29" fmla="*/ 12 h 64"/>
                  <a:gd name="T30" fmla="*/ 21 w 124"/>
                  <a:gd name="T31" fmla="*/ 21 h 64"/>
                  <a:gd name="T32" fmla="*/ 16 w 124"/>
                  <a:gd name="T33" fmla="*/ 30 h 64"/>
                  <a:gd name="T34" fmla="*/ 10 w 124"/>
                  <a:gd name="T35" fmla="*/ 38 h 64"/>
                  <a:gd name="T36" fmla="*/ 3 w 124"/>
                  <a:gd name="T37" fmla="*/ 47 h 64"/>
                  <a:gd name="T38" fmla="*/ 0 w 124"/>
                  <a:gd name="T39" fmla="*/ 52 h 64"/>
                  <a:gd name="T40" fmla="*/ 0 w 124"/>
                  <a:gd name="T41" fmla="*/ 54 h 64"/>
                  <a:gd name="T42" fmla="*/ 4 w 124"/>
                  <a:gd name="T43" fmla="*/ 56 h 64"/>
                  <a:gd name="T44" fmla="*/ 12 w 124"/>
                  <a:gd name="T45" fmla="*/ 54 h 64"/>
                  <a:gd name="T46" fmla="*/ 22 w 124"/>
                  <a:gd name="T47" fmla="*/ 53 h 64"/>
                  <a:gd name="T48" fmla="*/ 30 w 124"/>
                  <a:gd name="T49" fmla="*/ 53 h 64"/>
                  <a:gd name="T50" fmla="*/ 40 w 124"/>
                  <a:gd name="T51" fmla="*/ 56 h 64"/>
                  <a:gd name="T52" fmla="*/ 48 w 124"/>
                  <a:gd name="T53" fmla="*/ 58 h 64"/>
                  <a:gd name="T54" fmla="*/ 63 w 124"/>
                  <a:gd name="T55" fmla="*/ 63 h 64"/>
                  <a:gd name="T56" fmla="*/ 80 w 124"/>
                  <a:gd name="T57" fmla="*/ 64 h 64"/>
                  <a:gd name="T58" fmla="*/ 87 w 124"/>
                  <a:gd name="T59" fmla="*/ 64 h 64"/>
                  <a:gd name="T60" fmla="*/ 95 w 124"/>
                  <a:gd name="T61" fmla="*/ 64 h 64"/>
                  <a:gd name="T62" fmla="*/ 103 w 124"/>
                  <a:gd name="T63" fmla="*/ 62 h 64"/>
                  <a:gd name="T64" fmla="*/ 110 w 124"/>
                  <a:gd name="T65" fmla="*/ 59 h 64"/>
                  <a:gd name="T66" fmla="*/ 116 w 124"/>
                  <a:gd name="T67" fmla="*/ 56 h 64"/>
                  <a:gd name="T68" fmla="*/ 119 w 124"/>
                  <a:gd name="T69" fmla="*/ 51 h 64"/>
                  <a:gd name="T70" fmla="*/ 123 w 124"/>
                  <a:gd name="T71" fmla="*/ 46 h 64"/>
                  <a:gd name="T72" fmla="*/ 124 w 124"/>
                  <a:gd name="T73" fmla="*/ 41 h 64"/>
                  <a:gd name="T74" fmla="*/ 124 w 124"/>
                  <a:gd name="T75" fmla="*/ 30 h 64"/>
                  <a:gd name="T76" fmla="*/ 123 w 124"/>
                  <a:gd name="T77" fmla="*/ 17 h 64"/>
                  <a:gd name="T78" fmla="*/ 107 w 124"/>
                  <a:gd name="T7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4" h="64">
                    <a:moveTo>
                      <a:pt x="107" y="0"/>
                    </a:moveTo>
                    <a:lnTo>
                      <a:pt x="97" y="1"/>
                    </a:lnTo>
                    <a:lnTo>
                      <a:pt x="87" y="4"/>
                    </a:lnTo>
                    <a:lnTo>
                      <a:pt x="76" y="5"/>
                    </a:lnTo>
                    <a:lnTo>
                      <a:pt x="65" y="5"/>
                    </a:lnTo>
                    <a:lnTo>
                      <a:pt x="57" y="3"/>
                    </a:lnTo>
                    <a:lnTo>
                      <a:pt x="45" y="0"/>
                    </a:lnTo>
                    <a:lnTo>
                      <a:pt x="40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0" y="4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7" y="10"/>
                    </a:lnTo>
                    <a:lnTo>
                      <a:pt x="27" y="12"/>
                    </a:lnTo>
                    <a:lnTo>
                      <a:pt x="21" y="21"/>
                    </a:lnTo>
                    <a:lnTo>
                      <a:pt x="16" y="30"/>
                    </a:lnTo>
                    <a:lnTo>
                      <a:pt x="10" y="38"/>
                    </a:lnTo>
                    <a:lnTo>
                      <a:pt x="3" y="47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4" y="56"/>
                    </a:lnTo>
                    <a:lnTo>
                      <a:pt x="12" y="54"/>
                    </a:lnTo>
                    <a:lnTo>
                      <a:pt x="22" y="53"/>
                    </a:lnTo>
                    <a:lnTo>
                      <a:pt x="30" y="53"/>
                    </a:lnTo>
                    <a:lnTo>
                      <a:pt x="40" y="56"/>
                    </a:lnTo>
                    <a:lnTo>
                      <a:pt x="48" y="58"/>
                    </a:lnTo>
                    <a:lnTo>
                      <a:pt x="63" y="63"/>
                    </a:lnTo>
                    <a:lnTo>
                      <a:pt x="80" y="64"/>
                    </a:lnTo>
                    <a:lnTo>
                      <a:pt x="87" y="64"/>
                    </a:lnTo>
                    <a:lnTo>
                      <a:pt x="95" y="64"/>
                    </a:lnTo>
                    <a:lnTo>
                      <a:pt x="103" y="62"/>
                    </a:lnTo>
                    <a:lnTo>
                      <a:pt x="110" y="59"/>
                    </a:lnTo>
                    <a:lnTo>
                      <a:pt x="116" y="56"/>
                    </a:lnTo>
                    <a:lnTo>
                      <a:pt x="119" y="51"/>
                    </a:lnTo>
                    <a:lnTo>
                      <a:pt x="123" y="46"/>
                    </a:lnTo>
                    <a:lnTo>
                      <a:pt x="124" y="41"/>
                    </a:lnTo>
                    <a:lnTo>
                      <a:pt x="124" y="30"/>
                    </a:lnTo>
                    <a:lnTo>
                      <a:pt x="123" y="17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7"/>
              <p:cNvSpPr>
                <a:spLocks/>
              </p:cNvSpPr>
              <p:nvPr/>
            </p:nvSpPr>
            <p:spPr bwMode="auto">
              <a:xfrm>
                <a:off x="763588" y="7323138"/>
                <a:ext cx="42863" cy="20638"/>
              </a:xfrm>
              <a:custGeom>
                <a:avLst/>
                <a:gdLst>
                  <a:gd name="T0" fmla="*/ 86 w 108"/>
                  <a:gd name="T1" fmla="*/ 0 h 56"/>
                  <a:gd name="T2" fmla="*/ 78 w 108"/>
                  <a:gd name="T3" fmla="*/ 1 h 56"/>
                  <a:gd name="T4" fmla="*/ 71 w 108"/>
                  <a:gd name="T5" fmla="*/ 3 h 56"/>
                  <a:gd name="T6" fmla="*/ 56 w 108"/>
                  <a:gd name="T7" fmla="*/ 6 h 56"/>
                  <a:gd name="T8" fmla="*/ 40 w 108"/>
                  <a:gd name="T9" fmla="*/ 9 h 56"/>
                  <a:gd name="T10" fmla="*/ 27 w 108"/>
                  <a:gd name="T11" fmla="*/ 11 h 56"/>
                  <a:gd name="T12" fmla="*/ 14 w 108"/>
                  <a:gd name="T13" fmla="*/ 11 h 56"/>
                  <a:gd name="T14" fmla="*/ 8 w 108"/>
                  <a:gd name="T15" fmla="*/ 12 h 56"/>
                  <a:gd name="T16" fmla="*/ 3 w 108"/>
                  <a:gd name="T17" fmla="*/ 15 h 56"/>
                  <a:gd name="T18" fmla="*/ 1 w 108"/>
                  <a:gd name="T19" fmla="*/ 18 h 56"/>
                  <a:gd name="T20" fmla="*/ 0 w 108"/>
                  <a:gd name="T21" fmla="*/ 23 h 56"/>
                  <a:gd name="T22" fmla="*/ 0 w 108"/>
                  <a:gd name="T23" fmla="*/ 29 h 56"/>
                  <a:gd name="T24" fmla="*/ 2 w 108"/>
                  <a:gd name="T25" fmla="*/ 34 h 56"/>
                  <a:gd name="T26" fmla="*/ 6 w 108"/>
                  <a:gd name="T27" fmla="*/ 39 h 56"/>
                  <a:gd name="T28" fmla="*/ 9 w 108"/>
                  <a:gd name="T29" fmla="*/ 42 h 56"/>
                  <a:gd name="T30" fmla="*/ 16 w 108"/>
                  <a:gd name="T31" fmla="*/ 46 h 56"/>
                  <a:gd name="T32" fmla="*/ 24 w 108"/>
                  <a:gd name="T33" fmla="*/ 50 h 56"/>
                  <a:gd name="T34" fmla="*/ 32 w 108"/>
                  <a:gd name="T35" fmla="*/ 52 h 56"/>
                  <a:gd name="T36" fmla="*/ 40 w 108"/>
                  <a:gd name="T37" fmla="*/ 54 h 56"/>
                  <a:gd name="T38" fmla="*/ 49 w 108"/>
                  <a:gd name="T39" fmla="*/ 56 h 56"/>
                  <a:gd name="T40" fmla="*/ 57 w 108"/>
                  <a:gd name="T41" fmla="*/ 56 h 56"/>
                  <a:gd name="T42" fmla="*/ 65 w 108"/>
                  <a:gd name="T43" fmla="*/ 53 h 56"/>
                  <a:gd name="T44" fmla="*/ 72 w 108"/>
                  <a:gd name="T45" fmla="*/ 51 h 56"/>
                  <a:gd name="T46" fmla="*/ 79 w 108"/>
                  <a:gd name="T47" fmla="*/ 46 h 56"/>
                  <a:gd name="T48" fmla="*/ 86 w 108"/>
                  <a:gd name="T49" fmla="*/ 40 h 56"/>
                  <a:gd name="T50" fmla="*/ 91 w 108"/>
                  <a:gd name="T51" fmla="*/ 34 h 56"/>
                  <a:gd name="T52" fmla="*/ 96 w 108"/>
                  <a:gd name="T53" fmla="*/ 28 h 56"/>
                  <a:gd name="T54" fmla="*/ 102 w 108"/>
                  <a:gd name="T55" fmla="*/ 18 h 56"/>
                  <a:gd name="T56" fmla="*/ 108 w 108"/>
                  <a:gd name="T57" fmla="*/ 7 h 56"/>
                  <a:gd name="T58" fmla="*/ 105 w 108"/>
                  <a:gd name="T59" fmla="*/ 9 h 56"/>
                  <a:gd name="T60" fmla="*/ 86 w 108"/>
                  <a:gd name="T6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8" h="56">
                    <a:moveTo>
                      <a:pt x="86" y="0"/>
                    </a:moveTo>
                    <a:lnTo>
                      <a:pt x="78" y="1"/>
                    </a:lnTo>
                    <a:lnTo>
                      <a:pt x="71" y="3"/>
                    </a:lnTo>
                    <a:lnTo>
                      <a:pt x="56" y="6"/>
                    </a:lnTo>
                    <a:lnTo>
                      <a:pt x="40" y="9"/>
                    </a:lnTo>
                    <a:lnTo>
                      <a:pt x="27" y="11"/>
                    </a:lnTo>
                    <a:lnTo>
                      <a:pt x="14" y="11"/>
                    </a:lnTo>
                    <a:lnTo>
                      <a:pt x="8" y="12"/>
                    </a:lnTo>
                    <a:lnTo>
                      <a:pt x="3" y="15"/>
                    </a:lnTo>
                    <a:lnTo>
                      <a:pt x="1" y="18"/>
                    </a:lnTo>
                    <a:lnTo>
                      <a:pt x="0" y="23"/>
                    </a:lnTo>
                    <a:lnTo>
                      <a:pt x="0" y="29"/>
                    </a:lnTo>
                    <a:lnTo>
                      <a:pt x="2" y="34"/>
                    </a:lnTo>
                    <a:lnTo>
                      <a:pt x="6" y="39"/>
                    </a:lnTo>
                    <a:lnTo>
                      <a:pt x="9" y="42"/>
                    </a:lnTo>
                    <a:lnTo>
                      <a:pt x="16" y="46"/>
                    </a:lnTo>
                    <a:lnTo>
                      <a:pt x="24" y="50"/>
                    </a:lnTo>
                    <a:lnTo>
                      <a:pt x="32" y="52"/>
                    </a:lnTo>
                    <a:lnTo>
                      <a:pt x="40" y="54"/>
                    </a:lnTo>
                    <a:lnTo>
                      <a:pt x="49" y="56"/>
                    </a:lnTo>
                    <a:lnTo>
                      <a:pt x="57" y="56"/>
                    </a:lnTo>
                    <a:lnTo>
                      <a:pt x="65" y="53"/>
                    </a:lnTo>
                    <a:lnTo>
                      <a:pt x="72" y="51"/>
                    </a:lnTo>
                    <a:lnTo>
                      <a:pt x="79" y="46"/>
                    </a:lnTo>
                    <a:lnTo>
                      <a:pt x="86" y="40"/>
                    </a:lnTo>
                    <a:lnTo>
                      <a:pt x="91" y="34"/>
                    </a:lnTo>
                    <a:lnTo>
                      <a:pt x="96" y="28"/>
                    </a:lnTo>
                    <a:lnTo>
                      <a:pt x="102" y="18"/>
                    </a:lnTo>
                    <a:lnTo>
                      <a:pt x="108" y="7"/>
                    </a:lnTo>
                    <a:lnTo>
                      <a:pt x="105" y="9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8"/>
              <p:cNvSpPr>
                <a:spLocks/>
              </p:cNvSpPr>
              <p:nvPr/>
            </p:nvSpPr>
            <p:spPr bwMode="auto">
              <a:xfrm>
                <a:off x="877888" y="7505700"/>
                <a:ext cx="39688" cy="20638"/>
              </a:xfrm>
              <a:custGeom>
                <a:avLst/>
                <a:gdLst>
                  <a:gd name="T0" fmla="*/ 83 w 99"/>
                  <a:gd name="T1" fmla="*/ 2 h 51"/>
                  <a:gd name="T2" fmla="*/ 65 w 99"/>
                  <a:gd name="T3" fmla="*/ 2 h 51"/>
                  <a:gd name="T4" fmla="*/ 47 w 99"/>
                  <a:gd name="T5" fmla="*/ 3 h 51"/>
                  <a:gd name="T6" fmla="*/ 35 w 99"/>
                  <a:gd name="T7" fmla="*/ 2 h 51"/>
                  <a:gd name="T8" fmla="*/ 23 w 99"/>
                  <a:gd name="T9" fmla="*/ 1 h 51"/>
                  <a:gd name="T10" fmla="*/ 17 w 99"/>
                  <a:gd name="T11" fmla="*/ 0 h 51"/>
                  <a:gd name="T12" fmla="*/ 11 w 99"/>
                  <a:gd name="T13" fmla="*/ 0 h 51"/>
                  <a:gd name="T14" fmla="*/ 5 w 99"/>
                  <a:gd name="T15" fmla="*/ 1 h 51"/>
                  <a:gd name="T16" fmla="*/ 0 w 99"/>
                  <a:gd name="T17" fmla="*/ 3 h 51"/>
                  <a:gd name="T18" fmla="*/ 0 w 99"/>
                  <a:gd name="T19" fmla="*/ 7 h 51"/>
                  <a:gd name="T20" fmla="*/ 2 w 99"/>
                  <a:gd name="T21" fmla="*/ 9 h 51"/>
                  <a:gd name="T22" fmla="*/ 3 w 99"/>
                  <a:gd name="T23" fmla="*/ 12 h 51"/>
                  <a:gd name="T24" fmla="*/ 5 w 99"/>
                  <a:gd name="T25" fmla="*/ 15 h 51"/>
                  <a:gd name="T26" fmla="*/ 10 w 99"/>
                  <a:gd name="T27" fmla="*/ 24 h 51"/>
                  <a:gd name="T28" fmla="*/ 16 w 99"/>
                  <a:gd name="T29" fmla="*/ 31 h 51"/>
                  <a:gd name="T30" fmla="*/ 20 w 99"/>
                  <a:gd name="T31" fmla="*/ 38 h 51"/>
                  <a:gd name="T32" fmla="*/ 23 w 99"/>
                  <a:gd name="T33" fmla="*/ 43 h 51"/>
                  <a:gd name="T34" fmla="*/ 29 w 99"/>
                  <a:gd name="T35" fmla="*/ 48 h 51"/>
                  <a:gd name="T36" fmla="*/ 35 w 99"/>
                  <a:gd name="T37" fmla="*/ 50 h 51"/>
                  <a:gd name="T38" fmla="*/ 40 w 99"/>
                  <a:gd name="T39" fmla="*/ 51 h 51"/>
                  <a:gd name="T40" fmla="*/ 44 w 99"/>
                  <a:gd name="T41" fmla="*/ 51 h 51"/>
                  <a:gd name="T42" fmla="*/ 47 w 99"/>
                  <a:gd name="T43" fmla="*/ 50 h 51"/>
                  <a:gd name="T44" fmla="*/ 51 w 99"/>
                  <a:gd name="T45" fmla="*/ 48 h 51"/>
                  <a:gd name="T46" fmla="*/ 55 w 99"/>
                  <a:gd name="T47" fmla="*/ 47 h 51"/>
                  <a:gd name="T48" fmla="*/ 58 w 99"/>
                  <a:gd name="T49" fmla="*/ 45 h 51"/>
                  <a:gd name="T50" fmla="*/ 69 w 99"/>
                  <a:gd name="T51" fmla="*/ 40 h 51"/>
                  <a:gd name="T52" fmla="*/ 79 w 99"/>
                  <a:gd name="T53" fmla="*/ 36 h 51"/>
                  <a:gd name="T54" fmla="*/ 85 w 99"/>
                  <a:gd name="T55" fmla="*/ 32 h 51"/>
                  <a:gd name="T56" fmla="*/ 88 w 99"/>
                  <a:gd name="T57" fmla="*/ 28 h 51"/>
                  <a:gd name="T58" fmla="*/ 93 w 99"/>
                  <a:gd name="T59" fmla="*/ 22 h 51"/>
                  <a:gd name="T60" fmla="*/ 97 w 99"/>
                  <a:gd name="T61" fmla="*/ 16 h 51"/>
                  <a:gd name="T62" fmla="*/ 98 w 99"/>
                  <a:gd name="T63" fmla="*/ 16 h 51"/>
                  <a:gd name="T64" fmla="*/ 99 w 99"/>
                  <a:gd name="T65" fmla="*/ 15 h 51"/>
                  <a:gd name="T66" fmla="*/ 83 w 99"/>
                  <a:gd name="T6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9" h="51">
                    <a:moveTo>
                      <a:pt x="83" y="2"/>
                    </a:moveTo>
                    <a:lnTo>
                      <a:pt x="65" y="2"/>
                    </a:lnTo>
                    <a:lnTo>
                      <a:pt x="47" y="3"/>
                    </a:lnTo>
                    <a:lnTo>
                      <a:pt x="35" y="2"/>
                    </a:lnTo>
                    <a:lnTo>
                      <a:pt x="23" y="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3" y="12"/>
                    </a:lnTo>
                    <a:lnTo>
                      <a:pt x="5" y="15"/>
                    </a:lnTo>
                    <a:lnTo>
                      <a:pt x="10" y="24"/>
                    </a:lnTo>
                    <a:lnTo>
                      <a:pt x="16" y="31"/>
                    </a:lnTo>
                    <a:lnTo>
                      <a:pt x="20" y="38"/>
                    </a:lnTo>
                    <a:lnTo>
                      <a:pt x="23" y="43"/>
                    </a:lnTo>
                    <a:lnTo>
                      <a:pt x="29" y="48"/>
                    </a:lnTo>
                    <a:lnTo>
                      <a:pt x="35" y="50"/>
                    </a:lnTo>
                    <a:lnTo>
                      <a:pt x="40" y="51"/>
                    </a:lnTo>
                    <a:lnTo>
                      <a:pt x="44" y="51"/>
                    </a:lnTo>
                    <a:lnTo>
                      <a:pt x="47" y="50"/>
                    </a:lnTo>
                    <a:lnTo>
                      <a:pt x="51" y="48"/>
                    </a:lnTo>
                    <a:lnTo>
                      <a:pt x="55" y="47"/>
                    </a:lnTo>
                    <a:lnTo>
                      <a:pt x="58" y="45"/>
                    </a:lnTo>
                    <a:lnTo>
                      <a:pt x="69" y="40"/>
                    </a:lnTo>
                    <a:lnTo>
                      <a:pt x="79" y="36"/>
                    </a:lnTo>
                    <a:lnTo>
                      <a:pt x="85" y="32"/>
                    </a:lnTo>
                    <a:lnTo>
                      <a:pt x="88" y="28"/>
                    </a:lnTo>
                    <a:lnTo>
                      <a:pt x="93" y="22"/>
                    </a:lnTo>
                    <a:lnTo>
                      <a:pt x="97" y="16"/>
                    </a:lnTo>
                    <a:lnTo>
                      <a:pt x="98" y="16"/>
                    </a:lnTo>
                    <a:lnTo>
                      <a:pt x="99" y="15"/>
                    </a:lnTo>
                    <a:lnTo>
                      <a:pt x="8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19"/>
              <p:cNvSpPr>
                <a:spLocks/>
              </p:cNvSpPr>
              <p:nvPr/>
            </p:nvSpPr>
            <p:spPr bwMode="auto">
              <a:xfrm>
                <a:off x="1482726" y="8201025"/>
                <a:ext cx="61913" cy="42863"/>
              </a:xfrm>
              <a:custGeom>
                <a:avLst/>
                <a:gdLst>
                  <a:gd name="T0" fmla="*/ 109 w 159"/>
                  <a:gd name="T1" fmla="*/ 46 h 107"/>
                  <a:gd name="T2" fmla="*/ 104 w 159"/>
                  <a:gd name="T3" fmla="*/ 49 h 107"/>
                  <a:gd name="T4" fmla="*/ 98 w 159"/>
                  <a:gd name="T5" fmla="*/ 49 h 107"/>
                  <a:gd name="T6" fmla="*/ 95 w 159"/>
                  <a:gd name="T7" fmla="*/ 49 h 107"/>
                  <a:gd name="T8" fmla="*/ 91 w 159"/>
                  <a:gd name="T9" fmla="*/ 46 h 107"/>
                  <a:gd name="T10" fmla="*/ 88 w 159"/>
                  <a:gd name="T11" fmla="*/ 44 h 107"/>
                  <a:gd name="T12" fmla="*/ 84 w 159"/>
                  <a:gd name="T13" fmla="*/ 42 h 107"/>
                  <a:gd name="T14" fmla="*/ 82 w 159"/>
                  <a:gd name="T15" fmla="*/ 38 h 107"/>
                  <a:gd name="T16" fmla="*/ 79 w 159"/>
                  <a:gd name="T17" fmla="*/ 33 h 107"/>
                  <a:gd name="T18" fmla="*/ 74 w 159"/>
                  <a:gd name="T19" fmla="*/ 25 h 107"/>
                  <a:gd name="T20" fmla="*/ 70 w 159"/>
                  <a:gd name="T21" fmla="*/ 15 h 107"/>
                  <a:gd name="T22" fmla="*/ 65 w 159"/>
                  <a:gd name="T23" fmla="*/ 7 h 107"/>
                  <a:gd name="T24" fmla="*/ 58 w 159"/>
                  <a:gd name="T25" fmla="*/ 1 h 107"/>
                  <a:gd name="T26" fmla="*/ 55 w 159"/>
                  <a:gd name="T27" fmla="*/ 0 h 107"/>
                  <a:gd name="T28" fmla="*/ 52 w 159"/>
                  <a:gd name="T29" fmla="*/ 0 h 107"/>
                  <a:gd name="T30" fmla="*/ 48 w 159"/>
                  <a:gd name="T31" fmla="*/ 1 h 107"/>
                  <a:gd name="T32" fmla="*/ 44 w 159"/>
                  <a:gd name="T33" fmla="*/ 3 h 107"/>
                  <a:gd name="T34" fmla="*/ 37 w 159"/>
                  <a:gd name="T35" fmla="*/ 10 h 107"/>
                  <a:gd name="T36" fmla="*/ 30 w 159"/>
                  <a:gd name="T37" fmla="*/ 19 h 107"/>
                  <a:gd name="T38" fmla="*/ 17 w 159"/>
                  <a:gd name="T39" fmla="*/ 38 h 107"/>
                  <a:gd name="T40" fmla="*/ 9 w 159"/>
                  <a:gd name="T41" fmla="*/ 51 h 107"/>
                  <a:gd name="T42" fmla="*/ 3 w 159"/>
                  <a:gd name="T43" fmla="*/ 63 h 107"/>
                  <a:gd name="T44" fmla="*/ 0 w 159"/>
                  <a:gd name="T45" fmla="*/ 74 h 107"/>
                  <a:gd name="T46" fmla="*/ 0 w 159"/>
                  <a:gd name="T47" fmla="*/ 79 h 107"/>
                  <a:gd name="T48" fmla="*/ 0 w 159"/>
                  <a:gd name="T49" fmla="*/ 84 h 107"/>
                  <a:gd name="T50" fmla="*/ 2 w 159"/>
                  <a:gd name="T51" fmla="*/ 90 h 107"/>
                  <a:gd name="T52" fmla="*/ 5 w 159"/>
                  <a:gd name="T53" fmla="*/ 95 h 107"/>
                  <a:gd name="T54" fmla="*/ 7 w 159"/>
                  <a:gd name="T55" fmla="*/ 98 h 107"/>
                  <a:gd name="T56" fmla="*/ 11 w 159"/>
                  <a:gd name="T57" fmla="*/ 102 h 107"/>
                  <a:gd name="T58" fmla="*/ 14 w 159"/>
                  <a:gd name="T59" fmla="*/ 104 h 107"/>
                  <a:gd name="T60" fmla="*/ 19 w 159"/>
                  <a:gd name="T61" fmla="*/ 105 h 107"/>
                  <a:gd name="T62" fmla="*/ 29 w 159"/>
                  <a:gd name="T63" fmla="*/ 107 h 107"/>
                  <a:gd name="T64" fmla="*/ 38 w 159"/>
                  <a:gd name="T65" fmla="*/ 107 h 107"/>
                  <a:gd name="T66" fmla="*/ 59 w 159"/>
                  <a:gd name="T67" fmla="*/ 103 h 107"/>
                  <a:gd name="T68" fmla="*/ 77 w 159"/>
                  <a:gd name="T69" fmla="*/ 101 h 107"/>
                  <a:gd name="T70" fmla="*/ 95 w 159"/>
                  <a:gd name="T71" fmla="*/ 101 h 107"/>
                  <a:gd name="T72" fmla="*/ 123 w 159"/>
                  <a:gd name="T73" fmla="*/ 99 h 107"/>
                  <a:gd name="T74" fmla="*/ 136 w 159"/>
                  <a:gd name="T75" fmla="*/ 98 h 107"/>
                  <a:gd name="T76" fmla="*/ 148 w 159"/>
                  <a:gd name="T77" fmla="*/ 96 h 107"/>
                  <a:gd name="T78" fmla="*/ 153 w 159"/>
                  <a:gd name="T79" fmla="*/ 93 h 107"/>
                  <a:gd name="T80" fmla="*/ 155 w 159"/>
                  <a:gd name="T81" fmla="*/ 91 h 107"/>
                  <a:gd name="T82" fmla="*/ 157 w 159"/>
                  <a:gd name="T83" fmla="*/ 89 h 107"/>
                  <a:gd name="T84" fmla="*/ 159 w 159"/>
                  <a:gd name="T85" fmla="*/ 85 h 107"/>
                  <a:gd name="T86" fmla="*/ 147 w 159"/>
                  <a:gd name="T87" fmla="*/ 83 h 107"/>
                  <a:gd name="T88" fmla="*/ 135 w 159"/>
                  <a:gd name="T89" fmla="*/ 79 h 107"/>
                  <a:gd name="T90" fmla="*/ 123 w 159"/>
                  <a:gd name="T91" fmla="*/ 74 h 107"/>
                  <a:gd name="T92" fmla="*/ 109 w 159"/>
                  <a:gd name="T93" fmla="*/ 68 h 107"/>
                  <a:gd name="T94" fmla="*/ 109 w 159"/>
                  <a:gd name="T95" fmla="*/ 4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9" h="107">
                    <a:moveTo>
                      <a:pt x="109" y="46"/>
                    </a:moveTo>
                    <a:lnTo>
                      <a:pt x="104" y="49"/>
                    </a:lnTo>
                    <a:lnTo>
                      <a:pt x="98" y="49"/>
                    </a:lnTo>
                    <a:lnTo>
                      <a:pt x="95" y="49"/>
                    </a:lnTo>
                    <a:lnTo>
                      <a:pt x="91" y="46"/>
                    </a:lnTo>
                    <a:lnTo>
                      <a:pt x="88" y="44"/>
                    </a:lnTo>
                    <a:lnTo>
                      <a:pt x="84" y="42"/>
                    </a:lnTo>
                    <a:lnTo>
                      <a:pt x="82" y="38"/>
                    </a:lnTo>
                    <a:lnTo>
                      <a:pt x="79" y="33"/>
                    </a:lnTo>
                    <a:lnTo>
                      <a:pt x="74" y="25"/>
                    </a:lnTo>
                    <a:lnTo>
                      <a:pt x="70" y="15"/>
                    </a:lnTo>
                    <a:lnTo>
                      <a:pt x="65" y="7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8" y="1"/>
                    </a:lnTo>
                    <a:lnTo>
                      <a:pt x="44" y="3"/>
                    </a:lnTo>
                    <a:lnTo>
                      <a:pt x="37" y="10"/>
                    </a:lnTo>
                    <a:lnTo>
                      <a:pt x="30" y="19"/>
                    </a:lnTo>
                    <a:lnTo>
                      <a:pt x="17" y="38"/>
                    </a:lnTo>
                    <a:lnTo>
                      <a:pt x="9" y="51"/>
                    </a:lnTo>
                    <a:lnTo>
                      <a:pt x="3" y="63"/>
                    </a:lnTo>
                    <a:lnTo>
                      <a:pt x="0" y="74"/>
                    </a:lnTo>
                    <a:lnTo>
                      <a:pt x="0" y="79"/>
                    </a:lnTo>
                    <a:lnTo>
                      <a:pt x="0" y="84"/>
                    </a:lnTo>
                    <a:lnTo>
                      <a:pt x="2" y="90"/>
                    </a:lnTo>
                    <a:lnTo>
                      <a:pt x="5" y="95"/>
                    </a:lnTo>
                    <a:lnTo>
                      <a:pt x="7" y="98"/>
                    </a:lnTo>
                    <a:lnTo>
                      <a:pt x="11" y="102"/>
                    </a:lnTo>
                    <a:lnTo>
                      <a:pt x="14" y="104"/>
                    </a:lnTo>
                    <a:lnTo>
                      <a:pt x="19" y="105"/>
                    </a:lnTo>
                    <a:lnTo>
                      <a:pt x="29" y="107"/>
                    </a:lnTo>
                    <a:lnTo>
                      <a:pt x="38" y="107"/>
                    </a:lnTo>
                    <a:lnTo>
                      <a:pt x="59" y="103"/>
                    </a:lnTo>
                    <a:lnTo>
                      <a:pt x="77" y="101"/>
                    </a:lnTo>
                    <a:lnTo>
                      <a:pt x="95" y="101"/>
                    </a:lnTo>
                    <a:lnTo>
                      <a:pt x="123" y="99"/>
                    </a:lnTo>
                    <a:lnTo>
                      <a:pt x="136" y="98"/>
                    </a:lnTo>
                    <a:lnTo>
                      <a:pt x="148" y="96"/>
                    </a:lnTo>
                    <a:lnTo>
                      <a:pt x="153" y="93"/>
                    </a:lnTo>
                    <a:lnTo>
                      <a:pt x="155" y="91"/>
                    </a:lnTo>
                    <a:lnTo>
                      <a:pt x="157" y="89"/>
                    </a:lnTo>
                    <a:lnTo>
                      <a:pt x="159" y="85"/>
                    </a:lnTo>
                    <a:lnTo>
                      <a:pt x="147" y="83"/>
                    </a:lnTo>
                    <a:lnTo>
                      <a:pt x="135" y="79"/>
                    </a:lnTo>
                    <a:lnTo>
                      <a:pt x="123" y="74"/>
                    </a:lnTo>
                    <a:lnTo>
                      <a:pt x="109" y="68"/>
                    </a:lnTo>
                    <a:lnTo>
                      <a:pt x="109" y="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20"/>
              <p:cNvSpPr>
                <a:spLocks/>
              </p:cNvSpPr>
              <p:nvPr/>
            </p:nvSpPr>
            <p:spPr bwMode="auto">
              <a:xfrm>
                <a:off x="1552576" y="8186738"/>
                <a:ext cx="30163" cy="42863"/>
              </a:xfrm>
              <a:custGeom>
                <a:avLst/>
                <a:gdLst>
                  <a:gd name="T0" fmla="*/ 76 w 76"/>
                  <a:gd name="T1" fmla="*/ 43 h 106"/>
                  <a:gd name="T2" fmla="*/ 70 w 76"/>
                  <a:gd name="T3" fmla="*/ 43 h 106"/>
                  <a:gd name="T4" fmla="*/ 65 w 76"/>
                  <a:gd name="T5" fmla="*/ 41 h 106"/>
                  <a:gd name="T6" fmla="*/ 60 w 76"/>
                  <a:gd name="T7" fmla="*/ 38 h 106"/>
                  <a:gd name="T8" fmla="*/ 57 w 76"/>
                  <a:gd name="T9" fmla="*/ 33 h 106"/>
                  <a:gd name="T10" fmla="*/ 51 w 76"/>
                  <a:gd name="T11" fmla="*/ 21 h 106"/>
                  <a:gd name="T12" fmla="*/ 47 w 76"/>
                  <a:gd name="T13" fmla="*/ 11 h 106"/>
                  <a:gd name="T14" fmla="*/ 43 w 76"/>
                  <a:gd name="T15" fmla="*/ 8 h 106"/>
                  <a:gd name="T16" fmla="*/ 38 w 76"/>
                  <a:gd name="T17" fmla="*/ 5 h 106"/>
                  <a:gd name="T18" fmla="*/ 32 w 76"/>
                  <a:gd name="T19" fmla="*/ 3 h 106"/>
                  <a:gd name="T20" fmla="*/ 25 w 76"/>
                  <a:gd name="T21" fmla="*/ 2 h 106"/>
                  <a:gd name="T22" fmla="*/ 12 w 76"/>
                  <a:gd name="T23" fmla="*/ 0 h 106"/>
                  <a:gd name="T24" fmla="*/ 1 w 76"/>
                  <a:gd name="T25" fmla="*/ 0 h 106"/>
                  <a:gd name="T26" fmla="*/ 0 w 76"/>
                  <a:gd name="T27" fmla="*/ 2 h 106"/>
                  <a:gd name="T28" fmla="*/ 8 w 76"/>
                  <a:gd name="T29" fmla="*/ 19 h 106"/>
                  <a:gd name="T30" fmla="*/ 20 w 76"/>
                  <a:gd name="T31" fmla="*/ 37 h 106"/>
                  <a:gd name="T32" fmla="*/ 20 w 76"/>
                  <a:gd name="T33" fmla="*/ 49 h 106"/>
                  <a:gd name="T34" fmla="*/ 20 w 76"/>
                  <a:gd name="T35" fmla="*/ 59 h 106"/>
                  <a:gd name="T36" fmla="*/ 19 w 76"/>
                  <a:gd name="T37" fmla="*/ 71 h 106"/>
                  <a:gd name="T38" fmla="*/ 18 w 76"/>
                  <a:gd name="T39" fmla="*/ 83 h 106"/>
                  <a:gd name="T40" fmla="*/ 17 w 76"/>
                  <a:gd name="T41" fmla="*/ 90 h 106"/>
                  <a:gd name="T42" fmla="*/ 17 w 76"/>
                  <a:gd name="T43" fmla="*/ 98 h 106"/>
                  <a:gd name="T44" fmla="*/ 17 w 76"/>
                  <a:gd name="T45" fmla="*/ 102 h 106"/>
                  <a:gd name="T46" fmla="*/ 18 w 76"/>
                  <a:gd name="T47" fmla="*/ 105 h 106"/>
                  <a:gd name="T48" fmla="*/ 20 w 76"/>
                  <a:gd name="T49" fmla="*/ 106 h 106"/>
                  <a:gd name="T50" fmla="*/ 23 w 76"/>
                  <a:gd name="T51" fmla="*/ 106 h 106"/>
                  <a:gd name="T52" fmla="*/ 33 w 76"/>
                  <a:gd name="T53" fmla="*/ 96 h 106"/>
                  <a:gd name="T54" fmla="*/ 44 w 76"/>
                  <a:gd name="T55" fmla="*/ 86 h 106"/>
                  <a:gd name="T56" fmla="*/ 50 w 76"/>
                  <a:gd name="T57" fmla="*/ 80 h 106"/>
                  <a:gd name="T58" fmla="*/ 57 w 76"/>
                  <a:gd name="T59" fmla="*/ 76 h 106"/>
                  <a:gd name="T60" fmla="*/ 67 w 76"/>
                  <a:gd name="T61" fmla="*/ 68 h 106"/>
                  <a:gd name="T62" fmla="*/ 76 w 76"/>
                  <a:gd name="T63" fmla="*/ 59 h 106"/>
                  <a:gd name="T64" fmla="*/ 76 w 76"/>
                  <a:gd name="T65" fmla="*/ 4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6" h="106">
                    <a:moveTo>
                      <a:pt x="76" y="43"/>
                    </a:moveTo>
                    <a:lnTo>
                      <a:pt x="70" y="43"/>
                    </a:lnTo>
                    <a:lnTo>
                      <a:pt x="65" y="41"/>
                    </a:lnTo>
                    <a:lnTo>
                      <a:pt x="60" y="38"/>
                    </a:lnTo>
                    <a:lnTo>
                      <a:pt x="57" y="33"/>
                    </a:lnTo>
                    <a:lnTo>
                      <a:pt x="51" y="21"/>
                    </a:lnTo>
                    <a:lnTo>
                      <a:pt x="47" y="11"/>
                    </a:lnTo>
                    <a:lnTo>
                      <a:pt x="43" y="8"/>
                    </a:lnTo>
                    <a:lnTo>
                      <a:pt x="38" y="5"/>
                    </a:lnTo>
                    <a:lnTo>
                      <a:pt x="32" y="3"/>
                    </a:lnTo>
                    <a:lnTo>
                      <a:pt x="25" y="2"/>
                    </a:lnTo>
                    <a:lnTo>
                      <a:pt x="1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8" y="19"/>
                    </a:lnTo>
                    <a:lnTo>
                      <a:pt x="20" y="37"/>
                    </a:lnTo>
                    <a:lnTo>
                      <a:pt x="20" y="49"/>
                    </a:lnTo>
                    <a:lnTo>
                      <a:pt x="20" y="59"/>
                    </a:lnTo>
                    <a:lnTo>
                      <a:pt x="19" y="71"/>
                    </a:lnTo>
                    <a:lnTo>
                      <a:pt x="18" y="83"/>
                    </a:lnTo>
                    <a:lnTo>
                      <a:pt x="17" y="90"/>
                    </a:lnTo>
                    <a:lnTo>
                      <a:pt x="17" y="98"/>
                    </a:lnTo>
                    <a:lnTo>
                      <a:pt x="17" y="102"/>
                    </a:lnTo>
                    <a:lnTo>
                      <a:pt x="18" y="105"/>
                    </a:lnTo>
                    <a:lnTo>
                      <a:pt x="20" y="106"/>
                    </a:lnTo>
                    <a:lnTo>
                      <a:pt x="23" y="106"/>
                    </a:lnTo>
                    <a:lnTo>
                      <a:pt x="33" y="96"/>
                    </a:lnTo>
                    <a:lnTo>
                      <a:pt x="44" y="86"/>
                    </a:lnTo>
                    <a:lnTo>
                      <a:pt x="50" y="80"/>
                    </a:lnTo>
                    <a:lnTo>
                      <a:pt x="57" y="76"/>
                    </a:lnTo>
                    <a:lnTo>
                      <a:pt x="67" y="68"/>
                    </a:lnTo>
                    <a:lnTo>
                      <a:pt x="76" y="59"/>
                    </a:lnTo>
                    <a:lnTo>
                      <a:pt x="76" y="4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21"/>
              <p:cNvSpPr>
                <a:spLocks/>
              </p:cNvSpPr>
              <p:nvPr/>
            </p:nvSpPr>
            <p:spPr bwMode="auto">
              <a:xfrm>
                <a:off x="1622426" y="8229600"/>
                <a:ext cx="44450" cy="11113"/>
              </a:xfrm>
              <a:custGeom>
                <a:avLst/>
                <a:gdLst>
                  <a:gd name="T0" fmla="*/ 102 w 108"/>
                  <a:gd name="T1" fmla="*/ 0 h 29"/>
                  <a:gd name="T2" fmla="*/ 91 w 108"/>
                  <a:gd name="T3" fmla="*/ 4 h 29"/>
                  <a:gd name="T4" fmla="*/ 79 w 108"/>
                  <a:gd name="T5" fmla="*/ 5 h 29"/>
                  <a:gd name="T6" fmla="*/ 60 w 108"/>
                  <a:gd name="T7" fmla="*/ 5 h 29"/>
                  <a:gd name="T8" fmla="*/ 54 w 108"/>
                  <a:gd name="T9" fmla="*/ 4 h 29"/>
                  <a:gd name="T10" fmla="*/ 47 w 108"/>
                  <a:gd name="T11" fmla="*/ 3 h 29"/>
                  <a:gd name="T12" fmla="*/ 41 w 108"/>
                  <a:gd name="T13" fmla="*/ 2 h 29"/>
                  <a:gd name="T14" fmla="*/ 34 w 108"/>
                  <a:gd name="T15" fmla="*/ 2 h 29"/>
                  <a:gd name="T16" fmla="*/ 26 w 108"/>
                  <a:gd name="T17" fmla="*/ 3 h 29"/>
                  <a:gd name="T18" fmla="*/ 20 w 108"/>
                  <a:gd name="T19" fmla="*/ 4 h 29"/>
                  <a:gd name="T20" fmla="*/ 13 w 108"/>
                  <a:gd name="T21" fmla="*/ 6 h 29"/>
                  <a:gd name="T22" fmla="*/ 6 w 108"/>
                  <a:gd name="T23" fmla="*/ 9 h 29"/>
                  <a:gd name="T24" fmla="*/ 3 w 108"/>
                  <a:gd name="T25" fmla="*/ 11 h 29"/>
                  <a:gd name="T26" fmla="*/ 0 w 108"/>
                  <a:gd name="T27" fmla="*/ 14 h 29"/>
                  <a:gd name="T28" fmla="*/ 1 w 108"/>
                  <a:gd name="T29" fmla="*/ 17 h 29"/>
                  <a:gd name="T30" fmla="*/ 2 w 108"/>
                  <a:gd name="T31" fmla="*/ 20 h 29"/>
                  <a:gd name="T32" fmla="*/ 5 w 108"/>
                  <a:gd name="T33" fmla="*/ 22 h 29"/>
                  <a:gd name="T34" fmla="*/ 8 w 108"/>
                  <a:gd name="T35" fmla="*/ 24 h 29"/>
                  <a:gd name="T36" fmla="*/ 15 w 108"/>
                  <a:gd name="T37" fmla="*/ 27 h 29"/>
                  <a:gd name="T38" fmla="*/ 23 w 108"/>
                  <a:gd name="T39" fmla="*/ 28 h 29"/>
                  <a:gd name="T40" fmla="*/ 30 w 108"/>
                  <a:gd name="T41" fmla="*/ 29 h 29"/>
                  <a:gd name="T42" fmla="*/ 37 w 108"/>
                  <a:gd name="T43" fmla="*/ 29 h 29"/>
                  <a:gd name="T44" fmla="*/ 47 w 108"/>
                  <a:gd name="T45" fmla="*/ 28 h 29"/>
                  <a:gd name="T46" fmla="*/ 56 w 108"/>
                  <a:gd name="T47" fmla="*/ 27 h 29"/>
                  <a:gd name="T48" fmla="*/ 62 w 108"/>
                  <a:gd name="T49" fmla="*/ 27 h 29"/>
                  <a:gd name="T50" fmla="*/ 68 w 108"/>
                  <a:gd name="T51" fmla="*/ 27 h 29"/>
                  <a:gd name="T52" fmla="*/ 76 w 108"/>
                  <a:gd name="T53" fmla="*/ 27 h 29"/>
                  <a:gd name="T54" fmla="*/ 80 w 108"/>
                  <a:gd name="T55" fmla="*/ 26 h 29"/>
                  <a:gd name="T56" fmla="*/ 88 w 108"/>
                  <a:gd name="T57" fmla="*/ 23 h 29"/>
                  <a:gd name="T58" fmla="*/ 95 w 108"/>
                  <a:gd name="T59" fmla="*/ 22 h 29"/>
                  <a:gd name="T60" fmla="*/ 102 w 108"/>
                  <a:gd name="T61" fmla="*/ 18 h 29"/>
                  <a:gd name="T62" fmla="*/ 108 w 108"/>
                  <a:gd name="T63" fmla="*/ 16 h 29"/>
                  <a:gd name="T64" fmla="*/ 102 w 108"/>
                  <a:gd name="T6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" h="29">
                    <a:moveTo>
                      <a:pt x="102" y="0"/>
                    </a:moveTo>
                    <a:lnTo>
                      <a:pt x="91" y="4"/>
                    </a:lnTo>
                    <a:lnTo>
                      <a:pt x="79" y="5"/>
                    </a:lnTo>
                    <a:lnTo>
                      <a:pt x="60" y="5"/>
                    </a:lnTo>
                    <a:lnTo>
                      <a:pt x="54" y="4"/>
                    </a:lnTo>
                    <a:lnTo>
                      <a:pt x="47" y="3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6" y="3"/>
                    </a:lnTo>
                    <a:lnTo>
                      <a:pt x="20" y="4"/>
                    </a:lnTo>
                    <a:lnTo>
                      <a:pt x="13" y="6"/>
                    </a:lnTo>
                    <a:lnTo>
                      <a:pt x="6" y="9"/>
                    </a:lnTo>
                    <a:lnTo>
                      <a:pt x="3" y="11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2" y="20"/>
                    </a:lnTo>
                    <a:lnTo>
                      <a:pt x="5" y="22"/>
                    </a:lnTo>
                    <a:lnTo>
                      <a:pt x="8" y="24"/>
                    </a:lnTo>
                    <a:lnTo>
                      <a:pt x="15" y="27"/>
                    </a:lnTo>
                    <a:lnTo>
                      <a:pt x="23" y="28"/>
                    </a:lnTo>
                    <a:lnTo>
                      <a:pt x="30" y="29"/>
                    </a:lnTo>
                    <a:lnTo>
                      <a:pt x="37" y="29"/>
                    </a:lnTo>
                    <a:lnTo>
                      <a:pt x="47" y="28"/>
                    </a:lnTo>
                    <a:lnTo>
                      <a:pt x="56" y="27"/>
                    </a:lnTo>
                    <a:lnTo>
                      <a:pt x="62" y="27"/>
                    </a:lnTo>
                    <a:lnTo>
                      <a:pt x="68" y="27"/>
                    </a:lnTo>
                    <a:lnTo>
                      <a:pt x="76" y="27"/>
                    </a:lnTo>
                    <a:lnTo>
                      <a:pt x="80" y="26"/>
                    </a:lnTo>
                    <a:lnTo>
                      <a:pt x="88" y="23"/>
                    </a:lnTo>
                    <a:lnTo>
                      <a:pt x="95" y="22"/>
                    </a:lnTo>
                    <a:lnTo>
                      <a:pt x="102" y="18"/>
                    </a:lnTo>
                    <a:lnTo>
                      <a:pt x="108" y="16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22"/>
              <p:cNvSpPr>
                <a:spLocks/>
              </p:cNvSpPr>
              <p:nvPr/>
            </p:nvSpPr>
            <p:spPr bwMode="auto">
              <a:xfrm>
                <a:off x="1204913" y="8262938"/>
                <a:ext cx="266700" cy="185738"/>
              </a:xfrm>
              <a:custGeom>
                <a:avLst/>
                <a:gdLst>
                  <a:gd name="T0" fmla="*/ 174 w 676"/>
                  <a:gd name="T1" fmla="*/ 450 h 470"/>
                  <a:gd name="T2" fmla="*/ 218 w 676"/>
                  <a:gd name="T3" fmla="*/ 435 h 470"/>
                  <a:gd name="T4" fmla="*/ 260 w 676"/>
                  <a:gd name="T5" fmla="*/ 411 h 470"/>
                  <a:gd name="T6" fmla="*/ 305 w 676"/>
                  <a:gd name="T7" fmla="*/ 390 h 470"/>
                  <a:gd name="T8" fmla="*/ 349 w 676"/>
                  <a:gd name="T9" fmla="*/ 385 h 470"/>
                  <a:gd name="T10" fmla="*/ 394 w 676"/>
                  <a:gd name="T11" fmla="*/ 379 h 470"/>
                  <a:gd name="T12" fmla="*/ 413 w 676"/>
                  <a:gd name="T13" fmla="*/ 363 h 470"/>
                  <a:gd name="T14" fmla="*/ 443 w 676"/>
                  <a:gd name="T15" fmla="*/ 339 h 470"/>
                  <a:gd name="T16" fmla="*/ 475 w 676"/>
                  <a:gd name="T17" fmla="*/ 309 h 470"/>
                  <a:gd name="T18" fmla="*/ 515 w 676"/>
                  <a:gd name="T19" fmla="*/ 262 h 470"/>
                  <a:gd name="T20" fmla="*/ 571 w 676"/>
                  <a:gd name="T21" fmla="*/ 228 h 470"/>
                  <a:gd name="T22" fmla="*/ 612 w 676"/>
                  <a:gd name="T23" fmla="*/ 219 h 470"/>
                  <a:gd name="T24" fmla="*/ 637 w 676"/>
                  <a:gd name="T25" fmla="*/ 196 h 470"/>
                  <a:gd name="T26" fmla="*/ 647 w 676"/>
                  <a:gd name="T27" fmla="*/ 176 h 470"/>
                  <a:gd name="T28" fmla="*/ 672 w 676"/>
                  <a:gd name="T29" fmla="*/ 144 h 470"/>
                  <a:gd name="T30" fmla="*/ 674 w 676"/>
                  <a:gd name="T31" fmla="*/ 120 h 470"/>
                  <a:gd name="T32" fmla="*/ 650 w 676"/>
                  <a:gd name="T33" fmla="*/ 155 h 470"/>
                  <a:gd name="T34" fmla="*/ 607 w 676"/>
                  <a:gd name="T35" fmla="*/ 169 h 470"/>
                  <a:gd name="T36" fmla="*/ 558 w 676"/>
                  <a:gd name="T37" fmla="*/ 196 h 470"/>
                  <a:gd name="T38" fmla="*/ 508 w 676"/>
                  <a:gd name="T39" fmla="*/ 215 h 470"/>
                  <a:gd name="T40" fmla="*/ 477 w 676"/>
                  <a:gd name="T41" fmla="*/ 203 h 470"/>
                  <a:gd name="T42" fmla="*/ 482 w 676"/>
                  <a:gd name="T43" fmla="*/ 183 h 470"/>
                  <a:gd name="T44" fmla="*/ 567 w 676"/>
                  <a:gd name="T45" fmla="*/ 108 h 470"/>
                  <a:gd name="T46" fmla="*/ 609 w 676"/>
                  <a:gd name="T47" fmla="*/ 85 h 470"/>
                  <a:gd name="T48" fmla="*/ 624 w 676"/>
                  <a:gd name="T49" fmla="*/ 53 h 470"/>
                  <a:gd name="T50" fmla="*/ 586 w 676"/>
                  <a:gd name="T51" fmla="*/ 34 h 470"/>
                  <a:gd name="T52" fmla="*/ 567 w 676"/>
                  <a:gd name="T53" fmla="*/ 32 h 470"/>
                  <a:gd name="T54" fmla="*/ 556 w 676"/>
                  <a:gd name="T55" fmla="*/ 56 h 470"/>
                  <a:gd name="T56" fmla="*/ 517 w 676"/>
                  <a:gd name="T57" fmla="*/ 96 h 470"/>
                  <a:gd name="T58" fmla="*/ 466 w 676"/>
                  <a:gd name="T59" fmla="*/ 116 h 470"/>
                  <a:gd name="T60" fmla="*/ 447 w 676"/>
                  <a:gd name="T61" fmla="*/ 56 h 470"/>
                  <a:gd name="T62" fmla="*/ 465 w 676"/>
                  <a:gd name="T63" fmla="*/ 19 h 470"/>
                  <a:gd name="T64" fmla="*/ 448 w 676"/>
                  <a:gd name="T65" fmla="*/ 0 h 470"/>
                  <a:gd name="T66" fmla="*/ 355 w 676"/>
                  <a:gd name="T67" fmla="*/ 30 h 470"/>
                  <a:gd name="T68" fmla="*/ 258 w 676"/>
                  <a:gd name="T69" fmla="*/ 113 h 470"/>
                  <a:gd name="T70" fmla="*/ 249 w 676"/>
                  <a:gd name="T71" fmla="*/ 134 h 470"/>
                  <a:gd name="T72" fmla="*/ 286 w 676"/>
                  <a:gd name="T73" fmla="*/ 151 h 470"/>
                  <a:gd name="T74" fmla="*/ 395 w 676"/>
                  <a:gd name="T75" fmla="*/ 181 h 470"/>
                  <a:gd name="T76" fmla="*/ 407 w 676"/>
                  <a:gd name="T77" fmla="*/ 199 h 470"/>
                  <a:gd name="T78" fmla="*/ 401 w 676"/>
                  <a:gd name="T79" fmla="*/ 254 h 470"/>
                  <a:gd name="T80" fmla="*/ 388 w 676"/>
                  <a:gd name="T81" fmla="*/ 268 h 470"/>
                  <a:gd name="T82" fmla="*/ 349 w 676"/>
                  <a:gd name="T83" fmla="*/ 214 h 470"/>
                  <a:gd name="T84" fmla="*/ 313 w 676"/>
                  <a:gd name="T85" fmla="*/ 214 h 470"/>
                  <a:gd name="T86" fmla="*/ 296 w 676"/>
                  <a:gd name="T87" fmla="*/ 223 h 470"/>
                  <a:gd name="T88" fmla="*/ 308 w 676"/>
                  <a:gd name="T89" fmla="*/ 275 h 470"/>
                  <a:gd name="T90" fmla="*/ 295 w 676"/>
                  <a:gd name="T91" fmla="*/ 282 h 470"/>
                  <a:gd name="T92" fmla="*/ 280 w 676"/>
                  <a:gd name="T93" fmla="*/ 285 h 470"/>
                  <a:gd name="T94" fmla="*/ 272 w 676"/>
                  <a:gd name="T95" fmla="*/ 308 h 470"/>
                  <a:gd name="T96" fmla="*/ 271 w 676"/>
                  <a:gd name="T97" fmla="*/ 340 h 470"/>
                  <a:gd name="T98" fmla="*/ 247 w 676"/>
                  <a:gd name="T99" fmla="*/ 365 h 470"/>
                  <a:gd name="T100" fmla="*/ 219 w 676"/>
                  <a:gd name="T101" fmla="*/ 385 h 470"/>
                  <a:gd name="T102" fmla="*/ 89 w 676"/>
                  <a:gd name="T103" fmla="*/ 423 h 470"/>
                  <a:gd name="T104" fmla="*/ 145 w 676"/>
                  <a:gd name="T105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76" h="470">
                    <a:moveTo>
                      <a:pt x="145" y="470"/>
                    </a:moveTo>
                    <a:lnTo>
                      <a:pt x="152" y="467"/>
                    </a:lnTo>
                    <a:lnTo>
                      <a:pt x="159" y="462"/>
                    </a:lnTo>
                    <a:lnTo>
                      <a:pt x="166" y="456"/>
                    </a:lnTo>
                    <a:lnTo>
                      <a:pt x="174" y="450"/>
                    </a:lnTo>
                    <a:lnTo>
                      <a:pt x="181" y="445"/>
                    </a:lnTo>
                    <a:lnTo>
                      <a:pt x="189" y="440"/>
                    </a:lnTo>
                    <a:lnTo>
                      <a:pt x="199" y="436"/>
                    </a:lnTo>
                    <a:lnTo>
                      <a:pt x="210" y="435"/>
                    </a:lnTo>
                    <a:lnTo>
                      <a:pt x="218" y="435"/>
                    </a:lnTo>
                    <a:lnTo>
                      <a:pt x="225" y="434"/>
                    </a:lnTo>
                    <a:lnTo>
                      <a:pt x="231" y="432"/>
                    </a:lnTo>
                    <a:lnTo>
                      <a:pt x="237" y="428"/>
                    </a:lnTo>
                    <a:lnTo>
                      <a:pt x="249" y="421"/>
                    </a:lnTo>
                    <a:lnTo>
                      <a:pt x="260" y="411"/>
                    </a:lnTo>
                    <a:lnTo>
                      <a:pt x="271" y="403"/>
                    </a:lnTo>
                    <a:lnTo>
                      <a:pt x="283" y="396"/>
                    </a:lnTo>
                    <a:lnTo>
                      <a:pt x="290" y="393"/>
                    </a:lnTo>
                    <a:lnTo>
                      <a:pt x="298" y="391"/>
                    </a:lnTo>
                    <a:lnTo>
                      <a:pt x="305" y="390"/>
                    </a:lnTo>
                    <a:lnTo>
                      <a:pt x="313" y="390"/>
                    </a:lnTo>
                    <a:lnTo>
                      <a:pt x="323" y="390"/>
                    </a:lnTo>
                    <a:lnTo>
                      <a:pt x="331" y="390"/>
                    </a:lnTo>
                    <a:lnTo>
                      <a:pt x="341" y="387"/>
                    </a:lnTo>
                    <a:lnTo>
                      <a:pt x="349" y="385"/>
                    </a:lnTo>
                    <a:lnTo>
                      <a:pt x="358" y="382"/>
                    </a:lnTo>
                    <a:lnTo>
                      <a:pt x="366" y="380"/>
                    </a:lnTo>
                    <a:lnTo>
                      <a:pt x="375" y="379"/>
                    </a:lnTo>
                    <a:lnTo>
                      <a:pt x="384" y="379"/>
                    </a:lnTo>
                    <a:lnTo>
                      <a:pt x="394" y="379"/>
                    </a:lnTo>
                    <a:lnTo>
                      <a:pt x="401" y="377"/>
                    </a:lnTo>
                    <a:lnTo>
                      <a:pt x="407" y="376"/>
                    </a:lnTo>
                    <a:lnTo>
                      <a:pt x="410" y="373"/>
                    </a:lnTo>
                    <a:lnTo>
                      <a:pt x="412" y="369"/>
                    </a:lnTo>
                    <a:lnTo>
                      <a:pt x="413" y="363"/>
                    </a:lnTo>
                    <a:lnTo>
                      <a:pt x="413" y="356"/>
                    </a:lnTo>
                    <a:lnTo>
                      <a:pt x="414" y="345"/>
                    </a:lnTo>
                    <a:lnTo>
                      <a:pt x="425" y="345"/>
                    </a:lnTo>
                    <a:lnTo>
                      <a:pt x="435" y="343"/>
                    </a:lnTo>
                    <a:lnTo>
                      <a:pt x="443" y="339"/>
                    </a:lnTo>
                    <a:lnTo>
                      <a:pt x="452" y="334"/>
                    </a:lnTo>
                    <a:lnTo>
                      <a:pt x="458" y="329"/>
                    </a:lnTo>
                    <a:lnTo>
                      <a:pt x="464" y="322"/>
                    </a:lnTo>
                    <a:lnTo>
                      <a:pt x="469" y="316"/>
                    </a:lnTo>
                    <a:lnTo>
                      <a:pt x="475" y="309"/>
                    </a:lnTo>
                    <a:lnTo>
                      <a:pt x="484" y="293"/>
                    </a:lnTo>
                    <a:lnTo>
                      <a:pt x="495" y="279"/>
                    </a:lnTo>
                    <a:lnTo>
                      <a:pt x="501" y="273"/>
                    </a:lnTo>
                    <a:lnTo>
                      <a:pt x="508" y="267"/>
                    </a:lnTo>
                    <a:lnTo>
                      <a:pt x="515" y="262"/>
                    </a:lnTo>
                    <a:lnTo>
                      <a:pt x="525" y="257"/>
                    </a:lnTo>
                    <a:lnTo>
                      <a:pt x="541" y="250"/>
                    </a:lnTo>
                    <a:lnTo>
                      <a:pt x="555" y="238"/>
                    </a:lnTo>
                    <a:lnTo>
                      <a:pt x="564" y="233"/>
                    </a:lnTo>
                    <a:lnTo>
                      <a:pt x="571" y="228"/>
                    </a:lnTo>
                    <a:lnTo>
                      <a:pt x="578" y="226"/>
                    </a:lnTo>
                    <a:lnTo>
                      <a:pt x="585" y="225"/>
                    </a:lnTo>
                    <a:lnTo>
                      <a:pt x="594" y="223"/>
                    </a:lnTo>
                    <a:lnTo>
                      <a:pt x="602" y="222"/>
                    </a:lnTo>
                    <a:lnTo>
                      <a:pt x="612" y="219"/>
                    </a:lnTo>
                    <a:lnTo>
                      <a:pt x="620" y="214"/>
                    </a:lnTo>
                    <a:lnTo>
                      <a:pt x="627" y="209"/>
                    </a:lnTo>
                    <a:lnTo>
                      <a:pt x="633" y="203"/>
                    </a:lnTo>
                    <a:lnTo>
                      <a:pt x="636" y="199"/>
                    </a:lnTo>
                    <a:lnTo>
                      <a:pt x="637" y="196"/>
                    </a:lnTo>
                    <a:lnTo>
                      <a:pt x="638" y="191"/>
                    </a:lnTo>
                    <a:lnTo>
                      <a:pt x="638" y="187"/>
                    </a:lnTo>
                    <a:lnTo>
                      <a:pt x="641" y="186"/>
                    </a:lnTo>
                    <a:lnTo>
                      <a:pt x="643" y="184"/>
                    </a:lnTo>
                    <a:lnTo>
                      <a:pt x="647" y="176"/>
                    </a:lnTo>
                    <a:lnTo>
                      <a:pt x="650" y="170"/>
                    </a:lnTo>
                    <a:lnTo>
                      <a:pt x="656" y="164"/>
                    </a:lnTo>
                    <a:lnTo>
                      <a:pt x="661" y="158"/>
                    </a:lnTo>
                    <a:lnTo>
                      <a:pt x="667" y="152"/>
                    </a:lnTo>
                    <a:lnTo>
                      <a:pt x="672" y="144"/>
                    </a:lnTo>
                    <a:lnTo>
                      <a:pt x="673" y="139"/>
                    </a:lnTo>
                    <a:lnTo>
                      <a:pt x="674" y="133"/>
                    </a:lnTo>
                    <a:lnTo>
                      <a:pt x="676" y="127"/>
                    </a:lnTo>
                    <a:lnTo>
                      <a:pt x="676" y="120"/>
                    </a:lnTo>
                    <a:lnTo>
                      <a:pt x="674" y="120"/>
                    </a:lnTo>
                    <a:lnTo>
                      <a:pt x="669" y="130"/>
                    </a:lnTo>
                    <a:lnTo>
                      <a:pt x="666" y="138"/>
                    </a:lnTo>
                    <a:lnTo>
                      <a:pt x="661" y="145"/>
                    </a:lnTo>
                    <a:lnTo>
                      <a:pt x="656" y="150"/>
                    </a:lnTo>
                    <a:lnTo>
                      <a:pt x="650" y="155"/>
                    </a:lnTo>
                    <a:lnTo>
                      <a:pt x="645" y="158"/>
                    </a:lnTo>
                    <a:lnTo>
                      <a:pt x="639" y="161"/>
                    </a:lnTo>
                    <a:lnTo>
                      <a:pt x="633" y="163"/>
                    </a:lnTo>
                    <a:lnTo>
                      <a:pt x="620" y="166"/>
                    </a:lnTo>
                    <a:lnTo>
                      <a:pt x="607" y="169"/>
                    </a:lnTo>
                    <a:lnTo>
                      <a:pt x="600" y="170"/>
                    </a:lnTo>
                    <a:lnTo>
                      <a:pt x="592" y="173"/>
                    </a:lnTo>
                    <a:lnTo>
                      <a:pt x="585" y="176"/>
                    </a:lnTo>
                    <a:lnTo>
                      <a:pt x="578" y="180"/>
                    </a:lnTo>
                    <a:lnTo>
                      <a:pt x="558" y="196"/>
                    </a:lnTo>
                    <a:lnTo>
                      <a:pt x="541" y="208"/>
                    </a:lnTo>
                    <a:lnTo>
                      <a:pt x="531" y="213"/>
                    </a:lnTo>
                    <a:lnTo>
                      <a:pt x="521" y="215"/>
                    </a:lnTo>
                    <a:lnTo>
                      <a:pt x="515" y="215"/>
                    </a:lnTo>
                    <a:lnTo>
                      <a:pt x="508" y="215"/>
                    </a:lnTo>
                    <a:lnTo>
                      <a:pt x="501" y="215"/>
                    </a:lnTo>
                    <a:lnTo>
                      <a:pt x="494" y="213"/>
                    </a:lnTo>
                    <a:lnTo>
                      <a:pt x="484" y="210"/>
                    </a:lnTo>
                    <a:lnTo>
                      <a:pt x="478" y="205"/>
                    </a:lnTo>
                    <a:lnTo>
                      <a:pt x="477" y="203"/>
                    </a:lnTo>
                    <a:lnTo>
                      <a:pt x="476" y="201"/>
                    </a:lnTo>
                    <a:lnTo>
                      <a:pt x="476" y="198"/>
                    </a:lnTo>
                    <a:lnTo>
                      <a:pt x="476" y="195"/>
                    </a:lnTo>
                    <a:lnTo>
                      <a:pt x="477" y="189"/>
                    </a:lnTo>
                    <a:lnTo>
                      <a:pt x="482" y="183"/>
                    </a:lnTo>
                    <a:lnTo>
                      <a:pt x="487" y="175"/>
                    </a:lnTo>
                    <a:lnTo>
                      <a:pt x="494" y="168"/>
                    </a:lnTo>
                    <a:lnTo>
                      <a:pt x="527" y="139"/>
                    </a:lnTo>
                    <a:lnTo>
                      <a:pt x="555" y="119"/>
                    </a:lnTo>
                    <a:lnTo>
                      <a:pt x="567" y="108"/>
                    </a:lnTo>
                    <a:lnTo>
                      <a:pt x="573" y="102"/>
                    </a:lnTo>
                    <a:lnTo>
                      <a:pt x="580" y="98"/>
                    </a:lnTo>
                    <a:lnTo>
                      <a:pt x="595" y="93"/>
                    </a:lnTo>
                    <a:lnTo>
                      <a:pt x="603" y="90"/>
                    </a:lnTo>
                    <a:lnTo>
                      <a:pt x="609" y="85"/>
                    </a:lnTo>
                    <a:lnTo>
                      <a:pt x="614" y="79"/>
                    </a:lnTo>
                    <a:lnTo>
                      <a:pt x="618" y="73"/>
                    </a:lnTo>
                    <a:lnTo>
                      <a:pt x="620" y="67"/>
                    </a:lnTo>
                    <a:lnTo>
                      <a:pt x="623" y="60"/>
                    </a:lnTo>
                    <a:lnTo>
                      <a:pt x="624" y="53"/>
                    </a:lnTo>
                    <a:lnTo>
                      <a:pt x="624" y="44"/>
                    </a:lnTo>
                    <a:lnTo>
                      <a:pt x="623" y="43"/>
                    </a:lnTo>
                    <a:lnTo>
                      <a:pt x="608" y="42"/>
                    </a:lnTo>
                    <a:lnTo>
                      <a:pt x="597" y="38"/>
                    </a:lnTo>
                    <a:lnTo>
                      <a:pt x="586" y="34"/>
                    </a:lnTo>
                    <a:lnTo>
                      <a:pt x="579" y="32"/>
                    </a:lnTo>
                    <a:lnTo>
                      <a:pt x="576" y="31"/>
                    </a:lnTo>
                    <a:lnTo>
                      <a:pt x="572" y="31"/>
                    </a:lnTo>
                    <a:lnTo>
                      <a:pt x="570" y="31"/>
                    </a:lnTo>
                    <a:lnTo>
                      <a:pt x="567" y="32"/>
                    </a:lnTo>
                    <a:lnTo>
                      <a:pt x="565" y="36"/>
                    </a:lnTo>
                    <a:lnTo>
                      <a:pt x="562" y="39"/>
                    </a:lnTo>
                    <a:lnTo>
                      <a:pt x="560" y="44"/>
                    </a:lnTo>
                    <a:lnTo>
                      <a:pt x="558" y="51"/>
                    </a:lnTo>
                    <a:lnTo>
                      <a:pt x="556" y="56"/>
                    </a:lnTo>
                    <a:lnTo>
                      <a:pt x="553" y="62"/>
                    </a:lnTo>
                    <a:lnTo>
                      <a:pt x="549" y="67"/>
                    </a:lnTo>
                    <a:lnTo>
                      <a:pt x="544" y="73"/>
                    </a:lnTo>
                    <a:lnTo>
                      <a:pt x="531" y="85"/>
                    </a:lnTo>
                    <a:lnTo>
                      <a:pt x="517" y="96"/>
                    </a:lnTo>
                    <a:lnTo>
                      <a:pt x="501" y="105"/>
                    </a:lnTo>
                    <a:lnTo>
                      <a:pt x="487" y="113"/>
                    </a:lnTo>
                    <a:lnTo>
                      <a:pt x="479" y="115"/>
                    </a:lnTo>
                    <a:lnTo>
                      <a:pt x="472" y="116"/>
                    </a:lnTo>
                    <a:lnTo>
                      <a:pt x="466" y="116"/>
                    </a:lnTo>
                    <a:lnTo>
                      <a:pt x="461" y="116"/>
                    </a:lnTo>
                    <a:lnTo>
                      <a:pt x="458" y="101"/>
                    </a:lnTo>
                    <a:lnTo>
                      <a:pt x="455" y="86"/>
                    </a:lnTo>
                    <a:lnTo>
                      <a:pt x="453" y="71"/>
                    </a:lnTo>
                    <a:lnTo>
                      <a:pt x="447" y="56"/>
                    </a:lnTo>
                    <a:lnTo>
                      <a:pt x="449" y="50"/>
                    </a:lnTo>
                    <a:lnTo>
                      <a:pt x="456" y="41"/>
                    </a:lnTo>
                    <a:lnTo>
                      <a:pt x="460" y="33"/>
                    </a:lnTo>
                    <a:lnTo>
                      <a:pt x="464" y="26"/>
                    </a:lnTo>
                    <a:lnTo>
                      <a:pt x="465" y="19"/>
                    </a:lnTo>
                    <a:lnTo>
                      <a:pt x="464" y="12"/>
                    </a:lnTo>
                    <a:lnTo>
                      <a:pt x="461" y="7"/>
                    </a:lnTo>
                    <a:lnTo>
                      <a:pt x="458" y="3"/>
                    </a:lnTo>
                    <a:lnTo>
                      <a:pt x="454" y="1"/>
                    </a:lnTo>
                    <a:lnTo>
                      <a:pt x="448" y="0"/>
                    </a:lnTo>
                    <a:lnTo>
                      <a:pt x="435" y="1"/>
                    </a:lnTo>
                    <a:lnTo>
                      <a:pt x="420" y="3"/>
                    </a:lnTo>
                    <a:lnTo>
                      <a:pt x="390" y="14"/>
                    </a:lnTo>
                    <a:lnTo>
                      <a:pt x="369" y="22"/>
                    </a:lnTo>
                    <a:lnTo>
                      <a:pt x="355" y="30"/>
                    </a:lnTo>
                    <a:lnTo>
                      <a:pt x="337" y="42"/>
                    </a:lnTo>
                    <a:lnTo>
                      <a:pt x="317" y="57"/>
                    </a:lnTo>
                    <a:lnTo>
                      <a:pt x="294" y="77"/>
                    </a:lnTo>
                    <a:lnTo>
                      <a:pt x="274" y="95"/>
                    </a:lnTo>
                    <a:lnTo>
                      <a:pt x="258" y="113"/>
                    </a:lnTo>
                    <a:lnTo>
                      <a:pt x="253" y="120"/>
                    </a:lnTo>
                    <a:lnTo>
                      <a:pt x="249" y="127"/>
                    </a:lnTo>
                    <a:lnTo>
                      <a:pt x="248" y="130"/>
                    </a:lnTo>
                    <a:lnTo>
                      <a:pt x="248" y="132"/>
                    </a:lnTo>
                    <a:lnTo>
                      <a:pt x="249" y="134"/>
                    </a:lnTo>
                    <a:lnTo>
                      <a:pt x="251" y="137"/>
                    </a:lnTo>
                    <a:lnTo>
                      <a:pt x="257" y="140"/>
                    </a:lnTo>
                    <a:lnTo>
                      <a:pt x="264" y="145"/>
                    </a:lnTo>
                    <a:lnTo>
                      <a:pt x="274" y="148"/>
                    </a:lnTo>
                    <a:lnTo>
                      <a:pt x="286" y="151"/>
                    </a:lnTo>
                    <a:lnTo>
                      <a:pt x="311" y="157"/>
                    </a:lnTo>
                    <a:lnTo>
                      <a:pt x="339" y="163"/>
                    </a:lnTo>
                    <a:lnTo>
                      <a:pt x="364" y="169"/>
                    </a:lnTo>
                    <a:lnTo>
                      <a:pt x="387" y="178"/>
                    </a:lnTo>
                    <a:lnTo>
                      <a:pt x="395" y="181"/>
                    </a:lnTo>
                    <a:lnTo>
                      <a:pt x="401" y="187"/>
                    </a:lnTo>
                    <a:lnTo>
                      <a:pt x="405" y="190"/>
                    </a:lnTo>
                    <a:lnTo>
                      <a:pt x="406" y="192"/>
                    </a:lnTo>
                    <a:lnTo>
                      <a:pt x="407" y="196"/>
                    </a:lnTo>
                    <a:lnTo>
                      <a:pt x="407" y="199"/>
                    </a:lnTo>
                    <a:lnTo>
                      <a:pt x="408" y="202"/>
                    </a:lnTo>
                    <a:lnTo>
                      <a:pt x="408" y="209"/>
                    </a:lnTo>
                    <a:lnTo>
                      <a:pt x="407" y="219"/>
                    </a:lnTo>
                    <a:lnTo>
                      <a:pt x="406" y="231"/>
                    </a:lnTo>
                    <a:lnTo>
                      <a:pt x="401" y="254"/>
                    </a:lnTo>
                    <a:lnTo>
                      <a:pt x="396" y="267"/>
                    </a:lnTo>
                    <a:lnTo>
                      <a:pt x="395" y="269"/>
                    </a:lnTo>
                    <a:lnTo>
                      <a:pt x="393" y="270"/>
                    </a:lnTo>
                    <a:lnTo>
                      <a:pt x="390" y="269"/>
                    </a:lnTo>
                    <a:lnTo>
                      <a:pt x="388" y="268"/>
                    </a:lnTo>
                    <a:lnTo>
                      <a:pt x="382" y="262"/>
                    </a:lnTo>
                    <a:lnTo>
                      <a:pt x="376" y="252"/>
                    </a:lnTo>
                    <a:lnTo>
                      <a:pt x="364" y="232"/>
                    </a:lnTo>
                    <a:lnTo>
                      <a:pt x="354" y="219"/>
                    </a:lnTo>
                    <a:lnTo>
                      <a:pt x="349" y="214"/>
                    </a:lnTo>
                    <a:lnTo>
                      <a:pt x="342" y="211"/>
                    </a:lnTo>
                    <a:lnTo>
                      <a:pt x="336" y="210"/>
                    </a:lnTo>
                    <a:lnTo>
                      <a:pt x="328" y="210"/>
                    </a:lnTo>
                    <a:lnTo>
                      <a:pt x="320" y="211"/>
                    </a:lnTo>
                    <a:lnTo>
                      <a:pt x="313" y="214"/>
                    </a:lnTo>
                    <a:lnTo>
                      <a:pt x="306" y="215"/>
                    </a:lnTo>
                    <a:lnTo>
                      <a:pt x="299" y="219"/>
                    </a:lnTo>
                    <a:lnTo>
                      <a:pt x="298" y="220"/>
                    </a:lnTo>
                    <a:lnTo>
                      <a:pt x="296" y="221"/>
                    </a:lnTo>
                    <a:lnTo>
                      <a:pt x="296" y="223"/>
                    </a:lnTo>
                    <a:lnTo>
                      <a:pt x="296" y="227"/>
                    </a:lnTo>
                    <a:lnTo>
                      <a:pt x="298" y="234"/>
                    </a:lnTo>
                    <a:lnTo>
                      <a:pt x="300" y="244"/>
                    </a:lnTo>
                    <a:lnTo>
                      <a:pt x="306" y="262"/>
                    </a:lnTo>
                    <a:lnTo>
                      <a:pt x="308" y="275"/>
                    </a:lnTo>
                    <a:lnTo>
                      <a:pt x="308" y="282"/>
                    </a:lnTo>
                    <a:lnTo>
                      <a:pt x="306" y="286"/>
                    </a:lnTo>
                    <a:lnTo>
                      <a:pt x="304" y="286"/>
                    </a:lnTo>
                    <a:lnTo>
                      <a:pt x="300" y="285"/>
                    </a:lnTo>
                    <a:lnTo>
                      <a:pt x="295" y="282"/>
                    </a:lnTo>
                    <a:lnTo>
                      <a:pt x="290" y="281"/>
                    </a:lnTo>
                    <a:lnTo>
                      <a:pt x="288" y="281"/>
                    </a:lnTo>
                    <a:lnTo>
                      <a:pt x="284" y="282"/>
                    </a:lnTo>
                    <a:lnTo>
                      <a:pt x="282" y="284"/>
                    </a:lnTo>
                    <a:lnTo>
                      <a:pt x="280" y="285"/>
                    </a:lnTo>
                    <a:lnTo>
                      <a:pt x="276" y="288"/>
                    </a:lnTo>
                    <a:lnTo>
                      <a:pt x="274" y="292"/>
                    </a:lnTo>
                    <a:lnTo>
                      <a:pt x="272" y="296"/>
                    </a:lnTo>
                    <a:lnTo>
                      <a:pt x="271" y="299"/>
                    </a:lnTo>
                    <a:lnTo>
                      <a:pt x="272" y="308"/>
                    </a:lnTo>
                    <a:lnTo>
                      <a:pt x="275" y="315"/>
                    </a:lnTo>
                    <a:lnTo>
                      <a:pt x="276" y="323"/>
                    </a:lnTo>
                    <a:lnTo>
                      <a:pt x="276" y="332"/>
                    </a:lnTo>
                    <a:lnTo>
                      <a:pt x="274" y="337"/>
                    </a:lnTo>
                    <a:lnTo>
                      <a:pt x="271" y="340"/>
                    </a:lnTo>
                    <a:lnTo>
                      <a:pt x="266" y="345"/>
                    </a:lnTo>
                    <a:lnTo>
                      <a:pt x="262" y="349"/>
                    </a:lnTo>
                    <a:lnTo>
                      <a:pt x="253" y="355"/>
                    </a:lnTo>
                    <a:lnTo>
                      <a:pt x="249" y="361"/>
                    </a:lnTo>
                    <a:lnTo>
                      <a:pt x="247" y="365"/>
                    </a:lnTo>
                    <a:lnTo>
                      <a:pt x="247" y="370"/>
                    </a:lnTo>
                    <a:lnTo>
                      <a:pt x="246" y="374"/>
                    </a:lnTo>
                    <a:lnTo>
                      <a:pt x="241" y="377"/>
                    </a:lnTo>
                    <a:lnTo>
                      <a:pt x="234" y="381"/>
                    </a:lnTo>
                    <a:lnTo>
                      <a:pt x="219" y="385"/>
                    </a:lnTo>
                    <a:lnTo>
                      <a:pt x="193" y="391"/>
                    </a:lnTo>
                    <a:lnTo>
                      <a:pt x="166" y="398"/>
                    </a:lnTo>
                    <a:lnTo>
                      <a:pt x="141" y="406"/>
                    </a:lnTo>
                    <a:lnTo>
                      <a:pt x="115" y="415"/>
                    </a:lnTo>
                    <a:lnTo>
                      <a:pt x="89" y="423"/>
                    </a:lnTo>
                    <a:lnTo>
                      <a:pt x="64" y="432"/>
                    </a:lnTo>
                    <a:lnTo>
                      <a:pt x="38" y="439"/>
                    </a:lnTo>
                    <a:lnTo>
                      <a:pt x="12" y="445"/>
                    </a:lnTo>
                    <a:lnTo>
                      <a:pt x="0" y="470"/>
                    </a:lnTo>
                    <a:lnTo>
                      <a:pt x="145" y="4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23"/>
              <p:cNvSpPr>
                <a:spLocks/>
              </p:cNvSpPr>
              <p:nvPr/>
            </p:nvSpPr>
            <p:spPr bwMode="auto">
              <a:xfrm>
                <a:off x="1096963" y="8386763"/>
                <a:ext cx="98425" cy="61913"/>
              </a:xfrm>
              <a:custGeom>
                <a:avLst/>
                <a:gdLst>
                  <a:gd name="T0" fmla="*/ 0 w 247"/>
                  <a:gd name="T1" fmla="*/ 156 h 156"/>
                  <a:gd name="T2" fmla="*/ 0 w 247"/>
                  <a:gd name="T3" fmla="*/ 116 h 156"/>
                  <a:gd name="T4" fmla="*/ 0 w 247"/>
                  <a:gd name="T5" fmla="*/ 109 h 156"/>
                  <a:gd name="T6" fmla="*/ 2 w 247"/>
                  <a:gd name="T7" fmla="*/ 102 h 156"/>
                  <a:gd name="T8" fmla="*/ 6 w 247"/>
                  <a:gd name="T9" fmla="*/ 97 h 156"/>
                  <a:gd name="T10" fmla="*/ 9 w 247"/>
                  <a:gd name="T11" fmla="*/ 92 h 156"/>
                  <a:gd name="T12" fmla="*/ 13 w 247"/>
                  <a:gd name="T13" fmla="*/ 88 h 156"/>
                  <a:gd name="T14" fmla="*/ 16 w 247"/>
                  <a:gd name="T15" fmla="*/ 83 h 156"/>
                  <a:gd name="T16" fmla="*/ 20 w 247"/>
                  <a:gd name="T17" fmla="*/ 78 h 156"/>
                  <a:gd name="T18" fmla="*/ 22 w 247"/>
                  <a:gd name="T19" fmla="*/ 73 h 156"/>
                  <a:gd name="T20" fmla="*/ 32 w 247"/>
                  <a:gd name="T21" fmla="*/ 62 h 156"/>
                  <a:gd name="T22" fmla="*/ 42 w 247"/>
                  <a:gd name="T23" fmla="*/ 51 h 156"/>
                  <a:gd name="T24" fmla="*/ 53 w 247"/>
                  <a:gd name="T25" fmla="*/ 42 h 156"/>
                  <a:gd name="T26" fmla="*/ 66 w 247"/>
                  <a:gd name="T27" fmla="*/ 32 h 156"/>
                  <a:gd name="T28" fmla="*/ 80 w 247"/>
                  <a:gd name="T29" fmla="*/ 23 h 156"/>
                  <a:gd name="T30" fmla="*/ 97 w 247"/>
                  <a:gd name="T31" fmla="*/ 13 h 156"/>
                  <a:gd name="T32" fmla="*/ 105 w 247"/>
                  <a:gd name="T33" fmla="*/ 8 h 156"/>
                  <a:gd name="T34" fmla="*/ 114 w 247"/>
                  <a:gd name="T35" fmla="*/ 5 h 156"/>
                  <a:gd name="T36" fmla="*/ 122 w 247"/>
                  <a:gd name="T37" fmla="*/ 2 h 156"/>
                  <a:gd name="T38" fmla="*/ 131 w 247"/>
                  <a:gd name="T39" fmla="*/ 1 h 156"/>
                  <a:gd name="T40" fmla="*/ 138 w 247"/>
                  <a:gd name="T41" fmla="*/ 0 h 156"/>
                  <a:gd name="T42" fmla="*/ 146 w 247"/>
                  <a:gd name="T43" fmla="*/ 0 h 156"/>
                  <a:gd name="T44" fmla="*/ 152 w 247"/>
                  <a:gd name="T45" fmla="*/ 1 h 156"/>
                  <a:gd name="T46" fmla="*/ 158 w 247"/>
                  <a:gd name="T47" fmla="*/ 3 h 156"/>
                  <a:gd name="T48" fmla="*/ 172 w 247"/>
                  <a:gd name="T49" fmla="*/ 11 h 156"/>
                  <a:gd name="T50" fmla="*/ 186 w 247"/>
                  <a:gd name="T51" fmla="*/ 15 h 156"/>
                  <a:gd name="T52" fmla="*/ 202 w 247"/>
                  <a:gd name="T53" fmla="*/ 20 h 156"/>
                  <a:gd name="T54" fmla="*/ 216 w 247"/>
                  <a:gd name="T55" fmla="*/ 23 h 156"/>
                  <a:gd name="T56" fmla="*/ 229 w 247"/>
                  <a:gd name="T57" fmla="*/ 26 h 156"/>
                  <a:gd name="T58" fmla="*/ 241 w 247"/>
                  <a:gd name="T59" fmla="*/ 30 h 156"/>
                  <a:gd name="T60" fmla="*/ 244 w 247"/>
                  <a:gd name="T61" fmla="*/ 31 h 156"/>
                  <a:gd name="T62" fmla="*/ 245 w 247"/>
                  <a:gd name="T63" fmla="*/ 32 h 156"/>
                  <a:gd name="T64" fmla="*/ 246 w 247"/>
                  <a:gd name="T65" fmla="*/ 35 h 156"/>
                  <a:gd name="T66" fmla="*/ 247 w 247"/>
                  <a:gd name="T67" fmla="*/ 36 h 156"/>
                  <a:gd name="T68" fmla="*/ 246 w 247"/>
                  <a:gd name="T69" fmla="*/ 42 h 156"/>
                  <a:gd name="T70" fmla="*/ 240 w 247"/>
                  <a:gd name="T71" fmla="*/ 48 h 156"/>
                  <a:gd name="T72" fmla="*/ 237 w 247"/>
                  <a:gd name="T73" fmla="*/ 56 h 156"/>
                  <a:gd name="T74" fmla="*/ 232 w 247"/>
                  <a:gd name="T75" fmla="*/ 63 h 156"/>
                  <a:gd name="T76" fmla="*/ 231 w 247"/>
                  <a:gd name="T77" fmla="*/ 67 h 156"/>
                  <a:gd name="T78" fmla="*/ 228 w 247"/>
                  <a:gd name="T79" fmla="*/ 69 h 156"/>
                  <a:gd name="T80" fmla="*/ 228 w 247"/>
                  <a:gd name="T81" fmla="*/ 74 h 156"/>
                  <a:gd name="T82" fmla="*/ 227 w 247"/>
                  <a:gd name="T83" fmla="*/ 79 h 156"/>
                  <a:gd name="T84" fmla="*/ 227 w 247"/>
                  <a:gd name="T85" fmla="*/ 84 h 156"/>
                  <a:gd name="T86" fmla="*/ 228 w 247"/>
                  <a:gd name="T87" fmla="*/ 89 h 156"/>
                  <a:gd name="T88" fmla="*/ 231 w 247"/>
                  <a:gd name="T89" fmla="*/ 95 h 156"/>
                  <a:gd name="T90" fmla="*/ 232 w 247"/>
                  <a:gd name="T91" fmla="*/ 100 h 156"/>
                  <a:gd name="T92" fmla="*/ 232 w 247"/>
                  <a:gd name="T93" fmla="*/ 103 h 156"/>
                  <a:gd name="T94" fmla="*/ 232 w 247"/>
                  <a:gd name="T95" fmla="*/ 107 h 156"/>
                  <a:gd name="T96" fmla="*/ 231 w 247"/>
                  <a:gd name="T97" fmla="*/ 110 h 156"/>
                  <a:gd name="T98" fmla="*/ 229 w 247"/>
                  <a:gd name="T99" fmla="*/ 114 h 156"/>
                  <a:gd name="T100" fmla="*/ 220 w 247"/>
                  <a:gd name="T101" fmla="*/ 124 h 156"/>
                  <a:gd name="T102" fmla="*/ 209 w 247"/>
                  <a:gd name="T103" fmla="*/ 133 h 156"/>
                  <a:gd name="T104" fmla="*/ 208 w 247"/>
                  <a:gd name="T105" fmla="*/ 136 h 156"/>
                  <a:gd name="T106" fmla="*/ 196 w 247"/>
                  <a:gd name="T107" fmla="*/ 156 h 156"/>
                  <a:gd name="T108" fmla="*/ 0 w 247"/>
                  <a:gd name="T10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7" h="156">
                    <a:moveTo>
                      <a:pt x="0" y="156"/>
                    </a:moveTo>
                    <a:lnTo>
                      <a:pt x="0" y="116"/>
                    </a:lnTo>
                    <a:lnTo>
                      <a:pt x="0" y="109"/>
                    </a:lnTo>
                    <a:lnTo>
                      <a:pt x="2" y="102"/>
                    </a:lnTo>
                    <a:lnTo>
                      <a:pt x="6" y="97"/>
                    </a:lnTo>
                    <a:lnTo>
                      <a:pt x="9" y="92"/>
                    </a:lnTo>
                    <a:lnTo>
                      <a:pt x="13" y="88"/>
                    </a:lnTo>
                    <a:lnTo>
                      <a:pt x="16" y="83"/>
                    </a:lnTo>
                    <a:lnTo>
                      <a:pt x="20" y="78"/>
                    </a:lnTo>
                    <a:lnTo>
                      <a:pt x="22" y="73"/>
                    </a:lnTo>
                    <a:lnTo>
                      <a:pt x="32" y="62"/>
                    </a:lnTo>
                    <a:lnTo>
                      <a:pt x="42" y="51"/>
                    </a:lnTo>
                    <a:lnTo>
                      <a:pt x="53" y="42"/>
                    </a:lnTo>
                    <a:lnTo>
                      <a:pt x="66" y="32"/>
                    </a:lnTo>
                    <a:lnTo>
                      <a:pt x="80" y="23"/>
                    </a:lnTo>
                    <a:lnTo>
                      <a:pt x="97" y="13"/>
                    </a:lnTo>
                    <a:lnTo>
                      <a:pt x="105" y="8"/>
                    </a:lnTo>
                    <a:lnTo>
                      <a:pt x="114" y="5"/>
                    </a:lnTo>
                    <a:lnTo>
                      <a:pt x="122" y="2"/>
                    </a:lnTo>
                    <a:lnTo>
                      <a:pt x="131" y="1"/>
                    </a:lnTo>
                    <a:lnTo>
                      <a:pt x="138" y="0"/>
                    </a:lnTo>
                    <a:lnTo>
                      <a:pt x="146" y="0"/>
                    </a:lnTo>
                    <a:lnTo>
                      <a:pt x="152" y="1"/>
                    </a:lnTo>
                    <a:lnTo>
                      <a:pt x="158" y="3"/>
                    </a:lnTo>
                    <a:lnTo>
                      <a:pt x="172" y="11"/>
                    </a:lnTo>
                    <a:lnTo>
                      <a:pt x="186" y="15"/>
                    </a:lnTo>
                    <a:lnTo>
                      <a:pt x="202" y="20"/>
                    </a:lnTo>
                    <a:lnTo>
                      <a:pt x="216" y="23"/>
                    </a:lnTo>
                    <a:lnTo>
                      <a:pt x="229" y="26"/>
                    </a:lnTo>
                    <a:lnTo>
                      <a:pt x="241" y="30"/>
                    </a:lnTo>
                    <a:lnTo>
                      <a:pt x="244" y="31"/>
                    </a:lnTo>
                    <a:lnTo>
                      <a:pt x="245" y="32"/>
                    </a:lnTo>
                    <a:lnTo>
                      <a:pt x="246" y="35"/>
                    </a:lnTo>
                    <a:lnTo>
                      <a:pt x="247" y="36"/>
                    </a:lnTo>
                    <a:lnTo>
                      <a:pt x="246" y="42"/>
                    </a:lnTo>
                    <a:lnTo>
                      <a:pt x="240" y="48"/>
                    </a:lnTo>
                    <a:lnTo>
                      <a:pt x="237" y="56"/>
                    </a:lnTo>
                    <a:lnTo>
                      <a:pt x="232" y="63"/>
                    </a:lnTo>
                    <a:lnTo>
                      <a:pt x="231" y="67"/>
                    </a:lnTo>
                    <a:lnTo>
                      <a:pt x="228" y="69"/>
                    </a:lnTo>
                    <a:lnTo>
                      <a:pt x="228" y="74"/>
                    </a:lnTo>
                    <a:lnTo>
                      <a:pt x="227" y="79"/>
                    </a:lnTo>
                    <a:lnTo>
                      <a:pt x="227" y="84"/>
                    </a:lnTo>
                    <a:lnTo>
                      <a:pt x="228" y="89"/>
                    </a:lnTo>
                    <a:lnTo>
                      <a:pt x="231" y="95"/>
                    </a:lnTo>
                    <a:lnTo>
                      <a:pt x="232" y="100"/>
                    </a:lnTo>
                    <a:lnTo>
                      <a:pt x="232" y="103"/>
                    </a:lnTo>
                    <a:lnTo>
                      <a:pt x="232" y="107"/>
                    </a:lnTo>
                    <a:lnTo>
                      <a:pt x="231" y="110"/>
                    </a:lnTo>
                    <a:lnTo>
                      <a:pt x="229" y="114"/>
                    </a:lnTo>
                    <a:lnTo>
                      <a:pt x="220" y="124"/>
                    </a:lnTo>
                    <a:lnTo>
                      <a:pt x="209" y="133"/>
                    </a:lnTo>
                    <a:lnTo>
                      <a:pt x="208" y="136"/>
                    </a:lnTo>
                    <a:lnTo>
                      <a:pt x="196" y="156"/>
                    </a:lnTo>
                    <a:lnTo>
                      <a:pt x="0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24"/>
              <p:cNvSpPr>
                <a:spLocks/>
              </p:cNvSpPr>
              <p:nvPr/>
            </p:nvSpPr>
            <p:spPr bwMode="auto">
              <a:xfrm>
                <a:off x="2017713" y="8128000"/>
                <a:ext cx="41275" cy="25400"/>
              </a:xfrm>
              <a:custGeom>
                <a:avLst/>
                <a:gdLst>
                  <a:gd name="T0" fmla="*/ 83 w 103"/>
                  <a:gd name="T1" fmla="*/ 23 h 62"/>
                  <a:gd name="T2" fmla="*/ 73 w 103"/>
                  <a:gd name="T3" fmla="*/ 21 h 62"/>
                  <a:gd name="T4" fmla="*/ 63 w 103"/>
                  <a:gd name="T5" fmla="*/ 18 h 62"/>
                  <a:gd name="T6" fmla="*/ 51 w 103"/>
                  <a:gd name="T7" fmla="*/ 13 h 62"/>
                  <a:gd name="T8" fmla="*/ 41 w 103"/>
                  <a:gd name="T9" fmla="*/ 7 h 62"/>
                  <a:gd name="T10" fmla="*/ 31 w 103"/>
                  <a:gd name="T11" fmla="*/ 2 h 62"/>
                  <a:gd name="T12" fmla="*/ 19 w 103"/>
                  <a:gd name="T13" fmla="*/ 0 h 62"/>
                  <a:gd name="T14" fmla="*/ 13 w 103"/>
                  <a:gd name="T15" fmla="*/ 0 h 62"/>
                  <a:gd name="T16" fmla="*/ 8 w 103"/>
                  <a:gd name="T17" fmla="*/ 1 h 62"/>
                  <a:gd name="T18" fmla="*/ 3 w 103"/>
                  <a:gd name="T19" fmla="*/ 4 h 62"/>
                  <a:gd name="T20" fmla="*/ 1 w 103"/>
                  <a:gd name="T21" fmla="*/ 9 h 62"/>
                  <a:gd name="T22" fmla="*/ 0 w 103"/>
                  <a:gd name="T23" fmla="*/ 12 h 62"/>
                  <a:gd name="T24" fmla="*/ 1 w 103"/>
                  <a:gd name="T25" fmla="*/ 15 h 62"/>
                  <a:gd name="T26" fmla="*/ 3 w 103"/>
                  <a:gd name="T27" fmla="*/ 19 h 62"/>
                  <a:gd name="T28" fmla="*/ 6 w 103"/>
                  <a:gd name="T29" fmla="*/ 24 h 62"/>
                  <a:gd name="T30" fmla="*/ 12 w 103"/>
                  <a:gd name="T31" fmla="*/ 30 h 62"/>
                  <a:gd name="T32" fmla="*/ 17 w 103"/>
                  <a:gd name="T33" fmla="*/ 36 h 62"/>
                  <a:gd name="T34" fmla="*/ 21 w 103"/>
                  <a:gd name="T35" fmla="*/ 41 h 62"/>
                  <a:gd name="T36" fmla="*/ 26 w 103"/>
                  <a:gd name="T37" fmla="*/ 45 h 62"/>
                  <a:gd name="T38" fmla="*/ 31 w 103"/>
                  <a:gd name="T39" fmla="*/ 49 h 62"/>
                  <a:gd name="T40" fmla="*/ 36 w 103"/>
                  <a:gd name="T41" fmla="*/ 51 h 62"/>
                  <a:gd name="T42" fmla="*/ 48 w 103"/>
                  <a:gd name="T43" fmla="*/ 55 h 62"/>
                  <a:gd name="T44" fmla="*/ 60 w 103"/>
                  <a:gd name="T45" fmla="*/ 59 h 62"/>
                  <a:gd name="T46" fmla="*/ 70 w 103"/>
                  <a:gd name="T47" fmla="*/ 61 h 62"/>
                  <a:gd name="T48" fmla="*/ 82 w 103"/>
                  <a:gd name="T49" fmla="*/ 62 h 62"/>
                  <a:gd name="T50" fmla="*/ 88 w 103"/>
                  <a:gd name="T51" fmla="*/ 62 h 62"/>
                  <a:gd name="T52" fmla="*/ 94 w 103"/>
                  <a:gd name="T53" fmla="*/ 61 h 62"/>
                  <a:gd name="T54" fmla="*/ 100 w 103"/>
                  <a:gd name="T55" fmla="*/ 60 h 62"/>
                  <a:gd name="T56" fmla="*/ 103 w 103"/>
                  <a:gd name="T57" fmla="*/ 59 h 62"/>
                  <a:gd name="T58" fmla="*/ 102 w 103"/>
                  <a:gd name="T59" fmla="*/ 53 h 62"/>
                  <a:gd name="T60" fmla="*/ 100 w 103"/>
                  <a:gd name="T61" fmla="*/ 47 h 62"/>
                  <a:gd name="T62" fmla="*/ 97 w 103"/>
                  <a:gd name="T63" fmla="*/ 37 h 62"/>
                  <a:gd name="T64" fmla="*/ 94 w 103"/>
                  <a:gd name="T65" fmla="*/ 29 h 62"/>
                  <a:gd name="T66" fmla="*/ 83 w 103"/>
                  <a:gd name="T67" fmla="*/ 2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3" h="62">
                    <a:moveTo>
                      <a:pt x="83" y="23"/>
                    </a:moveTo>
                    <a:lnTo>
                      <a:pt x="73" y="21"/>
                    </a:lnTo>
                    <a:lnTo>
                      <a:pt x="63" y="18"/>
                    </a:lnTo>
                    <a:lnTo>
                      <a:pt x="51" y="13"/>
                    </a:lnTo>
                    <a:lnTo>
                      <a:pt x="41" y="7"/>
                    </a:lnTo>
                    <a:lnTo>
                      <a:pt x="31" y="2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9"/>
                    </a:lnTo>
                    <a:lnTo>
                      <a:pt x="6" y="24"/>
                    </a:lnTo>
                    <a:lnTo>
                      <a:pt x="12" y="30"/>
                    </a:lnTo>
                    <a:lnTo>
                      <a:pt x="17" y="36"/>
                    </a:lnTo>
                    <a:lnTo>
                      <a:pt x="21" y="41"/>
                    </a:lnTo>
                    <a:lnTo>
                      <a:pt x="26" y="45"/>
                    </a:lnTo>
                    <a:lnTo>
                      <a:pt x="31" y="49"/>
                    </a:lnTo>
                    <a:lnTo>
                      <a:pt x="36" y="51"/>
                    </a:lnTo>
                    <a:lnTo>
                      <a:pt x="48" y="55"/>
                    </a:lnTo>
                    <a:lnTo>
                      <a:pt x="60" y="59"/>
                    </a:lnTo>
                    <a:lnTo>
                      <a:pt x="70" y="61"/>
                    </a:lnTo>
                    <a:lnTo>
                      <a:pt x="82" y="62"/>
                    </a:lnTo>
                    <a:lnTo>
                      <a:pt x="88" y="62"/>
                    </a:lnTo>
                    <a:lnTo>
                      <a:pt x="94" y="61"/>
                    </a:lnTo>
                    <a:lnTo>
                      <a:pt x="100" y="60"/>
                    </a:lnTo>
                    <a:lnTo>
                      <a:pt x="103" y="59"/>
                    </a:lnTo>
                    <a:lnTo>
                      <a:pt x="102" y="53"/>
                    </a:lnTo>
                    <a:lnTo>
                      <a:pt x="100" y="47"/>
                    </a:lnTo>
                    <a:lnTo>
                      <a:pt x="97" y="37"/>
                    </a:lnTo>
                    <a:lnTo>
                      <a:pt x="94" y="29"/>
                    </a:lnTo>
                    <a:lnTo>
                      <a:pt x="83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25"/>
              <p:cNvSpPr>
                <a:spLocks/>
              </p:cNvSpPr>
              <p:nvPr/>
            </p:nvSpPr>
            <p:spPr bwMode="auto">
              <a:xfrm>
                <a:off x="2084388" y="7989888"/>
                <a:ext cx="28575" cy="33338"/>
              </a:xfrm>
              <a:custGeom>
                <a:avLst/>
                <a:gdLst>
                  <a:gd name="T0" fmla="*/ 61 w 73"/>
                  <a:gd name="T1" fmla="*/ 80 h 83"/>
                  <a:gd name="T2" fmla="*/ 63 w 73"/>
                  <a:gd name="T3" fmla="*/ 71 h 83"/>
                  <a:gd name="T4" fmla="*/ 67 w 73"/>
                  <a:gd name="T5" fmla="*/ 62 h 83"/>
                  <a:gd name="T6" fmla="*/ 70 w 73"/>
                  <a:gd name="T7" fmla="*/ 49 h 83"/>
                  <a:gd name="T8" fmla="*/ 71 w 73"/>
                  <a:gd name="T9" fmla="*/ 34 h 83"/>
                  <a:gd name="T10" fmla="*/ 73 w 73"/>
                  <a:gd name="T11" fmla="*/ 25 h 83"/>
                  <a:gd name="T12" fmla="*/ 73 w 73"/>
                  <a:gd name="T13" fmla="*/ 15 h 83"/>
                  <a:gd name="T14" fmla="*/ 73 w 73"/>
                  <a:gd name="T15" fmla="*/ 11 h 83"/>
                  <a:gd name="T16" fmla="*/ 73 w 73"/>
                  <a:gd name="T17" fmla="*/ 9 h 83"/>
                  <a:gd name="T18" fmla="*/ 71 w 73"/>
                  <a:gd name="T19" fmla="*/ 6 h 83"/>
                  <a:gd name="T20" fmla="*/ 69 w 73"/>
                  <a:gd name="T21" fmla="*/ 3 h 83"/>
                  <a:gd name="T22" fmla="*/ 59 w 73"/>
                  <a:gd name="T23" fmla="*/ 2 h 83"/>
                  <a:gd name="T24" fmla="*/ 49 w 73"/>
                  <a:gd name="T25" fmla="*/ 0 h 83"/>
                  <a:gd name="T26" fmla="*/ 39 w 73"/>
                  <a:gd name="T27" fmla="*/ 0 h 83"/>
                  <a:gd name="T28" fmla="*/ 28 w 73"/>
                  <a:gd name="T29" fmla="*/ 3 h 83"/>
                  <a:gd name="T30" fmla="*/ 22 w 73"/>
                  <a:gd name="T31" fmla="*/ 6 h 83"/>
                  <a:gd name="T32" fmla="*/ 14 w 73"/>
                  <a:gd name="T33" fmla="*/ 10 h 83"/>
                  <a:gd name="T34" fmla="*/ 8 w 73"/>
                  <a:gd name="T35" fmla="*/ 15 h 83"/>
                  <a:gd name="T36" fmla="*/ 3 w 73"/>
                  <a:gd name="T37" fmla="*/ 20 h 83"/>
                  <a:gd name="T38" fmla="*/ 0 w 73"/>
                  <a:gd name="T39" fmla="*/ 26 h 83"/>
                  <a:gd name="T40" fmla="*/ 0 w 73"/>
                  <a:gd name="T41" fmla="*/ 32 h 83"/>
                  <a:gd name="T42" fmla="*/ 0 w 73"/>
                  <a:gd name="T43" fmla="*/ 38 h 83"/>
                  <a:gd name="T44" fmla="*/ 0 w 73"/>
                  <a:gd name="T45" fmla="*/ 43 h 83"/>
                  <a:gd name="T46" fmla="*/ 2 w 73"/>
                  <a:gd name="T47" fmla="*/ 46 h 83"/>
                  <a:gd name="T48" fmla="*/ 3 w 73"/>
                  <a:gd name="T49" fmla="*/ 50 h 83"/>
                  <a:gd name="T50" fmla="*/ 5 w 73"/>
                  <a:gd name="T51" fmla="*/ 53 h 83"/>
                  <a:gd name="T52" fmla="*/ 8 w 73"/>
                  <a:gd name="T53" fmla="*/ 56 h 83"/>
                  <a:gd name="T54" fmla="*/ 14 w 73"/>
                  <a:gd name="T55" fmla="*/ 61 h 83"/>
                  <a:gd name="T56" fmla="*/ 20 w 73"/>
                  <a:gd name="T57" fmla="*/ 65 h 83"/>
                  <a:gd name="T58" fmla="*/ 24 w 73"/>
                  <a:gd name="T59" fmla="*/ 70 h 83"/>
                  <a:gd name="T60" fmla="*/ 30 w 73"/>
                  <a:gd name="T61" fmla="*/ 74 h 83"/>
                  <a:gd name="T62" fmla="*/ 40 w 73"/>
                  <a:gd name="T63" fmla="*/ 79 h 83"/>
                  <a:gd name="T64" fmla="*/ 49 w 73"/>
                  <a:gd name="T65" fmla="*/ 83 h 83"/>
                  <a:gd name="T66" fmla="*/ 61 w 73"/>
                  <a:gd name="T67" fmla="*/ 8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83">
                    <a:moveTo>
                      <a:pt x="61" y="80"/>
                    </a:moveTo>
                    <a:lnTo>
                      <a:pt x="63" y="71"/>
                    </a:lnTo>
                    <a:lnTo>
                      <a:pt x="67" y="62"/>
                    </a:lnTo>
                    <a:lnTo>
                      <a:pt x="70" y="49"/>
                    </a:lnTo>
                    <a:lnTo>
                      <a:pt x="71" y="34"/>
                    </a:lnTo>
                    <a:lnTo>
                      <a:pt x="73" y="25"/>
                    </a:lnTo>
                    <a:lnTo>
                      <a:pt x="73" y="15"/>
                    </a:lnTo>
                    <a:lnTo>
                      <a:pt x="73" y="11"/>
                    </a:lnTo>
                    <a:lnTo>
                      <a:pt x="73" y="9"/>
                    </a:lnTo>
                    <a:lnTo>
                      <a:pt x="71" y="6"/>
                    </a:lnTo>
                    <a:lnTo>
                      <a:pt x="69" y="3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0"/>
                    </a:lnTo>
                    <a:lnTo>
                      <a:pt x="28" y="3"/>
                    </a:lnTo>
                    <a:lnTo>
                      <a:pt x="22" y="6"/>
                    </a:lnTo>
                    <a:lnTo>
                      <a:pt x="14" y="10"/>
                    </a:lnTo>
                    <a:lnTo>
                      <a:pt x="8" y="15"/>
                    </a:lnTo>
                    <a:lnTo>
                      <a:pt x="3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0" y="43"/>
                    </a:lnTo>
                    <a:lnTo>
                      <a:pt x="2" y="46"/>
                    </a:lnTo>
                    <a:lnTo>
                      <a:pt x="3" y="50"/>
                    </a:lnTo>
                    <a:lnTo>
                      <a:pt x="5" y="53"/>
                    </a:lnTo>
                    <a:lnTo>
                      <a:pt x="8" y="56"/>
                    </a:lnTo>
                    <a:lnTo>
                      <a:pt x="14" y="61"/>
                    </a:lnTo>
                    <a:lnTo>
                      <a:pt x="20" y="65"/>
                    </a:lnTo>
                    <a:lnTo>
                      <a:pt x="24" y="70"/>
                    </a:lnTo>
                    <a:lnTo>
                      <a:pt x="30" y="74"/>
                    </a:lnTo>
                    <a:lnTo>
                      <a:pt x="40" y="79"/>
                    </a:lnTo>
                    <a:lnTo>
                      <a:pt x="49" y="83"/>
                    </a:lnTo>
                    <a:lnTo>
                      <a:pt x="61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26"/>
              <p:cNvSpPr>
                <a:spLocks/>
              </p:cNvSpPr>
              <p:nvPr/>
            </p:nvSpPr>
            <p:spPr bwMode="auto">
              <a:xfrm>
                <a:off x="1936751" y="8047038"/>
                <a:ext cx="30163" cy="20638"/>
              </a:xfrm>
              <a:custGeom>
                <a:avLst/>
                <a:gdLst>
                  <a:gd name="T0" fmla="*/ 56 w 75"/>
                  <a:gd name="T1" fmla="*/ 0 h 51"/>
                  <a:gd name="T2" fmla="*/ 54 w 75"/>
                  <a:gd name="T3" fmla="*/ 1 h 51"/>
                  <a:gd name="T4" fmla="*/ 52 w 75"/>
                  <a:gd name="T5" fmla="*/ 2 h 51"/>
                  <a:gd name="T6" fmla="*/ 50 w 75"/>
                  <a:gd name="T7" fmla="*/ 6 h 51"/>
                  <a:gd name="T8" fmla="*/ 46 w 75"/>
                  <a:gd name="T9" fmla="*/ 9 h 51"/>
                  <a:gd name="T10" fmla="*/ 43 w 75"/>
                  <a:gd name="T11" fmla="*/ 12 h 51"/>
                  <a:gd name="T12" fmla="*/ 38 w 75"/>
                  <a:gd name="T13" fmla="*/ 15 h 51"/>
                  <a:gd name="T14" fmla="*/ 32 w 75"/>
                  <a:gd name="T15" fmla="*/ 16 h 51"/>
                  <a:gd name="T16" fmla="*/ 27 w 75"/>
                  <a:gd name="T17" fmla="*/ 18 h 51"/>
                  <a:gd name="T18" fmla="*/ 19 w 75"/>
                  <a:gd name="T19" fmla="*/ 18 h 51"/>
                  <a:gd name="T20" fmla="*/ 9 w 75"/>
                  <a:gd name="T21" fmla="*/ 19 h 51"/>
                  <a:gd name="T22" fmla="*/ 4 w 75"/>
                  <a:gd name="T23" fmla="*/ 20 h 51"/>
                  <a:gd name="T24" fmla="*/ 2 w 75"/>
                  <a:gd name="T25" fmla="*/ 23 h 51"/>
                  <a:gd name="T26" fmla="*/ 0 w 75"/>
                  <a:gd name="T27" fmla="*/ 26 h 51"/>
                  <a:gd name="T28" fmla="*/ 0 w 75"/>
                  <a:gd name="T29" fmla="*/ 31 h 51"/>
                  <a:gd name="T30" fmla="*/ 1 w 75"/>
                  <a:gd name="T31" fmla="*/ 38 h 51"/>
                  <a:gd name="T32" fmla="*/ 4 w 75"/>
                  <a:gd name="T33" fmla="*/ 45 h 51"/>
                  <a:gd name="T34" fmla="*/ 7 w 75"/>
                  <a:gd name="T35" fmla="*/ 48 h 51"/>
                  <a:gd name="T36" fmla="*/ 9 w 75"/>
                  <a:gd name="T37" fmla="*/ 50 h 51"/>
                  <a:gd name="T38" fmla="*/ 13 w 75"/>
                  <a:gd name="T39" fmla="*/ 51 h 51"/>
                  <a:gd name="T40" fmla="*/ 16 w 75"/>
                  <a:gd name="T41" fmla="*/ 51 h 51"/>
                  <a:gd name="T42" fmla="*/ 27 w 75"/>
                  <a:gd name="T43" fmla="*/ 47 h 51"/>
                  <a:gd name="T44" fmla="*/ 39 w 75"/>
                  <a:gd name="T45" fmla="*/ 43 h 51"/>
                  <a:gd name="T46" fmla="*/ 48 w 75"/>
                  <a:gd name="T47" fmla="*/ 43 h 51"/>
                  <a:gd name="T48" fmla="*/ 58 w 75"/>
                  <a:gd name="T49" fmla="*/ 44 h 51"/>
                  <a:gd name="T50" fmla="*/ 63 w 75"/>
                  <a:gd name="T51" fmla="*/ 43 h 51"/>
                  <a:gd name="T52" fmla="*/ 68 w 75"/>
                  <a:gd name="T53" fmla="*/ 42 h 51"/>
                  <a:gd name="T54" fmla="*/ 72 w 75"/>
                  <a:gd name="T55" fmla="*/ 41 h 51"/>
                  <a:gd name="T56" fmla="*/ 74 w 75"/>
                  <a:gd name="T57" fmla="*/ 37 h 51"/>
                  <a:gd name="T58" fmla="*/ 75 w 75"/>
                  <a:gd name="T59" fmla="*/ 31 h 51"/>
                  <a:gd name="T60" fmla="*/ 75 w 75"/>
                  <a:gd name="T61" fmla="*/ 24 h 51"/>
                  <a:gd name="T62" fmla="*/ 74 w 75"/>
                  <a:gd name="T63" fmla="*/ 13 h 51"/>
                  <a:gd name="T64" fmla="*/ 71 w 75"/>
                  <a:gd name="T65" fmla="*/ 4 h 51"/>
                  <a:gd name="T66" fmla="*/ 56 w 75"/>
                  <a:gd name="T6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51">
                    <a:moveTo>
                      <a:pt x="56" y="0"/>
                    </a:moveTo>
                    <a:lnTo>
                      <a:pt x="54" y="1"/>
                    </a:lnTo>
                    <a:lnTo>
                      <a:pt x="52" y="2"/>
                    </a:lnTo>
                    <a:lnTo>
                      <a:pt x="50" y="6"/>
                    </a:lnTo>
                    <a:lnTo>
                      <a:pt x="46" y="9"/>
                    </a:lnTo>
                    <a:lnTo>
                      <a:pt x="43" y="12"/>
                    </a:lnTo>
                    <a:lnTo>
                      <a:pt x="38" y="15"/>
                    </a:lnTo>
                    <a:lnTo>
                      <a:pt x="32" y="16"/>
                    </a:lnTo>
                    <a:lnTo>
                      <a:pt x="27" y="18"/>
                    </a:lnTo>
                    <a:lnTo>
                      <a:pt x="19" y="18"/>
                    </a:lnTo>
                    <a:lnTo>
                      <a:pt x="9" y="19"/>
                    </a:lnTo>
                    <a:lnTo>
                      <a:pt x="4" y="20"/>
                    </a:lnTo>
                    <a:lnTo>
                      <a:pt x="2" y="23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1" y="38"/>
                    </a:lnTo>
                    <a:lnTo>
                      <a:pt x="4" y="45"/>
                    </a:lnTo>
                    <a:lnTo>
                      <a:pt x="7" y="48"/>
                    </a:lnTo>
                    <a:lnTo>
                      <a:pt x="9" y="50"/>
                    </a:lnTo>
                    <a:lnTo>
                      <a:pt x="13" y="51"/>
                    </a:lnTo>
                    <a:lnTo>
                      <a:pt x="16" y="51"/>
                    </a:lnTo>
                    <a:lnTo>
                      <a:pt x="27" y="47"/>
                    </a:lnTo>
                    <a:lnTo>
                      <a:pt x="39" y="43"/>
                    </a:lnTo>
                    <a:lnTo>
                      <a:pt x="48" y="43"/>
                    </a:lnTo>
                    <a:lnTo>
                      <a:pt x="58" y="44"/>
                    </a:lnTo>
                    <a:lnTo>
                      <a:pt x="63" y="43"/>
                    </a:lnTo>
                    <a:lnTo>
                      <a:pt x="68" y="42"/>
                    </a:lnTo>
                    <a:lnTo>
                      <a:pt x="72" y="41"/>
                    </a:lnTo>
                    <a:lnTo>
                      <a:pt x="74" y="37"/>
                    </a:lnTo>
                    <a:lnTo>
                      <a:pt x="75" y="31"/>
                    </a:lnTo>
                    <a:lnTo>
                      <a:pt x="75" y="24"/>
                    </a:lnTo>
                    <a:lnTo>
                      <a:pt x="74" y="13"/>
                    </a:lnTo>
                    <a:lnTo>
                      <a:pt x="71" y="4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27"/>
              <p:cNvSpPr>
                <a:spLocks/>
              </p:cNvSpPr>
              <p:nvPr/>
            </p:nvSpPr>
            <p:spPr bwMode="auto">
              <a:xfrm>
                <a:off x="2181226" y="7931150"/>
                <a:ext cx="26988" cy="31750"/>
              </a:xfrm>
              <a:custGeom>
                <a:avLst/>
                <a:gdLst>
                  <a:gd name="T0" fmla="*/ 70 w 70"/>
                  <a:gd name="T1" fmla="*/ 30 h 81"/>
                  <a:gd name="T2" fmla="*/ 62 w 70"/>
                  <a:gd name="T3" fmla="*/ 28 h 81"/>
                  <a:gd name="T4" fmla="*/ 54 w 70"/>
                  <a:gd name="T5" fmla="*/ 23 h 81"/>
                  <a:gd name="T6" fmla="*/ 53 w 70"/>
                  <a:gd name="T7" fmla="*/ 22 h 81"/>
                  <a:gd name="T8" fmla="*/ 52 w 70"/>
                  <a:gd name="T9" fmla="*/ 22 h 81"/>
                  <a:gd name="T10" fmla="*/ 48 w 70"/>
                  <a:gd name="T11" fmla="*/ 15 h 81"/>
                  <a:gd name="T12" fmla="*/ 44 w 70"/>
                  <a:gd name="T13" fmla="*/ 9 h 81"/>
                  <a:gd name="T14" fmla="*/ 39 w 70"/>
                  <a:gd name="T15" fmla="*/ 5 h 81"/>
                  <a:gd name="T16" fmla="*/ 33 w 70"/>
                  <a:gd name="T17" fmla="*/ 1 h 81"/>
                  <a:gd name="T18" fmla="*/ 26 w 70"/>
                  <a:gd name="T19" fmla="*/ 0 h 81"/>
                  <a:gd name="T20" fmla="*/ 17 w 70"/>
                  <a:gd name="T21" fmla="*/ 0 h 81"/>
                  <a:gd name="T22" fmla="*/ 10 w 70"/>
                  <a:gd name="T23" fmla="*/ 1 h 81"/>
                  <a:gd name="T24" fmla="*/ 5 w 70"/>
                  <a:gd name="T25" fmla="*/ 5 h 81"/>
                  <a:gd name="T26" fmla="*/ 3 w 70"/>
                  <a:gd name="T27" fmla="*/ 7 h 81"/>
                  <a:gd name="T28" fmla="*/ 2 w 70"/>
                  <a:gd name="T29" fmla="*/ 10 h 81"/>
                  <a:gd name="T30" fmla="*/ 0 w 70"/>
                  <a:gd name="T31" fmla="*/ 12 h 81"/>
                  <a:gd name="T32" fmla="*/ 2 w 70"/>
                  <a:gd name="T33" fmla="*/ 16 h 81"/>
                  <a:gd name="T34" fmla="*/ 16 w 70"/>
                  <a:gd name="T35" fmla="*/ 22 h 81"/>
                  <a:gd name="T36" fmla="*/ 30 w 70"/>
                  <a:gd name="T37" fmla="*/ 29 h 81"/>
                  <a:gd name="T38" fmla="*/ 34 w 70"/>
                  <a:gd name="T39" fmla="*/ 30 h 81"/>
                  <a:gd name="T40" fmla="*/ 36 w 70"/>
                  <a:gd name="T41" fmla="*/ 33 h 81"/>
                  <a:gd name="T42" fmla="*/ 39 w 70"/>
                  <a:gd name="T43" fmla="*/ 36 h 81"/>
                  <a:gd name="T44" fmla="*/ 40 w 70"/>
                  <a:gd name="T45" fmla="*/ 40 h 81"/>
                  <a:gd name="T46" fmla="*/ 41 w 70"/>
                  <a:gd name="T47" fmla="*/ 48 h 81"/>
                  <a:gd name="T48" fmla="*/ 39 w 70"/>
                  <a:gd name="T49" fmla="*/ 56 h 81"/>
                  <a:gd name="T50" fmla="*/ 36 w 70"/>
                  <a:gd name="T51" fmla="*/ 63 h 81"/>
                  <a:gd name="T52" fmla="*/ 34 w 70"/>
                  <a:gd name="T53" fmla="*/ 69 h 81"/>
                  <a:gd name="T54" fmla="*/ 33 w 70"/>
                  <a:gd name="T55" fmla="*/ 72 h 81"/>
                  <a:gd name="T56" fmla="*/ 33 w 70"/>
                  <a:gd name="T57" fmla="*/ 76 h 81"/>
                  <a:gd name="T58" fmla="*/ 33 w 70"/>
                  <a:gd name="T59" fmla="*/ 78 h 81"/>
                  <a:gd name="T60" fmla="*/ 34 w 70"/>
                  <a:gd name="T61" fmla="*/ 80 h 81"/>
                  <a:gd name="T62" fmla="*/ 36 w 70"/>
                  <a:gd name="T63" fmla="*/ 80 h 81"/>
                  <a:gd name="T64" fmla="*/ 39 w 70"/>
                  <a:gd name="T65" fmla="*/ 81 h 81"/>
                  <a:gd name="T66" fmla="*/ 42 w 70"/>
                  <a:gd name="T67" fmla="*/ 80 h 81"/>
                  <a:gd name="T68" fmla="*/ 46 w 70"/>
                  <a:gd name="T69" fmla="*/ 77 h 81"/>
                  <a:gd name="T70" fmla="*/ 51 w 70"/>
                  <a:gd name="T71" fmla="*/ 74 h 81"/>
                  <a:gd name="T72" fmla="*/ 52 w 70"/>
                  <a:gd name="T73" fmla="*/ 71 h 81"/>
                  <a:gd name="T74" fmla="*/ 57 w 70"/>
                  <a:gd name="T75" fmla="*/ 68 h 81"/>
                  <a:gd name="T76" fmla="*/ 60 w 70"/>
                  <a:gd name="T77" fmla="*/ 62 h 81"/>
                  <a:gd name="T78" fmla="*/ 65 w 70"/>
                  <a:gd name="T79" fmla="*/ 54 h 81"/>
                  <a:gd name="T80" fmla="*/ 70 w 70"/>
                  <a:gd name="T81" fmla="*/ 48 h 81"/>
                  <a:gd name="T82" fmla="*/ 70 w 70"/>
                  <a:gd name="T83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0" h="81">
                    <a:moveTo>
                      <a:pt x="70" y="30"/>
                    </a:moveTo>
                    <a:lnTo>
                      <a:pt x="62" y="28"/>
                    </a:lnTo>
                    <a:lnTo>
                      <a:pt x="54" y="23"/>
                    </a:lnTo>
                    <a:lnTo>
                      <a:pt x="53" y="22"/>
                    </a:lnTo>
                    <a:lnTo>
                      <a:pt x="52" y="22"/>
                    </a:lnTo>
                    <a:lnTo>
                      <a:pt x="48" y="15"/>
                    </a:lnTo>
                    <a:lnTo>
                      <a:pt x="44" y="9"/>
                    </a:lnTo>
                    <a:lnTo>
                      <a:pt x="39" y="5"/>
                    </a:lnTo>
                    <a:lnTo>
                      <a:pt x="33" y="1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10" y="1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16" y="22"/>
                    </a:lnTo>
                    <a:lnTo>
                      <a:pt x="30" y="29"/>
                    </a:lnTo>
                    <a:lnTo>
                      <a:pt x="34" y="30"/>
                    </a:lnTo>
                    <a:lnTo>
                      <a:pt x="36" y="33"/>
                    </a:lnTo>
                    <a:lnTo>
                      <a:pt x="39" y="36"/>
                    </a:lnTo>
                    <a:lnTo>
                      <a:pt x="40" y="40"/>
                    </a:lnTo>
                    <a:lnTo>
                      <a:pt x="41" y="48"/>
                    </a:lnTo>
                    <a:lnTo>
                      <a:pt x="39" y="56"/>
                    </a:lnTo>
                    <a:lnTo>
                      <a:pt x="36" y="63"/>
                    </a:lnTo>
                    <a:lnTo>
                      <a:pt x="34" y="69"/>
                    </a:lnTo>
                    <a:lnTo>
                      <a:pt x="33" y="72"/>
                    </a:lnTo>
                    <a:lnTo>
                      <a:pt x="33" y="76"/>
                    </a:lnTo>
                    <a:lnTo>
                      <a:pt x="33" y="78"/>
                    </a:lnTo>
                    <a:lnTo>
                      <a:pt x="34" y="80"/>
                    </a:lnTo>
                    <a:lnTo>
                      <a:pt x="36" y="80"/>
                    </a:lnTo>
                    <a:lnTo>
                      <a:pt x="39" y="81"/>
                    </a:lnTo>
                    <a:lnTo>
                      <a:pt x="42" y="80"/>
                    </a:lnTo>
                    <a:lnTo>
                      <a:pt x="46" y="77"/>
                    </a:lnTo>
                    <a:lnTo>
                      <a:pt x="51" y="74"/>
                    </a:lnTo>
                    <a:lnTo>
                      <a:pt x="52" y="71"/>
                    </a:lnTo>
                    <a:lnTo>
                      <a:pt x="57" y="68"/>
                    </a:lnTo>
                    <a:lnTo>
                      <a:pt x="60" y="62"/>
                    </a:lnTo>
                    <a:lnTo>
                      <a:pt x="65" y="54"/>
                    </a:lnTo>
                    <a:lnTo>
                      <a:pt x="70" y="48"/>
                    </a:lnTo>
                    <a:lnTo>
                      <a:pt x="7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28"/>
              <p:cNvSpPr>
                <a:spLocks/>
              </p:cNvSpPr>
              <p:nvPr/>
            </p:nvSpPr>
            <p:spPr bwMode="auto">
              <a:xfrm>
                <a:off x="2347913" y="7864475"/>
                <a:ext cx="53975" cy="71438"/>
              </a:xfrm>
              <a:custGeom>
                <a:avLst/>
                <a:gdLst>
                  <a:gd name="T0" fmla="*/ 132 w 138"/>
                  <a:gd name="T1" fmla="*/ 122 h 177"/>
                  <a:gd name="T2" fmla="*/ 120 w 138"/>
                  <a:gd name="T3" fmla="*/ 101 h 177"/>
                  <a:gd name="T4" fmla="*/ 108 w 138"/>
                  <a:gd name="T5" fmla="*/ 89 h 177"/>
                  <a:gd name="T6" fmla="*/ 103 w 138"/>
                  <a:gd name="T7" fmla="*/ 82 h 177"/>
                  <a:gd name="T8" fmla="*/ 102 w 138"/>
                  <a:gd name="T9" fmla="*/ 74 h 177"/>
                  <a:gd name="T10" fmla="*/ 104 w 138"/>
                  <a:gd name="T11" fmla="*/ 65 h 177"/>
                  <a:gd name="T12" fmla="*/ 111 w 138"/>
                  <a:gd name="T13" fmla="*/ 52 h 177"/>
                  <a:gd name="T14" fmla="*/ 119 w 138"/>
                  <a:gd name="T15" fmla="*/ 35 h 177"/>
                  <a:gd name="T16" fmla="*/ 119 w 138"/>
                  <a:gd name="T17" fmla="*/ 24 h 177"/>
                  <a:gd name="T18" fmla="*/ 115 w 138"/>
                  <a:gd name="T19" fmla="*/ 18 h 177"/>
                  <a:gd name="T20" fmla="*/ 113 w 138"/>
                  <a:gd name="T21" fmla="*/ 17 h 177"/>
                  <a:gd name="T22" fmla="*/ 108 w 138"/>
                  <a:gd name="T23" fmla="*/ 20 h 177"/>
                  <a:gd name="T24" fmla="*/ 101 w 138"/>
                  <a:gd name="T25" fmla="*/ 33 h 177"/>
                  <a:gd name="T26" fmla="*/ 93 w 138"/>
                  <a:gd name="T27" fmla="*/ 46 h 177"/>
                  <a:gd name="T28" fmla="*/ 77 w 138"/>
                  <a:gd name="T29" fmla="*/ 59 h 177"/>
                  <a:gd name="T30" fmla="*/ 61 w 138"/>
                  <a:gd name="T31" fmla="*/ 65 h 177"/>
                  <a:gd name="T32" fmla="*/ 52 w 138"/>
                  <a:gd name="T33" fmla="*/ 67 h 177"/>
                  <a:gd name="T34" fmla="*/ 48 w 138"/>
                  <a:gd name="T35" fmla="*/ 64 h 177"/>
                  <a:gd name="T36" fmla="*/ 46 w 138"/>
                  <a:gd name="T37" fmla="*/ 58 h 177"/>
                  <a:gd name="T38" fmla="*/ 54 w 138"/>
                  <a:gd name="T39" fmla="*/ 42 h 177"/>
                  <a:gd name="T40" fmla="*/ 61 w 138"/>
                  <a:gd name="T41" fmla="*/ 21 h 177"/>
                  <a:gd name="T42" fmla="*/ 62 w 138"/>
                  <a:gd name="T43" fmla="*/ 10 h 177"/>
                  <a:gd name="T44" fmla="*/ 60 w 138"/>
                  <a:gd name="T45" fmla="*/ 5 h 177"/>
                  <a:gd name="T46" fmla="*/ 54 w 138"/>
                  <a:gd name="T47" fmla="*/ 2 h 177"/>
                  <a:gd name="T48" fmla="*/ 43 w 138"/>
                  <a:gd name="T49" fmla="*/ 2 h 177"/>
                  <a:gd name="T50" fmla="*/ 25 w 138"/>
                  <a:gd name="T51" fmla="*/ 8 h 177"/>
                  <a:gd name="T52" fmla="*/ 10 w 138"/>
                  <a:gd name="T53" fmla="*/ 18 h 177"/>
                  <a:gd name="T54" fmla="*/ 2 w 138"/>
                  <a:gd name="T55" fmla="*/ 35 h 177"/>
                  <a:gd name="T56" fmla="*/ 0 w 138"/>
                  <a:gd name="T57" fmla="*/ 54 h 177"/>
                  <a:gd name="T58" fmla="*/ 1 w 138"/>
                  <a:gd name="T59" fmla="*/ 74 h 177"/>
                  <a:gd name="T60" fmla="*/ 3 w 138"/>
                  <a:gd name="T61" fmla="*/ 93 h 177"/>
                  <a:gd name="T62" fmla="*/ 6 w 138"/>
                  <a:gd name="T63" fmla="*/ 112 h 177"/>
                  <a:gd name="T64" fmla="*/ 6 w 138"/>
                  <a:gd name="T65" fmla="*/ 132 h 177"/>
                  <a:gd name="T66" fmla="*/ 3 w 138"/>
                  <a:gd name="T67" fmla="*/ 150 h 177"/>
                  <a:gd name="T68" fmla="*/ 12 w 138"/>
                  <a:gd name="T69" fmla="*/ 157 h 177"/>
                  <a:gd name="T70" fmla="*/ 30 w 138"/>
                  <a:gd name="T71" fmla="*/ 146 h 177"/>
                  <a:gd name="T72" fmla="*/ 45 w 138"/>
                  <a:gd name="T73" fmla="*/ 138 h 177"/>
                  <a:gd name="T74" fmla="*/ 55 w 138"/>
                  <a:gd name="T75" fmla="*/ 135 h 177"/>
                  <a:gd name="T76" fmla="*/ 65 w 138"/>
                  <a:gd name="T77" fmla="*/ 136 h 177"/>
                  <a:gd name="T78" fmla="*/ 71 w 138"/>
                  <a:gd name="T79" fmla="*/ 144 h 177"/>
                  <a:gd name="T80" fmla="*/ 75 w 138"/>
                  <a:gd name="T81" fmla="*/ 158 h 177"/>
                  <a:gd name="T82" fmla="*/ 80 w 138"/>
                  <a:gd name="T83" fmla="*/ 171 h 177"/>
                  <a:gd name="T84" fmla="*/ 87 w 138"/>
                  <a:gd name="T85" fmla="*/ 177 h 177"/>
                  <a:gd name="T86" fmla="*/ 98 w 138"/>
                  <a:gd name="T87" fmla="*/ 177 h 177"/>
                  <a:gd name="T88" fmla="*/ 109 w 138"/>
                  <a:gd name="T89" fmla="*/ 171 h 177"/>
                  <a:gd name="T90" fmla="*/ 122 w 138"/>
                  <a:gd name="T91" fmla="*/ 160 h 177"/>
                  <a:gd name="T92" fmla="*/ 138 w 138"/>
                  <a:gd name="T93" fmla="*/ 132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8" h="177">
                    <a:moveTo>
                      <a:pt x="138" y="132"/>
                    </a:moveTo>
                    <a:lnTo>
                      <a:pt x="132" y="122"/>
                    </a:lnTo>
                    <a:lnTo>
                      <a:pt x="126" y="112"/>
                    </a:lnTo>
                    <a:lnTo>
                      <a:pt x="120" y="101"/>
                    </a:lnTo>
                    <a:lnTo>
                      <a:pt x="111" y="93"/>
                    </a:lnTo>
                    <a:lnTo>
                      <a:pt x="108" y="89"/>
                    </a:lnTo>
                    <a:lnTo>
                      <a:pt x="105" y="86"/>
                    </a:lnTo>
                    <a:lnTo>
                      <a:pt x="103" y="82"/>
                    </a:lnTo>
                    <a:lnTo>
                      <a:pt x="102" y="79"/>
                    </a:lnTo>
                    <a:lnTo>
                      <a:pt x="102" y="74"/>
                    </a:lnTo>
                    <a:lnTo>
                      <a:pt x="103" y="70"/>
                    </a:lnTo>
                    <a:lnTo>
                      <a:pt x="104" y="65"/>
                    </a:lnTo>
                    <a:lnTo>
                      <a:pt x="107" y="62"/>
                    </a:lnTo>
                    <a:lnTo>
                      <a:pt x="111" y="52"/>
                    </a:lnTo>
                    <a:lnTo>
                      <a:pt x="116" y="41"/>
                    </a:lnTo>
                    <a:lnTo>
                      <a:pt x="119" y="35"/>
                    </a:lnTo>
                    <a:lnTo>
                      <a:pt x="120" y="29"/>
                    </a:lnTo>
                    <a:lnTo>
                      <a:pt x="119" y="24"/>
                    </a:lnTo>
                    <a:lnTo>
                      <a:pt x="117" y="20"/>
                    </a:lnTo>
                    <a:lnTo>
                      <a:pt x="115" y="18"/>
                    </a:lnTo>
                    <a:lnTo>
                      <a:pt x="114" y="17"/>
                    </a:lnTo>
                    <a:lnTo>
                      <a:pt x="113" y="17"/>
                    </a:lnTo>
                    <a:lnTo>
                      <a:pt x="110" y="17"/>
                    </a:lnTo>
                    <a:lnTo>
                      <a:pt x="108" y="20"/>
                    </a:lnTo>
                    <a:lnTo>
                      <a:pt x="105" y="23"/>
                    </a:lnTo>
                    <a:lnTo>
                      <a:pt x="101" y="33"/>
                    </a:lnTo>
                    <a:lnTo>
                      <a:pt x="98" y="40"/>
                    </a:lnTo>
                    <a:lnTo>
                      <a:pt x="93" y="46"/>
                    </a:lnTo>
                    <a:lnTo>
                      <a:pt x="86" y="53"/>
                    </a:lnTo>
                    <a:lnTo>
                      <a:pt x="77" y="59"/>
                    </a:lnTo>
                    <a:lnTo>
                      <a:pt x="66" y="63"/>
                    </a:lnTo>
                    <a:lnTo>
                      <a:pt x="61" y="65"/>
                    </a:lnTo>
                    <a:lnTo>
                      <a:pt x="56" y="65"/>
                    </a:lnTo>
                    <a:lnTo>
                      <a:pt x="52" y="67"/>
                    </a:lnTo>
                    <a:lnTo>
                      <a:pt x="50" y="65"/>
                    </a:lnTo>
                    <a:lnTo>
                      <a:pt x="48" y="64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9" y="53"/>
                    </a:lnTo>
                    <a:lnTo>
                      <a:pt x="54" y="42"/>
                    </a:lnTo>
                    <a:lnTo>
                      <a:pt x="60" y="28"/>
                    </a:lnTo>
                    <a:lnTo>
                      <a:pt x="61" y="21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1" y="8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2"/>
                    </a:lnTo>
                    <a:lnTo>
                      <a:pt x="49" y="0"/>
                    </a:lnTo>
                    <a:lnTo>
                      <a:pt x="43" y="2"/>
                    </a:lnTo>
                    <a:lnTo>
                      <a:pt x="37" y="3"/>
                    </a:lnTo>
                    <a:lnTo>
                      <a:pt x="25" y="8"/>
                    </a:lnTo>
                    <a:lnTo>
                      <a:pt x="16" y="11"/>
                    </a:lnTo>
                    <a:lnTo>
                      <a:pt x="10" y="18"/>
                    </a:lnTo>
                    <a:lnTo>
                      <a:pt x="6" y="26"/>
                    </a:lnTo>
                    <a:lnTo>
                      <a:pt x="2" y="35"/>
                    </a:lnTo>
                    <a:lnTo>
                      <a:pt x="1" y="44"/>
                    </a:lnTo>
                    <a:lnTo>
                      <a:pt x="0" y="54"/>
                    </a:lnTo>
                    <a:lnTo>
                      <a:pt x="0" y="64"/>
                    </a:lnTo>
                    <a:lnTo>
                      <a:pt x="1" y="74"/>
                    </a:lnTo>
                    <a:lnTo>
                      <a:pt x="2" y="82"/>
                    </a:lnTo>
                    <a:lnTo>
                      <a:pt x="3" y="93"/>
                    </a:lnTo>
                    <a:lnTo>
                      <a:pt x="4" y="103"/>
                    </a:lnTo>
                    <a:lnTo>
                      <a:pt x="6" y="112"/>
                    </a:lnTo>
                    <a:lnTo>
                      <a:pt x="7" y="122"/>
                    </a:lnTo>
                    <a:lnTo>
                      <a:pt x="6" y="132"/>
                    </a:lnTo>
                    <a:lnTo>
                      <a:pt x="4" y="141"/>
                    </a:lnTo>
                    <a:lnTo>
                      <a:pt x="3" y="150"/>
                    </a:lnTo>
                    <a:lnTo>
                      <a:pt x="4" y="158"/>
                    </a:lnTo>
                    <a:lnTo>
                      <a:pt x="12" y="157"/>
                    </a:lnTo>
                    <a:lnTo>
                      <a:pt x="20" y="152"/>
                    </a:lnTo>
                    <a:lnTo>
                      <a:pt x="30" y="146"/>
                    </a:lnTo>
                    <a:lnTo>
                      <a:pt x="40" y="140"/>
                    </a:lnTo>
                    <a:lnTo>
                      <a:pt x="45" y="138"/>
                    </a:lnTo>
                    <a:lnTo>
                      <a:pt x="50" y="136"/>
                    </a:lnTo>
                    <a:lnTo>
                      <a:pt x="55" y="135"/>
                    </a:lnTo>
                    <a:lnTo>
                      <a:pt x="60" y="135"/>
                    </a:lnTo>
                    <a:lnTo>
                      <a:pt x="65" y="136"/>
                    </a:lnTo>
                    <a:lnTo>
                      <a:pt x="68" y="139"/>
                    </a:lnTo>
                    <a:lnTo>
                      <a:pt x="71" y="144"/>
                    </a:lnTo>
                    <a:lnTo>
                      <a:pt x="73" y="150"/>
                    </a:lnTo>
                    <a:lnTo>
                      <a:pt x="75" y="158"/>
                    </a:lnTo>
                    <a:lnTo>
                      <a:pt x="79" y="168"/>
                    </a:lnTo>
                    <a:lnTo>
                      <a:pt x="80" y="171"/>
                    </a:lnTo>
                    <a:lnTo>
                      <a:pt x="84" y="175"/>
                    </a:lnTo>
                    <a:lnTo>
                      <a:pt x="87" y="177"/>
                    </a:lnTo>
                    <a:lnTo>
                      <a:pt x="93" y="177"/>
                    </a:lnTo>
                    <a:lnTo>
                      <a:pt x="98" y="177"/>
                    </a:lnTo>
                    <a:lnTo>
                      <a:pt x="104" y="175"/>
                    </a:lnTo>
                    <a:lnTo>
                      <a:pt x="109" y="171"/>
                    </a:lnTo>
                    <a:lnTo>
                      <a:pt x="114" y="168"/>
                    </a:lnTo>
                    <a:lnTo>
                      <a:pt x="122" y="160"/>
                    </a:lnTo>
                    <a:lnTo>
                      <a:pt x="131" y="152"/>
                    </a:lnTo>
                    <a:lnTo>
                      <a:pt x="138" y="1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29"/>
              <p:cNvSpPr>
                <a:spLocks/>
              </p:cNvSpPr>
              <p:nvPr/>
            </p:nvSpPr>
            <p:spPr bwMode="auto">
              <a:xfrm>
                <a:off x="2400301" y="7877175"/>
                <a:ext cx="28575" cy="23813"/>
              </a:xfrm>
              <a:custGeom>
                <a:avLst/>
                <a:gdLst>
                  <a:gd name="T0" fmla="*/ 71 w 71"/>
                  <a:gd name="T1" fmla="*/ 4 h 62"/>
                  <a:gd name="T2" fmla="*/ 67 w 71"/>
                  <a:gd name="T3" fmla="*/ 4 h 62"/>
                  <a:gd name="T4" fmla="*/ 64 w 71"/>
                  <a:gd name="T5" fmla="*/ 4 h 62"/>
                  <a:gd name="T6" fmla="*/ 55 w 71"/>
                  <a:gd name="T7" fmla="*/ 3 h 62"/>
                  <a:gd name="T8" fmla="*/ 47 w 71"/>
                  <a:gd name="T9" fmla="*/ 2 h 62"/>
                  <a:gd name="T10" fmla="*/ 38 w 71"/>
                  <a:gd name="T11" fmla="*/ 0 h 62"/>
                  <a:gd name="T12" fmla="*/ 30 w 71"/>
                  <a:gd name="T13" fmla="*/ 2 h 62"/>
                  <a:gd name="T14" fmla="*/ 20 w 71"/>
                  <a:gd name="T15" fmla="*/ 6 h 62"/>
                  <a:gd name="T16" fmla="*/ 11 w 71"/>
                  <a:gd name="T17" fmla="*/ 12 h 62"/>
                  <a:gd name="T18" fmla="*/ 8 w 71"/>
                  <a:gd name="T19" fmla="*/ 15 h 62"/>
                  <a:gd name="T20" fmla="*/ 4 w 71"/>
                  <a:gd name="T21" fmla="*/ 18 h 62"/>
                  <a:gd name="T22" fmla="*/ 1 w 71"/>
                  <a:gd name="T23" fmla="*/ 22 h 62"/>
                  <a:gd name="T24" fmla="*/ 0 w 71"/>
                  <a:gd name="T25" fmla="*/ 26 h 62"/>
                  <a:gd name="T26" fmla="*/ 8 w 71"/>
                  <a:gd name="T27" fmla="*/ 29 h 62"/>
                  <a:gd name="T28" fmla="*/ 17 w 71"/>
                  <a:gd name="T29" fmla="*/ 35 h 62"/>
                  <a:gd name="T30" fmla="*/ 25 w 71"/>
                  <a:gd name="T31" fmla="*/ 40 h 62"/>
                  <a:gd name="T32" fmla="*/ 34 w 71"/>
                  <a:gd name="T33" fmla="*/ 45 h 62"/>
                  <a:gd name="T34" fmla="*/ 42 w 71"/>
                  <a:gd name="T35" fmla="*/ 52 h 62"/>
                  <a:gd name="T36" fmla="*/ 50 w 71"/>
                  <a:gd name="T37" fmla="*/ 58 h 62"/>
                  <a:gd name="T38" fmla="*/ 55 w 71"/>
                  <a:gd name="T39" fmla="*/ 61 h 62"/>
                  <a:gd name="T40" fmla="*/ 58 w 71"/>
                  <a:gd name="T41" fmla="*/ 62 h 62"/>
                  <a:gd name="T42" fmla="*/ 61 w 71"/>
                  <a:gd name="T43" fmla="*/ 61 h 62"/>
                  <a:gd name="T44" fmla="*/ 65 w 71"/>
                  <a:gd name="T45" fmla="*/ 61 h 62"/>
                  <a:gd name="T46" fmla="*/ 65 w 71"/>
                  <a:gd name="T47" fmla="*/ 52 h 62"/>
                  <a:gd name="T48" fmla="*/ 66 w 71"/>
                  <a:gd name="T49" fmla="*/ 43 h 62"/>
                  <a:gd name="T50" fmla="*/ 67 w 71"/>
                  <a:gd name="T51" fmla="*/ 34 h 62"/>
                  <a:gd name="T52" fmla="*/ 70 w 71"/>
                  <a:gd name="T53" fmla="*/ 27 h 62"/>
                  <a:gd name="T54" fmla="*/ 71 w 71"/>
                  <a:gd name="T55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1" h="62">
                    <a:moveTo>
                      <a:pt x="71" y="4"/>
                    </a:moveTo>
                    <a:lnTo>
                      <a:pt x="67" y="4"/>
                    </a:lnTo>
                    <a:lnTo>
                      <a:pt x="64" y="4"/>
                    </a:lnTo>
                    <a:lnTo>
                      <a:pt x="55" y="3"/>
                    </a:lnTo>
                    <a:lnTo>
                      <a:pt x="47" y="2"/>
                    </a:lnTo>
                    <a:lnTo>
                      <a:pt x="38" y="0"/>
                    </a:lnTo>
                    <a:lnTo>
                      <a:pt x="30" y="2"/>
                    </a:lnTo>
                    <a:lnTo>
                      <a:pt x="20" y="6"/>
                    </a:lnTo>
                    <a:lnTo>
                      <a:pt x="11" y="12"/>
                    </a:lnTo>
                    <a:lnTo>
                      <a:pt x="8" y="15"/>
                    </a:lnTo>
                    <a:lnTo>
                      <a:pt x="4" y="18"/>
                    </a:lnTo>
                    <a:lnTo>
                      <a:pt x="1" y="22"/>
                    </a:lnTo>
                    <a:lnTo>
                      <a:pt x="0" y="26"/>
                    </a:lnTo>
                    <a:lnTo>
                      <a:pt x="8" y="29"/>
                    </a:lnTo>
                    <a:lnTo>
                      <a:pt x="17" y="35"/>
                    </a:lnTo>
                    <a:lnTo>
                      <a:pt x="25" y="40"/>
                    </a:lnTo>
                    <a:lnTo>
                      <a:pt x="34" y="45"/>
                    </a:lnTo>
                    <a:lnTo>
                      <a:pt x="42" y="52"/>
                    </a:lnTo>
                    <a:lnTo>
                      <a:pt x="50" y="58"/>
                    </a:lnTo>
                    <a:lnTo>
                      <a:pt x="55" y="61"/>
                    </a:lnTo>
                    <a:lnTo>
                      <a:pt x="58" y="62"/>
                    </a:lnTo>
                    <a:lnTo>
                      <a:pt x="61" y="61"/>
                    </a:lnTo>
                    <a:lnTo>
                      <a:pt x="65" y="61"/>
                    </a:lnTo>
                    <a:lnTo>
                      <a:pt x="65" y="52"/>
                    </a:lnTo>
                    <a:lnTo>
                      <a:pt x="66" y="43"/>
                    </a:lnTo>
                    <a:lnTo>
                      <a:pt x="67" y="34"/>
                    </a:lnTo>
                    <a:lnTo>
                      <a:pt x="70" y="27"/>
                    </a:lnTo>
                    <a:lnTo>
                      <a:pt x="7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30"/>
              <p:cNvSpPr>
                <a:spLocks/>
              </p:cNvSpPr>
              <p:nvPr/>
            </p:nvSpPr>
            <p:spPr bwMode="auto">
              <a:xfrm>
                <a:off x="2435226" y="7847013"/>
                <a:ext cx="22225" cy="15875"/>
              </a:xfrm>
              <a:custGeom>
                <a:avLst/>
                <a:gdLst>
                  <a:gd name="T0" fmla="*/ 47 w 55"/>
                  <a:gd name="T1" fmla="*/ 7 h 39"/>
                  <a:gd name="T2" fmla="*/ 39 w 55"/>
                  <a:gd name="T3" fmla="*/ 4 h 39"/>
                  <a:gd name="T4" fmla="*/ 33 w 55"/>
                  <a:gd name="T5" fmla="*/ 2 h 39"/>
                  <a:gd name="T6" fmla="*/ 25 w 55"/>
                  <a:gd name="T7" fmla="*/ 1 h 39"/>
                  <a:gd name="T8" fmla="*/ 18 w 55"/>
                  <a:gd name="T9" fmla="*/ 0 h 39"/>
                  <a:gd name="T10" fmla="*/ 14 w 55"/>
                  <a:gd name="T11" fmla="*/ 0 h 39"/>
                  <a:gd name="T12" fmla="*/ 11 w 55"/>
                  <a:gd name="T13" fmla="*/ 1 h 39"/>
                  <a:gd name="T14" fmla="*/ 7 w 55"/>
                  <a:gd name="T15" fmla="*/ 3 h 39"/>
                  <a:gd name="T16" fmla="*/ 5 w 55"/>
                  <a:gd name="T17" fmla="*/ 6 h 39"/>
                  <a:gd name="T18" fmla="*/ 2 w 55"/>
                  <a:gd name="T19" fmla="*/ 8 h 39"/>
                  <a:gd name="T20" fmla="*/ 1 w 55"/>
                  <a:gd name="T21" fmla="*/ 9 h 39"/>
                  <a:gd name="T22" fmla="*/ 0 w 55"/>
                  <a:gd name="T23" fmla="*/ 10 h 39"/>
                  <a:gd name="T24" fmla="*/ 0 w 55"/>
                  <a:gd name="T25" fmla="*/ 14 h 39"/>
                  <a:gd name="T26" fmla="*/ 0 w 55"/>
                  <a:gd name="T27" fmla="*/ 19 h 39"/>
                  <a:gd name="T28" fmla="*/ 2 w 55"/>
                  <a:gd name="T29" fmla="*/ 22 h 39"/>
                  <a:gd name="T30" fmla="*/ 5 w 55"/>
                  <a:gd name="T31" fmla="*/ 25 h 39"/>
                  <a:gd name="T32" fmla="*/ 8 w 55"/>
                  <a:gd name="T33" fmla="*/ 28 h 39"/>
                  <a:gd name="T34" fmla="*/ 12 w 55"/>
                  <a:gd name="T35" fmla="*/ 31 h 39"/>
                  <a:gd name="T36" fmla="*/ 15 w 55"/>
                  <a:gd name="T37" fmla="*/ 32 h 39"/>
                  <a:gd name="T38" fmla="*/ 19 w 55"/>
                  <a:gd name="T39" fmla="*/ 33 h 39"/>
                  <a:gd name="T40" fmla="*/ 23 w 55"/>
                  <a:gd name="T41" fmla="*/ 35 h 39"/>
                  <a:gd name="T42" fmla="*/ 29 w 55"/>
                  <a:gd name="T43" fmla="*/ 35 h 39"/>
                  <a:gd name="T44" fmla="*/ 33 w 55"/>
                  <a:gd name="T45" fmla="*/ 35 h 39"/>
                  <a:gd name="T46" fmla="*/ 37 w 55"/>
                  <a:gd name="T47" fmla="*/ 36 h 39"/>
                  <a:gd name="T48" fmla="*/ 42 w 55"/>
                  <a:gd name="T49" fmla="*/ 38 h 39"/>
                  <a:gd name="T50" fmla="*/ 46 w 55"/>
                  <a:gd name="T51" fmla="*/ 39 h 39"/>
                  <a:gd name="T52" fmla="*/ 48 w 55"/>
                  <a:gd name="T53" fmla="*/ 38 h 39"/>
                  <a:gd name="T54" fmla="*/ 50 w 55"/>
                  <a:gd name="T55" fmla="*/ 37 h 39"/>
                  <a:gd name="T56" fmla="*/ 53 w 55"/>
                  <a:gd name="T57" fmla="*/ 35 h 39"/>
                  <a:gd name="T58" fmla="*/ 54 w 55"/>
                  <a:gd name="T59" fmla="*/ 28 h 39"/>
                  <a:gd name="T60" fmla="*/ 55 w 55"/>
                  <a:gd name="T61" fmla="*/ 21 h 39"/>
                  <a:gd name="T62" fmla="*/ 54 w 55"/>
                  <a:gd name="T63" fmla="*/ 21 h 39"/>
                  <a:gd name="T64" fmla="*/ 47 w 55"/>
                  <a:gd name="T65" fmla="*/ 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5" h="39">
                    <a:moveTo>
                      <a:pt x="47" y="7"/>
                    </a:moveTo>
                    <a:lnTo>
                      <a:pt x="39" y="4"/>
                    </a:lnTo>
                    <a:lnTo>
                      <a:pt x="33" y="2"/>
                    </a:lnTo>
                    <a:lnTo>
                      <a:pt x="25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5" y="6"/>
                    </a:lnTo>
                    <a:lnTo>
                      <a:pt x="2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5" y="25"/>
                    </a:lnTo>
                    <a:lnTo>
                      <a:pt x="8" y="28"/>
                    </a:lnTo>
                    <a:lnTo>
                      <a:pt x="12" y="31"/>
                    </a:lnTo>
                    <a:lnTo>
                      <a:pt x="15" y="32"/>
                    </a:lnTo>
                    <a:lnTo>
                      <a:pt x="19" y="33"/>
                    </a:lnTo>
                    <a:lnTo>
                      <a:pt x="23" y="35"/>
                    </a:lnTo>
                    <a:lnTo>
                      <a:pt x="29" y="35"/>
                    </a:lnTo>
                    <a:lnTo>
                      <a:pt x="33" y="35"/>
                    </a:lnTo>
                    <a:lnTo>
                      <a:pt x="37" y="36"/>
                    </a:lnTo>
                    <a:lnTo>
                      <a:pt x="42" y="38"/>
                    </a:lnTo>
                    <a:lnTo>
                      <a:pt x="46" y="39"/>
                    </a:lnTo>
                    <a:lnTo>
                      <a:pt x="48" y="38"/>
                    </a:lnTo>
                    <a:lnTo>
                      <a:pt x="50" y="37"/>
                    </a:lnTo>
                    <a:lnTo>
                      <a:pt x="53" y="35"/>
                    </a:lnTo>
                    <a:lnTo>
                      <a:pt x="54" y="28"/>
                    </a:lnTo>
                    <a:lnTo>
                      <a:pt x="55" y="21"/>
                    </a:lnTo>
                    <a:lnTo>
                      <a:pt x="54" y="21"/>
                    </a:lnTo>
                    <a:lnTo>
                      <a:pt x="47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31"/>
              <p:cNvSpPr>
                <a:spLocks/>
              </p:cNvSpPr>
              <p:nvPr/>
            </p:nvSpPr>
            <p:spPr bwMode="auto">
              <a:xfrm>
                <a:off x="2455863" y="7926388"/>
                <a:ext cx="47625" cy="68263"/>
              </a:xfrm>
              <a:custGeom>
                <a:avLst/>
                <a:gdLst>
                  <a:gd name="T0" fmla="*/ 114 w 119"/>
                  <a:gd name="T1" fmla="*/ 42 h 170"/>
                  <a:gd name="T2" fmla="*/ 116 w 119"/>
                  <a:gd name="T3" fmla="*/ 37 h 170"/>
                  <a:gd name="T4" fmla="*/ 117 w 119"/>
                  <a:gd name="T5" fmla="*/ 32 h 170"/>
                  <a:gd name="T6" fmla="*/ 119 w 119"/>
                  <a:gd name="T7" fmla="*/ 27 h 170"/>
                  <a:gd name="T8" fmla="*/ 119 w 119"/>
                  <a:gd name="T9" fmla="*/ 22 h 170"/>
                  <a:gd name="T10" fmla="*/ 117 w 119"/>
                  <a:gd name="T11" fmla="*/ 13 h 170"/>
                  <a:gd name="T12" fmla="*/ 115 w 119"/>
                  <a:gd name="T13" fmla="*/ 3 h 170"/>
                  <a:gd name="T14" fmla="*/ 114 w 119"/>
                  <a:gd name="T15" fmla="*/ 1 h 170"/>
                  <a:gd name="T16" fmla="*/ 111 w 119"/>
                  <a:gd name="T17" fmla="*/ 0 h 170"/>
                  <a:gd name="T18" fmla="*/ 109 w 119"/>
                  <a:gd name="T19" fmla="*/ 0 h 170"/>
                  <a:gd name="T20" fmla="*/ 108 w 119"/>
                  <a:gd name="T21" fmla="*/ 1 h 170"/>
                  <a:gd name="T22" fmla="*/ 103 w 119"/>
                  <a:gd name="T23" fmla="*/ 3 h 170"/>
                  <a:gd name="T24" fmla="*/ 101 w 119"/>
                  <a:gd name="T25" fmla="*/ 7 h 170"/>
                  <a:gd name="T26" fmla="*/ 98 w 119"/>
                  <a:gd name="T27" fmla="*/ 13 h 170"/>
                  <a:gd name="T28" fmla="*/ 97 w 119"/>
                  <a:gd name="T29" fmla="*/ 19 h 170"/>
                  <a:gd name="T30" fmla="*/ 95 w 119"/>
                  <a:gd name="T31" fmla="*/ 24 h 170"/>
                  <a:gd name="T32" fmla="*/ 90 w 119"/>
                  <a:gd name="T33" fmla="*/ 27 h 170"/>
                  <a:gd name="T34" fmla="*/ 79 w 119"/>
                  <a:gd name="T35" fmla="*/ 34 h 170"/>
                  <a:gd name="T36" fmla="*/ 71 w 119"/>
                  <a:gd name="T37" fmla="*/ 41 h 170"/>
                  <a:gd name="T38" fmla="*/ 66 w 119"/>
                  <a:gd name="T39" fmla="*/ 42 h 170"/>
                  <a:gd name="T40" fmla="*/ 60 w 119"/>
                  <a:gd name="T41" fmla="*/ 42 h 170"/>
                  <a:gd name="T42" fmla="*/ 55 w 119"/>
                  <a:gd name="T43" fmla="*/ 41 h 170"/>
                  <a:gd name="T44" fmla="*/ 49 w 119"/>
                  <a:gd name="T45" fmla="*/ 38 h 170"/>
                  <a:gd name="T46" fmla="*/ 44 w 119"/>
                  <a:gd name="T47" fmla="*/ 37 h 170"/>
                  <a:gd name="T48" fmla="*/ 42 w 119"/>
                  <a:gd name="T49" fmla="*/ 36 h 170"/>
                  <a:gd name="T50" fmla="*/ 40 w 119"/>
                  <a:gd name="T51" fmla="*/ 37 h 170"/>
                  <a:gd name="T52" fmla="*/ 40 w 119"/>
                  <a:gd name="T53" fmla="*/ 38 h 170"/>
                  <a:gd name="T54" fmla="*/ 43 w 119"/>
                  <a:gd name="T55" fmla="*/ 43 h 170"/>
                  <a:gd name="T56" fmla="*/ 45 w 119"/>
                  <a:gd name="T57" fmla="*/ 49 h 170"/>
                  <a:gd name="T58" fmla="*/ 46 w 119"/>
                  <a:gd name="T59" fmla="*/ 55 h 170"/>
                  <a:gd name="T60" fmla="*/ 46 w 119"/>
                  <a:gd name="T61" fmla="*/ 62 h 170"/>
                  <a:gd name="T62" fmla="*/ 44 w 119"/>
                  <a:gd name="T63" fmla="*/ 71 h 170"/>
                  <a:gd name="T64" fmla="*/ 42 w 119"/>
                  <a:gd name="T65" fmla="*/ 79 h 170"/>
                  <a:gd name="T66" fmla="*/ 36 w 119"/>
                  <a:gd name="T67" fmla="*/ 96 h 170"/>
                  <a:gd name="T68" fmla="*/ 31 w 119"/>
                  <a:gd name="T69" fmla="*/ 109 h 170"/>
                  <a:gd name="T70" fmla="*/ 22 w 119"/>
                  <a:gd name="T71" fmla="*/ 124 h 170"/>
                  <a:gd name="T72" fmla="*/ 12 w 119"/>
                  <a:gd name="T73" fmla="*/ 138 h 170"/>
                  <a:gd name="T74" fmla="*/ 7 w 119"/>
                  <a:gd name="T75" fmla="*/ 146 h 170"/>
                  <a:gd name="T76" fmla="*/ 3 w 119"/>
                  <a:gd name="T77" fmla="*/ 154 h 170"/>
                  <a:gd name="T78" fmla="*/ 1 w 119"/>
                  <a:gd name="T79" fmla="*/ 162 h 170"/>
                  <a:gd name="T80" fmla="*/ 0 w 119"/>
                  <a:gd name="T81" fmla="*/ 170 h 170"/>
                  <a:gd name="T82" fmla="*/ 2 w 119"/>
                  <a:gd name="T83" fmla="*/ 169 h 170"/>
                  <a:gd name="T84" fmla="*/ 6 w 119"/>
                  <a:gd name="T85" fmla="*/ 168 h 170"/>
                  <a:gd name="T86" fmla="*/ 9 w 119"/>
                  <a:gd name="T87" fmla="*/ 164 h 170"/>
                  <a:gd name="T88" fmla="*/ 13 w 119"/>
                  <a:gd name="T89" fmla="*/ 161 h 170"/>
                  <a:gd name="T90" fmla="*/ 22 w 119"/>
                  <a:gd name="T91" fmla="*/ 150 h 170"/>
                  <a:gd name="T92" fmla="*/ 31 w 119"/>
                  <a:gd name="T93" fmla="*/ 138 h 170"/>
                  <a:gd name="T94" fmla="*/ 46 w 119"/>
                  <a:gd name="T95" fmla="*/ 113 h 170"/>
                  <a:gd name="T96" fmla="*/ 56 w 119"/>
                  <a:gd name="T97" fmla="*/ 96 h 170"/>
                  <a:gd name="T98" fmla="*/ 60 w 119"/>
                  <a:gd name="T99" fmla="*/ 87 h 170"/>
                  <a:gd name="T100" fmla="*/ 63 w 119"/>
                  <a:gd name="T101" fmla="*/ 81 h 170"/>
                  <a:gd name="T102" fmla="*/ 68 w 119"/>
                  <a:gd name="T103" fmla="*/ 75 h 170"/>
                  <a:gd name="T104" fmla="*/ 74 w 119"/>
                  <a:gd name="T105" fmla="*/ 69 h 170"/>
                  <a:gd name="T106" fmla="*/ 89 w 119"/>
                  <a:gd name="T107" fmla="*/ 62 h 170"/>
                  <a:gd name="T108" fmla="*/ 103 w 119"/>
                  <a:gd name="T109" fmla="*/ 55 h 170"/>
                  <a:gd name="T110" fmla="*/ 114 w 119"/>
                  <a:gd name="T11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" h="170">
                    <a:moveTo>
                      <a:pt x="114" y="42"/>
                    </a:moveTo>
                    <a:lnTo>
                      <a:pt x="116" y="37"/>
                    </a:lnTo>
                    <a:lnTo>
                      <a:pt x="117" y="32"/>
                    </a:lnTo>
                    <a:lnTo>
                      <a:pt x="119" y="27"/>
                    </a:lnTo>
                    <a:lnTo>
                      <a:pt x="119" y="22"/>
                    </a:lnTo>
                    <a:lnTo>
                      <a:pt x="117" y="13"/>
                    </a:lnTo>
                    <a:lnTo>
                      <a:pt x="115" y="3"/>
                    </a:lnTo>
                    <a:lnTo>
                      <a:pt x="114" y="1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8" y="1"/>
                    </a:lnTo>
                    <a:lnTo>
                      <a:pt x="103" y="3"/>
                    </a:lnTo>
                    <a:lnTo>
                      <a:pt x="101" y="7"/>
                    </a:lnTo>
                    <a:lnTo>
                      <a:pt x="98" y="13"/>
                    </a:lnTo>
                    <a:lnTo>
                      <a:pt x="97" y="19"/>
                    </a:lnTo>
                    <a:lnTo>
                      <a:pt x="95" y="24"/>
                    </a:lnTo>
                    <a:lnTo>
                      <a:pt x="90" y="27"/>
                    </a:lnTo>
                    <a:lnTo>
                      <a:pt x="79" y="34"/>
                    </a:lnTo>
                    <a:lnTo>
                      <a:pt x="71" y="41"/>
                    </a:lnTo>
                    <a:lnTo>
                      <a:pt x="66" y="42"/>
                    </a:lnTo>
                    <a:lnTo>
                      <a:pt x="60" y="42"/>
                    </a:lnTo>
                    <a:lnTo>
                      <a:pt x="55" y="41"/>
                    </a:lnTo>
                    <a:lnTo>
                      <a:pt x="49" y="38"/>
                    </a:lnTo>
                    <a:lnTo>
                      <a:pt x="44" y="37"/>
                    </a:lnTo>
                    <a:lnTo>
                      <a:pt x="42" y="36"/>
                    </a:lnTo>
                    <a:lnTo>
                      <a:pt x="40" y="37"/>
                    </a:lnTo>
                    <a:lnTo>
                      <a:pt x="40" y="38"/>
                    </a:lnTo>
                    <a:lnTo>
                      <a:pt x="43" y="43"/>
                    </a:lnTo>
                    <a:lnTo>
                      <a:pt x="45" y="49"/>
                    </a:lnTo>
                    <a:lnTo>
                      <a:pt x="46" y="55"/>
                    </a:lnTo>
                    <a:lnTo>
                      <a:pt x="46" y="62"/>
                    </a:lnTo>
                    <a:lnTo>
                      <a:pt x="44" y="71"/>
                    </a:lnTo>
                    <a:lnTo>
                      <a:pt x="42" y="79"/>
                    </a:lnTo>
                    <a:lnTo>
                      <a:pt x="36" y="96"/>
                    </a:lnTo>
                    <a:lnTo>
                      <a:pt x="31" y="109"/>
                    </a:lnTo>
                    <a:lnTo>
                      <a:pt x="22" y="124"/>
                    </a:lnTo>
                    <a:lnTo>
                      <a:pt x="12" y="138"/>
                    </a:lnTo>
                    <a:lnTo>
                      <a:pt x="7" y="146"/>
                    </a:lnTo>
                    <a:lnTo>
                      <a:pt x="3" y="154"/>
                    </a:lnTo>
                    <a:lnTo>
                      <a:pt x="1" y="162"/>
                    </a:lnTo>
                    <a:lnTo>
                      <a:pt x="0" y="170"/>
                    </a:lnTo>
                    <a:lnTo>
                      <a:pt x="2" y="169"/>
                    </a:lnTo>
                    <a:lnTo>
                      <a:pt x="6" y="168"/>
                    </a:lnTo>
                    <a:lnTo>
                      <a:pt x="9" y="164"/>
                    </a:lnTo>
                    <a:lnTo>
                      <a:pt x="13" y="161"/>
                    </a:lnTo>
                    <a:lnTo>
                      <a:pt x="22" y="150"/>
                    </a:lnTo>
                    <a:lnTo>
                      <a:pt x="31" y="138"/>
                    </a:lnTo>
                    <a:lnTo>
                      <a:pt x="46" y="113"/>
                    </a:lnTo>
                    <a:lnTo>
                      <a:pt x="56" y="96"/>
                    </a:lnTo>
                    <a:lnTo>
                      <a:pt x="60" y="87"/>
                    </a:lnTo>
                    <a:lnTo>
                      <a:pt x="63" y="81"/>
                    </a:lnTo>
                    <a:lnTo>
                      <a:pt x="68" y="75"/>
                    </a:lnTo>
                    <a:lnTo>
                      <a:pt x="74" y="69"/>
                    </a:lnTo>
                    <a:lnTo>
                      <a:pt x="89" y="62"/>
                    </a:lnTo>
                    <a:lnTo>
                      <a:pt x="103" y="55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32"/>
              <p:cNvSpPr>
                <a:spLocks/>
              </p:cNvSpPr>
              <p:nvPr/>
            </p:nvSpPr>
            <p:spPr bwMode="auto">
              <a:xfrm>
                <a:off x="3421063" y="7508875"/>
                <a:ext cx="69850" cy="28575"/>
              </a:xfrm>
              <a:custGeom>
                <a:avLst/>
                <a:gdLst>
                  <a:gd name="T0" fmla="*/ 100 w 178"/>
                  <a:gd name="T1" fmla="*/ 16 h 71"/>
                  <a:gd name="T2" fmla="*/ 98 w 178"/>
                  <a:gd name="T3" fmla="*/ 13 h 71"/>
                  <a:gd name="T4" fmla="*/ 96 w 178"/>
                  <a:gd name="T5" fmla="*/ 9 h 71"/>
                  <a:gd name="T6" fmla="*/ 94 w 178"/>
                  <a:gd name="T7" fmla="*/ 7 h 71"/>
                  <a:gd name="T8" fmla="*/ 90 w 178"/>
                  <a:gd name="T9" fmla="*/ 4 h 71"/>
                  <a:gd name="T10" fmla="*/ 82 w 178"/>
                  <a:gd name="T11" fmla="*/ 1 h 71"/>
                  <a:gd name="T12" fmla="*/ 73 w 178"/>
                  <a:gd name="T13" fmla="*/ 0 h 71"/>
                  <a:gd name="T14" fmla="*/ 55 w 178"/>
                  <a:gd name="T15" fmla="*/ 0 h 71"/>
                  <a:gd name="T16" fmla="*/ 37 w 178"/>
                  <a:gd name="T17" fmla="*/ 1 h 71"/>
                  <a:gd name="T18" fmla="*/ 29 w 178"/>
                  <a:gd name="T19" fmla="*/ 2 h 71"/>
                  <a:gd name="T20" fmla="*/ 20 w 178"/>
                  <a:gd name="T21" fmla="*/ 6 h 71"/>
                  <a:gd name="T22" fmla="*/ 13 w 178"/>
                  <a:gd name="T23" fmla="*/ 10 h 71"/>
                  <a:gd name="T24" fmla="*/ 7 w 178"/>
                  <a:gd name="T25" fmla="*/ 16 h 71"/>
                  <a:gd name="T26" fmla="*/ 3 w 178"/>
                  <a:gd name="T27" fmla="*/ 22 h 71"/>
                  <a:gd name="T28" fmla="*/ 1 w 178"/>
                  <a:gd name="T29" fmla="*/ 28 h 71"/>
                  <a:gd name="T30" fmla="*/ 0 w 178"/>
                  <a:gd name="T31" fmla="*/ 37 h 71"/>
                  <a:gd name="T32" fmla="*/ 0 w 178"/>
                  <a:gd name="T33" fmla="*/ 44 h 71"/>
                  <a:gd name="T34" fmla="*/ 0 w 178"/>
                  <a:gd name="T35" fmla="*/ 51 h 71"/>
                  <a:gd name="T36" fmla="*/ 2 w 178"/>
                  <a:gd name="T37" fmla="*/ 57 h 71"/>
                  <a:gd name="T38" fmla="*/ 3 w 178"/>
                  <a:gd name="T39" fmla="*/ 60 h 71"/>
                  <a:gd name="T40" fmla="*/ 6 w 178"/>
                  <a:gd name="T41" fmla="*/ 62 h 71"/>
                  <a:gd name="T42" fmla="*/ 8 w 178"/>
                  <a:gd name="T43" fmla="*/ 65 h 71"/>
                  <a:gd name="T44" fmla="*/ 12 w 178"/>
                  <a:gd name="T45" fmla="*/ 66 h 71"/>
                  <a:gd name="T46" fmla="*/ 23 w 178"/>
                  <a:gd name="T47" fmla="*/ 68 h 71"/>
                  <a:gd name="T48" fmla="*/ 35 w 178"/>
                  <a:gd name="T49" fmla="*/ 68 h 71"/>
                  <a:gd name="T50" fmla="*/ 47 w 178"/>
                  <a:gd name="T51" fmla="*/ 68 h 71"/>
                  <a:gd name="T52" fmla="*/ 58 w 178"/>
                  <a:gd name="T53" fmla="*/ 68 h 71"/>
                  <a:gd name="T54" fmla="*/ 76 w 178"/>
                  <a:gd name="T55" fmla="*/ 68 h 71"/>
                  <a:gd name="T56" fmla="*/ 92 w 178"/>
                  <a:gd name="T57" fmla="*/ 69 h 71"/>
                  <a:gd name="T58" fmla="*/ 109 w 178"/>
                  <a:gd name="T59" fmla="*/ 71 h 71"/>
                  <a:gd name="T60" fmla="*/ 127 w 178"/>
                  <a:gd name="T61" fmla="*/ 69 h 71"/>
                  <a:gd name="T62" fmla="*/ 145 w 178"/>
                  <a:gd name="T63" fmla="*/ 67 h 71"/>
                  <a:gd name="T64" fmla="*/ 162 w 178"/>
                  <a:gd name="T65" fmla="*/ 62 h 71"/>
                  <a:gd name="T66" fmla="*/ 166 w 178"/>
                  <a:gd name="T67" fmla="*/ 61 h 71"/>
                  <a:gd name="T68" fmla="*/ 169 w 178"/>
                  <a:gd name="T69" fmla="*/ 59 h 71"/>
                  <a:gd name="T70" fmla="*/ 173 w 178"/>
                  <a:gd name="T71" fmla="*/ 56 h 71"/>
                  <a:gd name="T72" fmla="*/ 174 w 178"/>
                  <a:gd name="T73" fmla="*/ 53 h 71"/>
                  <a:gd name="T74" fmla="*/ 177 w 178"/>
                  <a:gd name="T75" fmla="*/ 45 h 71"/>
                  <a:gd name="T76" fmla="*/ 178 w 178"/>
                  <a:gd name="T77" fmla="*/ 37 h 71"/>
                  <a:gd name="T78" fmla="*/ 172 w 178"/>
                  <a:gd name="T79" fmla="*/ 34 h 71"/>
                  <a:gd name="T80" fmla="*/ 166 w 178"/>
                  <a:gd name="T81" fmla="*/ 33 h 71"/>
                  <a:gd name="T82" fmla="*/ 160 w 178"/>
                  <a:gd name="T83" fmla="*/ 34 h 71"/>
                  <a:gd name="T84" fmla="*/ 154 w 178"/>
                  <a:gd name="T85" fmla="*/ 34 h 71"/>
                  <a:gd name="T86" fmla="*/ 143 w 178"/>
                  <a:gd name="T87" fmla="*/ 34 h 71"/>
                  <a:gd name="T88" fmla="*/ 132 w 178"/>
                  <a:gd name="T89" fmla="*/ 34 h 71"/>
                  <a:gd name="T90" fmla="*/ 123 w 178"/>
                  <a:gd name="T91" fmla="*/ 32 h 71"/>
                  <a:gd name="T92" fmla="*/ 112 w 178"/>
                  <a:gd name="T93" fmla="*/ 30 h 71"/>
                  <a:gd name="T94" fmla="*/ 100 w 178"/>
                  <a:gd name="T95" fmla="*/ 1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8" h="71">
                    <a:moveTo>
                      <a:pt x="100" y="16"/>
                    </a:moveTo>
                    <a:lnTo>
                      <a:pt x="98" y="13"/>
                    </a:lnTo>
                    <a:lnTo>
                      <a:pt x="96" y="9"/>
                    </a:lnTo>
                    <a:lnTo>
                      <a:pt x="94" y="7"/>
                    </a:lnTo>
                    <a:lnTo>
                      <a:pt x="90" y="4"/>
                    </a:lnTo>
                    <a:lnTo>
                      <a:pt x="82" y="1"/>
                    </a:lnTo>
                    <a:lnTo>
                      <a:pt x="73" y="0"/>
                    </a:lnTo>
                    <a:lnTo>
                      <a:pt x="55" y="0"/>
                    </a:lnTo>
                    <a:lnTo>
                      <a:pt x="37" y="1"/>
                    </a:lnTo>
                    <a:lnTo>
                      <a:pt x="29" y="2"/>
                    </a:lnTo>
                    <a:lnTo>
                      <a:pt x="20" y="6"/>
                    </a:lnTo>
                    <a:lnTo>
                      <a:pt x="13" y="10"/>
                    </a:lnTo>
                    <a:lnTo>
                      <a:pt x="7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0" y="51"/>
                    </a:lnTo>
                    <a:lnTo>
                      <a:pt x="2" y="57"/>
                    </a:lnTo>
                    <a:lnTo>
                      <a:pt x="3" y="60"/>
                    </a:lnTo>
                    <a:lnTo>
                      <a:pt x="6" y="62"/>
                    </a:lnTo>
                    <a:lnTo>
                      <a:pt x="8" y="65"/>
                    </a:lnTo>
                    <a:lnTo>
                      <a:pt x="12" y="66"/>
                    </a:lnTo>
                    <a:lnTo>
                      <a:pt x="23" y="68"/>
                    </a:lnTo>
                    <a:lnTo>
                      <a:pt x="35" y="68"/>
                    </a:lnTo>
                    <a:lnTo>
                      <a:pt x="47" y="68"/>
                    </a:lnTo>
                    <a:lnTo>
                      <a:pt x="58" y="68"/>
                    </a:lnTo>
                    <a:lnTo>
                      <a:pt x="76" y="68"/>
                    </a:lnTo>
                    <a:lnTo>
                      <a:pt x="92" y="69"/>
                    </a:lnTo>
                    <a:lnTo>
                      <a:pt x="109" y="71"/>
                    </a:lnTo>
                    <a:lnTo>
                      <a:pt x="127" y="69"/>
                    </a:lnTo>
                    <a:lnTo>
                      <a:pt x="145" y="67"/>
                    </a:lnTo>
                    <a:lnTo>
                      <a:pt x="162" y="62"/>
                    </a:lnTo>
                    <a:lnTo>
                      <a:pt x="166" y="61"/>
                    </a:lnTo>
                    <a:lnTo>
                      <a:pt x="169" y="59"/>
                    </a:lnTo>
                    <a:lnTo>
                      <a:pt x="173" y="56"/>
                    </a:lnTo>
                    <a:lnTo>
                      <a:pt x="174" y="53"/>
                    </a:lnTo>
                    <a:lnTo>
                      <a:pt x="177" y="45"/>
                    </a:lnTo>
                    <a:lnTo>
                      <a:pt x="178" y="37"/>
                    </a:lnTo>
                    <a:lnTo>
                      <a:pt x="172" y="34"/>
                    </a:lnTo>
                    <a:lnTo>
                      <a:pt x="166" y="33"/>
                    </a:lnTo>
                    <a:lnTo>
                      <a:pt x="160" y="34"/>
                    </a:lnTo>
                    <a:lnTo>
                      <a:pt x="154" y="34"/>
                    </a:lnTo>
                    <a:lnTo>
                      <a:pt x="143" y="34"/>
                    </a:lnTo>
                    <a:lnTo>
                      <a:pt x="132" y="34"/>
                    </a:lnTo>
                    <a:lnTo>
                      <a:pt x="123" y="32"/>
                    </a:lnTo>
                    <a:lnTo>
                      <a:pt x="112" y="30"/>
                    </a:lnTo>
                    <a:lnTo>
                      <a:pt x="10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33"/>
              <p:cNvSpPr>
                <a:spLocks/>
              </p:cNvSpPr>
              <p:nvPr/>
            </p:nvSpPr>
            <p:spPr bwMode="auto">
              <a:xfrm>
                <a:off x="3344863" y="7516813"/>
                <a:ext cx="41275" cy="46038"/>
              </a:xfrm>
              <a:custGeom>
                <a:avLst/>
                <a:gdLst>
                  <a:gd name="T0" fmla="*/ 91 w 104"/>
                  <a:gd name="T1" fmla="*/ 0 h 119"/>
                  <a:gd name="T2" fmla="*/ 83 w 104"/>
                  <a:gd name="T3" fmla="*/ 3 h 119"/>
                  <a:gd name="T4" fmla="*/ 77 w 104"/>
                  <a:gd name="T5" fmla="*/ 8 h 119"/>
                  <a:gd name="T6" fmla="*/ 70 w 104"/>
                  <a:gd name="T7" fmla="*/ 14 h 119"/>
                  <a:gd name="T8" fmla="*/ 64 w 104"/>
                  <a:gd name="T9" fmla="*/ 19 h 119"/>
                  <a:gd name="T10" fmla="*/ 52 w 104"/>
                  <a:gd name="T11" fmla="*/ 29 h 119"/>
                  <a:gd name="T12" fmla="*/ 39 w 104"/>
                  <a:gd name="T13" fmla="*/ 38 h 119"/>
                  <a:gd name="T14" fmla="*/ 33 w 104"/>
                  <a:gd name="T15" fmla="*/ 41 h 119"/>
                  <a:gd name="T16" fmla="*/ 28 w 104"/>
                  <a:gd name="T17" fmla="*/ 46 h 119"/>
                  <a:gd name="T18" fmla="*/ 23 w 104"/>
                  <a:gd name="T19" fmla="*/ 49 h 119"/>
                  <a:gd name="T20" fmla="*/ 18 w 104"/>
                  <a:gd name="T21" fmla="*/ 54 h 119"/>
                  <a:gd name="T22" fmla="*/ 15 w 104"/>
                  <a:gd name="T23" fmla="*/ 60 h 119"/>
                  <a:gd name="T24" fmla="*/ 11 w 104"/>
                  <a:gd name="T25" fmla="*/ 66 h 119"/>
                  <a:gd name="T26" fmla="*/ 9 w 104"/>
                  <a:gd name="T27" fmla="*/ 72 h 119"/>
                  <a:gd name="T28" fmla="*/ 6 w 104"/>
                  <a:gd name="T29" fmla="*/ 78 h 119"/>
                  <a:gd name="T30" fmla="*/ 4 w 104"/>
                  <a:gd name="T31" fmla="*/ 86 h 119"/>
                  <a:gd name="T32" fmla="*/ 2 w 104"/>
                  <a:gd name="T33" fmla="*/ 97 h 119"/>
                  <a:gd name="T34" fmla="*/ 0 w 104"/>
                  <a:gd name="T35" fmla="*/ 103 h 119"/>
                  <a:gd name="T36" fmla="*/ 0 w 104"/>
                  <a:gd name="T37" fmla="*/ 108 h 119"/>
                  <a:gd name="T38" fmla="*/ 0 w 104"/>
                  <a:gd name="T39" fmla="*/ 113 h 119"/>
                  <a:gd name="T40" fmla="*/ 2 w 104"/>
                  <a:gd name="T41" fmla="*/ 117 h 119"/>
                  <a:gd name="T42" fmla="*/ 3 w 104"/>
                  <a:gd name="T43" fmla="*/ 119 h 119"/>
                  <a:gd name="T44" fmla="*/ 5 w 104"/>
                  <a:gd name="T45" fmla="*/ 119 h 119"/>
                  <a:gd name="T46" fmla="*/ 8 w 104"/>
                  <a:gd name="T47" fmla="*/ 119 h 119"/>
                  <a:gd name="T48" fmla="*/ 11 w 104"/>
                  <a:gd name="T49" fmla="*/ 118 h 119"/>
                  <a:gd name="T50" fmla="*/ 17 w 104"/>
                  <a:gd name="T51" fmla="*/ 113 h 119"/>
                  <a:gd name="T52" fmla="*/ 25 w 104"/>
                  <a:gd name="T53" fmla="*/ 106 h 119"/>
                  <a:gd name="T54" fmla="*/ 38 w 104"/>
                  <a:gd name="T55" fmla="*/ 90 h 119"/>
                  <a:gd name="T56" fmla="*/ 46 w 104"/>
                  <a:gd name="T57" fmla="*/ 80 h 119"/>
                  <a:gd name="T58" fmla="*/ 61 w 104"/>
                  <a:gd name="T59" fmla="*/ 72 h 119"/>
                  <a:gd name="T60" fmla="*/ 76 w 104"/>
                  <a:gd name="T61" fmla="*/ 62 h 119"/>
                  <a:gd name="T62" fmla="*/ 82 w 104"/>
                  <a:gd name="T63" fmla="*/ 60 h 119"/>
                  <a:gd name="T64" fmla="*/ 89 w 104"/>
                  <a:gd name="T65" fmla="*/ 55 h 119"/>
                  <a:gd name="T66" fmla="*/ 97 w 104"/>
                  <a:gd name="T67" fmla="*/ 52 h 119"/>
                  <a:gd name="T68" fmla="*/ 100 w 104"/>
                  <a:gd name="T69" fmla="*/ 48 h 119"/>
                  <a:gd name="T70" fmla="*/ 103 w 104"/>
                  <a:gd name="T71" fmla="*/ 46 h 119"/>
                  <a:gd name="T72" fmla="*/ 104 w 104"/>
                  <a:gd name="T73" fmla="*/ 43 h 119"/>
                  <a:gd name="T74" fmla="*/ 104 w 104"/>
                  <a:gd name="T75" fmla="*/ 38 h 119"/>
                  <a:gd name="T76" fmla="*/ 104 w 104"/>
                  <a:gd name="T77" fmla="*/ 34 h 119"/>
                  <a:gd name="T78" fmla="*/ 104 w 104"/>
                  <a:gd name="T79" fmla="*/ 23 h 119"/>
                  <a:gd name="T80" fmla="*/ 104 w 104"/>
                  <a:gd name="T81" fmla="*/ 15 h 119"/>
                  <a:gd name="T82" fmla="*/ 91 w 104"/>
                  <a:gd name="T8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19">
                    <a:moveTo>
                      <a:pt x="91" y="0"/>
                    </a:moveTo>
                    <a:lnTo>
                      <a:pt x="83" y="3"/>
                    </a:lnTo>
                    <a:lnTo>
                      <a:pt x="77" y="8"/>
                    </a:lnTo>
                    <a:lnTo>
                      <a:pt x="70" y="14"/>
                    </a:lnTo>
                    <a:lnTo>
                      <a:pt x="64" y="19"/>
                    </a:lnTo>
                    <a:lnTo>
                      <a:pt x="52" y="29"/>
                    </a:lnTo>
                    <a:lnTo>
                      <a:pt x="39" y="38"/>
                    </a:lnTo>
                    <a:lnTo>
                      <a:pt x="33" y="41"/>
                    </a:lnTo>
                    <a:lnTo>
                      <a:pt x="28" y="46"/>
                    </a:lnTo>
                    <a:lnTo>
                      <a:pt x="23" y="49"/>
                    </a:lnTo>
                    <a:lnTo>
                      <a:pt x="18" y="54"/>
                    </a:lnTo>
                    <a:lnTo>
                      <a:pt x="15" y="60"/>
                    </a:lnTo>
                    <a:lnTo>
                      <a:pt x="11" y="66"/>
                    </a:lnTo>
                    <a:lnTo>
                      <a:pt x="9" y="72"/>
                    </a:lnTo>
                    <a:lnTo>
                      <a:pt x="6" y="78"/>
                    </a:lnTo>
                    <a:lnTo>
                      <a:pt x="4" y="86"/>
                    </a:lnTo>
                    <a:lnTo>
                      <a:pt x="2" y="97"/>
                    </a:lnTo>
                    <a:lnTo>
                      <a:pt x="0" y="103"/>
                    </a:lnTo>
                    <a:lnTo>
                      <a:pt x="0" y="108"/>
                    </a:lnTo>
                    <a:lnTo>
                      <a:pt x="0" y="113"/>
                    </a:lnTo>
                    <a:lnTo>
                      <a:pt x="2" y="117"/>
                    </a:lnTo>
                    <a:lnTo>
                      <a:pt x="3" y="119"/>
                    </a:lnTo>
                    <a:lnTo>
                      <a:pt x="5" y="119"/>
                    </a:lnTo>
                    <a:lnTo>
                      <a:pt x="8" y="119"/>
                    </a:lnTo>
                    <a:lnTo>
                      <a:pt x="11" y="118"/>
                    </a:lnTo>
                    <a:lnTo>
                      <a:pt x="17" y="113"/>
                    </a:lnTo>
                    <a:lnTo>
                      <a:pt x="25" y="106"/>
                    </a:lnTo>
                    <a:lnTo>
                      <a:pt x="38" y="90"/>
                    </a:lnTo>
                    <a:lnTo>
                      <a:pt x="46" y="80"/>
                    </a:lnTo>
                    <a:lnTo>
                      <a:pt x="61" y="72"/>
                    </a:lnTo>
                    <a:lnTo>
                      <a:pt x="76" y="62"/>
                    </a:lnTo>
                    <a:lnTo>
                      <a:pt x="82" y="60"/>
                    </a:lnTo>
                    <a:lnTo>
                      <a:pt x="89" y="55"/>
                    </a:lnTo>
                    <a:lnTo>
                      <a:pt x="97" y="52"/>
                    </a:lnTo>
                    <a:lnTo>
                      <a:pt x="100" y="48"/>
                    </a:lnTo>
                    <a:lnTo>
                      <a:pt x="103" y="46"/>
                    </a:lnTo>
                    <a:lnTo>
                      <a:pt x="104" y="43"/>
                    </a:lnTo>
                    <a:lnTo>
                      <a:pt x="104" y="38"/>
                    </a:lnTo>
                    <a:lnTo>
                      <a:pt x="104" y="34"/>
                    </a:lnTo>
                    <a:lnTo>
                      <a:pt x="104" y="23"/>
                    </a:lnTo>
                    <a:lnTo>
                      <a:pt x="104" y="15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34"/>
              <p:cNvSpPr>
                <a:spLocks/>
              </p:cNvSpPr>
              <p:nvPr/>
            </p:nvSpPr>
            <p:spPr bwMode="auto">
              <a:xfrm>
                <a:off x="3343276" y="7081838"/>
                <a:ext cx="433388" cy="377825"/>
              </a:xfrm>
              <a:custGeom>
                <a:avLst/>
                <a:gdLst>
                  <a:gd name="T0" fmla="*/ 912 w 1093"/>
                  <a:gd name="T1" fmla="*/ 497 h 953"/>
                  <a:gd name="T2" fmla="*/ 847 w 1093"/>
                  <a:gd name="T3" fmla="*/ 543 h 953"/>
                  <a:gd name="T4" fmla="*/ 794 w 1093"/>
                  <a:gd name="T5" fmla="*/ 523 h 953"/>
                  <a:gd name="T6" fmla="*/ 716 w 1093"/>
                  <a:gd name="T7" fmla="*/ 513 h 953"/>
                  <a:gd name="T8" fmla="*/ 718 w 1093"/>
                  <a:gd name="T9" fmla="*/ 548 h 953"/>
                  <a:gd name="T10" fmla="*/ 757 w 1093"/>
                  <a:gd name="T11" fmla="*/ 595 h 953"/>
                  <a:gd name="T12" fmla="*/ 655 w 1093"/>
                  <a:gd name="T13" fmla="*/ 598 h 953"/>
                  <a:gd name="T14" fmla="*/ 707 w 1093"/>
                  <a:gd name="T15" fmla="*/ 637 h 953"/>
                  <a:gd name="T16" fmla="*/ 730 w 1093"/>
                  <a:gd name="T17" fmla="*/ 666 h 953"/>
                  <a:gd name="T18" fmla="*/ 646 w 1093"/>
                  <a:gd name="T19" fmla="*/ 730 h 953"/>
                  <a:gd name="T20" fmla="*/ 615 w 1093"/>
                  <a:gd name="T21" fmla="*/ 759 h 953"/>
                  <a:gd name="T22" fmla="*/ 592 w 1093"/>
                  <a:gd name="T23" fmla="*/ 681 h 953"/>
                  <a:gd name="T24" fmla="*/ 555 w 1093"/>
                  <a:gd name="T25" fmla="*/ 713 h 953"/>
                  <a:gd name="T26" fmla="*/ 494 w 1093"/>
                  <a:gd name="T27" fmla="*/ 696 h 953"/>
                  <a:gd name="T28" fmla="*/ 482 w 1093"/>
                  <a:gd name="T29" fmla="*/ 748 h 953"/>
                  <a:gd name="T30" fmla="*/ 492 w 1093"/>
                  <a:gd name="T31" fmla="*/ 809 h 953"/>
                  <a:gd name="T32" fmla="*/ 440 w 1093"/>
                  <a:gd name="T33" fmla="*/ 867 h 953"/>
                  <a:gd name="T34" fmla="*/ 357 w 1093"/>
                  <a:gd name="T35" fmla="*/ 947 h 953"/>
                  <a:gd name="T36" fmla="*/ 281 w 1093"/>
                  <a:gd name="T37" fmla="*/ 939 h 953"/>
                  <a:gd name="T38" fmla="*/ 345 w 1093"/>
                  <a:gd name="T39" fmla="*/ 861 h 953"/>
                  <a:gd name="T40" fmla="*/ 392 w 1093"/>
                  <a:gd name="T41" fmla="*/ 802 h 953"/>
                  <a:gd name="T42" fmla="*/ 333 w 1093"/>
                  <a:gd name="T43" fmla="*/ 787 h 953"/>
                  <a:gd name="T44" fmla="*/ 383 w 1093"/>
                  <a:gd name="T45" fmla="*/ 691 h 953"/>
                  <a:gd name="T46" fmla="*/ 224 w 1093"/>
                  <a:gd name="T47" fmla="*/ 864 h 953"/>
                  <a:gd name="T48" fmla="*/ 186 w 1093"/>
                  <a:gd name="T49" fmla="*/ 830 h 953"/>
                  <a:gd name="T50" fmla="*/ 107 w 1093"/>
                  <a:gd name="T51" fmla="*/ 760 h 953"/>
                  <a:gd name="T52" fmla="*/ 106 w 1093"/>
                  <a:gd name="T53" fmla="*/ 639 h 953"/>
                  <a:gd name="T54" fmla="*/ 62 w 1093"/>
                  <a:gd name="T55" fmla="*/ 565 h 953"/>
                  <a:gd name="T56" fmla="*/ 0 w 1093"/>
                  <a:gd name="T57" fmla="*/ 540 h 953"/>
                  <a:gd name="T58" fmla="*/ 42 w 1093"/>
                  <a:gd name="T59" fmla="*/ 414 h 953"/>
                  <a:gd name="T60" fmla="*/ 143 w 1093"/>
                  <a:gd name="T61" fmla="*/ 332 h 953"/>
                  <a:gd name="T62" fmla="*/ 248 w 1093"/>
                  <a:gd name="T63" fmla="*/ 265 h 953"/>
                  <a:gd name="T64" fmla="*/ 336 w 1093"/>
                  <a:gd name="T65" fmla="*/ 297 h 953"/>
                  <a:gd name="T66" fmla="*/ 379 w 1093"/>
                  <a:gd name="T67" fmla="*/ 442 h 953"/>
                  <a:gd name="T68" fmla="*/ 402 w 1093"/>
                  <a:gd name="T69" fmla="*/ 359 h 953"/>
                  <a:gd name="T70" fmla="*/ 426 w 1093"/>
                  <a:gd name="T71" fmla="*/ 279 h 953"/>
                  <a:gd name="T72" fmla="*/ 391 w 1093"/>
                  <a:gd name="T73" fmla="*/ 237 h 953"/>
                  <a:gd name="T74" fmla="*/ 380 w 1093"/>
                  <a:gd name="T75" fmla="*/ 148 h 953"/>
                  <a:gd name="T76" fmla="*/ 472 w 1093"/>
                  <a:gd name="T77" fmla="*/ 104 h 953"/>
                  <a:gd name="T78" fmla="*/ 539 w 1093"/>
                  <a:gd name="T79" fmla="*/ 161 h 953"/>
                  <a:gd name="T80" fmla="*/ 569 w 1093"/>
                  <a:gd name="T81" fmla="*/ 144 h 953"/>
                  <a:gd name="T82" fmla="*/ 622 w 1093"/>
                  <a:gd name="T83" fmla="*/ 146 h 953"/>
                  <a:gd name="T84" fmla="*/ 541 w 1093"/>
                  <a:gd name="T85" fmla="*/ 62 h 953"/>
                  <a:gd name="T86" fmla="*/ 608 w 1093"/>
                  <a:gd name="T87" fmla="*/ 80 h 953"/>
                  <a:gd name="T88" fmla="*/ 697 w 1093"/>
                  <a:gd name="T89" fmla="*/ 78 h 953"/>
                  <a:gd name="T90" fmla="*/ 668 w 1093"/>
                  <a:gd name="T91" fmla="*/ 28 h 953"/>
                  <a:gd name="T92" fmla="*/ 757 w 1093"/>
                  <a:gd name="T93" fmla="*/ 38 h 953"/>
                  <a:gd name="T94" fmla="*/ 823 w 1093"/>
                  <a:gd name="T95" fmla="*/ 67 h 953"/>
                  <a:gd name="T96" fmla="*/ 785 w 1093"/>
                  <a:gd name="T97" fmla="*/ 142 h 953"/>
                  <a:gd name="T98" fmla="*/ 811 w 1093"/>
                  <a:gd name="T99" fmla="*/ 204 h 953"/>
                  <a:gd name="T100" fmla="*/ 836 w 1093"/>
                  <a:gd name="T101" fmla="*/ 117 h 953"/>
                  <a:gd name="T102" fmla="*/ 864 w 1093"/>
                  <a:gd name="T103" fmla="*/ 138 h 953"/>
                  <a:gd name="T104" fmla="*/ 889 w 1093"/>
                  <a:gd name="T105" fmla="*/ 114 h 953"/>
                  <a:gd name="T106" fmla="*/ 922 w 1093"/>
                  <a:gd name="T107" fmla="*/ 79 h 953"/>
                  <a:gd name="T108" fmla="*/ 977 w 1093"/>
                  <a:gd name="T109" fmla="*/ 138 h 953"/>
                  <a:gd name="T110" fmla="*/ 949 w 1093"/>
                  <a:gd name="T111" fmla="*/ 204 h 953"/>
                  <a:gd name="T112" fmla="*/ 982 w 1093"/>
                  <a:gd name="T113" fmla="*/ 311 h 953"/>
                  <a:gd name="T114" fmla="*/ 1084 w 1093"/>
                  <a:gd name="T115" fmla="*/ 305 h 953"/>
                  <a:gd name="T116" fmla="*/ 1024 w 1093"/>
                  <a:gd name="T117" fmla="*/ 406 h 953"/>
                  <a:gd name="T118" fmla="*/ 958 w 1093"/>
                  <a:gd name="T119" fmla="*/ 417 h 953"/>
                  <a:gd name="T120" fmla="*/ 774 w 1093"/>
                  <a:gd name="T121" fmla="*/ 383 h 953"/>
                  <a:gd name="T122" fmla="*/ 775 w 1093"/>
                  <a:gd name="T123" fmla="*/ 415 h 9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93" h="953">
                    <a:moveTo>
                      <a:pt x="852" y="440"/>
                    </a:moveTo>
                    <a:lnTo>
                      <a:pt x="869" y="445"/>
                    </a:lnTo>
                    <a:lnTo>
                      <a:pt x="892" y="453"/>
                    </a:lnTo>
                    <a:lnTo>
                      <a:pt x="901" y="459"/>
                    </a:lnTo>
                    <a:lnTo>
                      <a:pt x="910" y="464"/>
                    </a:lnTo>
                    <a:lnTo>
                      <a:pt x="912" y="468"/>
                    </a:lnTo>
                    <a:lnTo>
                      <a:pt x="914" y="471"/>
                    </a:lnTo>
                    <a:lnTo>
                      <a:pt x="916" y="475"/>
                    </a:lnTo>
                    <a:lnTo>
                      <a:pt x="916" y="478"/>
                    </a:lnTo>
                    <a:lnTo>
                      <a:pt x="912" y="497"/>
                    </a:lnTo>
                    <a:lnTo>
                      <a:pt x="910" y="510"/>
                    </a:lnTo>
                    <a:lnTo>
                      <a:pt x="908" y="516"/>
                    </a:lnTo>
                    <a:lnTo>
                      <a:pt x="907" y="519"/>
                    </a:lnTo>
                    <a:lnTo>
                      <a:pt x="906" y="523"/>
                    </a:lnTo>
                    <a:lnTo>
                      <a:pt x="904" y="525"/>
                    </a:lnTo>
                    <a:lnTo>
                      <a:pt x="898" y="529"/>
                    </a:lnTo>
                    <a:lnTo>
                      <a:pt x="888" y="533"/>
                    </a:lnTo>
                    <a:lnTo>
                      <a:pt x="875" y="536"/>
                    </a:lnTo>
                    <a:lnTo>
                      <a:pt x="856" y="541"/>
                    </a:lnTo>
                    <a:lnTo>
                      <a:pt x="847" y="543"/>
                    </a:lnTo>
                    <a:lnTo>
                      <a:pt x="839" y="546"/>
                    </a:lnTo>
                    <a:lnTo>
                      <a:pt x="830" y="547"/>
                    </a:lnTo>
                    <a:lnTo>
                      <a:pt x="823" y="547"/>
                    </a:lnTo>
                    <a:lnTo>
                      <a:pt x="815" y="546"/>
                    </a:lnTo>
                    <a:lnTo>
                      <a:pt x="809" y="543"/>
                    </a:lnTo>
                    <a:lnTo>
                      <a:pt x="805" y="541"/>
                    </a:lnTo>
                    <a:lnTo>
                      <a:pt x="803" y="537"/>
                    </a:lnTo>
                    <a:lnTo>
                      <a:pt x="800" y="534"/>
                    </a:lnTo>
                    <a:lnTo>
                      <a:pt x="798" y="529"/>
                    </a:lnTo>
                    <a:lnTo>
                      <a:pt x="794" y="523"/>
                    </a:lnTo>
                    <a:lnTo>
                      <a:pt x="792" y="518"/>
                    </a:lnTo>
                    <a:lnTo>
                      <a:pt x="788" y="515"/>
                    </a:lnTo>
                    <a:lnTo>
                      <a:pt x="785" y="511"/>
                    </a:lnTo>
                    <a:lnTo>
                      <a:pt x="781" y="510"/>
                    </a:lnTo>
                    <a:lnTo>
                      <a:pt x="776" y="509"/>
                    </a:lnTo>
                    <a:lnTo>
                      <a:pt x="772" y="509"/>
                    </a:lnTo>
                    <a:lnTo>
                      <a:pt x="768" y="509"/>
                    </a:lnTo>
                    <a:lnTo>
                      <a:pt x="748" y="511"/>
                    </a:lnTo>
                    <a:lnTo>
                      <a:pt x="727" y="515"/>
                    </a:lnTo>
                    <a:lnTo>
                      <a:pt x="716" y="513"/>
                    </a:lnTo>
                    <a:lnTo>
                      <a:pt x="705" y="512"/>
                    </a:lnTo>
                    <a:lnTo>
                      <a:pt x="695" y="511"/>
                    </a:lnTo>
                    <a:lnTo>
                      <a:pt x="685" y="510"/>
                    </a:lnTo>
                    <a:lnTo>
                      <a:pt x="686" y="519"/>
                    </a:lnTo>
                    <a:lnTo>
                      <a:pt x="688" y="527"/>
                    </a:lnTo>
                    <a:lnTo>
                      <a:pt x="693" y="533"/>
                    </a:lnTo>
                    <a:lnTo>
                      <a:pt x="698" y="539"/>
                    </a:lnTo>
                    <a:lnTo>
                      <a:pt x="704" y="542"/>
                    </a:lnTo>
                    <a:lnTo>
                      <a:pt x="711" y="546"/>
                    </a:lnTo>
                    <a:lnTo>
                      <a:pt x="718" y="548"/>
                    </a:lnTo>
                    <a:lnTo>
                      <a:pt x="726" y="551"/>
                    </a:lnTo>
                    <a:lnTo>
                      <a:pt x="740" y="554"/>
                    </a:lnTo>
                    <a:lnTo>
                      <a:pt x="753" y="558"/>
                    </a:lnTo>
                    <a:lnTo>
                      <a:pt x="758" y="560"/>
                    </a:lnTo>
                    <a:lnTo>
                      <a:pt x="763" y="563"/>
                    </a:lnTo>
                    <a:lnTo>
                      <a:pt x="765" y="568"/>
                    </a:lnTo>
                    <a:lnTo>
                      <a:pt x="765" y="571"/>
                    </a:lnTo>
                    <a:lnTo>
                      <a:pt x="765" y="582"/>
                    </a:lnTo>
                    <a:lnTo>
                      <a:pt x="762" y="589"/>
                    </a:lnTo>
                    <a:lnTo>
                      <a:pt x="757" y="595"/>
                    </a:lnTo>
                    <a:lnTo>
                      <a:pt x="752" y="600"/>
                    </a:lnTo>
                    <a:lnTo>
                      <a:pt x="745" y="602"/>
                    </a:lnTo>
                    <a:lnTo>
                      <a:pt x="736" y="604"/>
                    </a:lnTo>
                    <a:lnTo>
                      <a:pt x="727" y="605"/>
                    </a:lnTo>
                    <a:lnTo>
                      <a:pt x="718" y="604"/>
                    </a:lnTo>
                    <a:lnTo>
                      <a:pt x="698" y="602"/>
                    </a:lnTo>
                    <a:lnTo>
                      <a:pt x="679" y="599"/>
                    </a:lnTo>
                    <a:lnTo>
                      <a:pt x="670" y="598"/>
                    </a:lnTo>
                    <a:lnTo>
                      <a:pt x="662" y="598"/>
                    </a:lnTo>
                    <a:lnTo>
                      <a:pt x="655" y="598"/>
                    </a:lnTo>
                    <a:lnTo>
                      <a:pt x="649" y="598"/>
                    </a:lnTo>
                    <a:lnTo>
                      <a:pt x="649" y="604"/>
                    </a:lnTo>
                    <a:lnTo>
                      <a:pt x="650" y="608"/>
                    </a:lnTo>
                    <a:lnTo>
                      <a:pt x="652" y="612"/>
                    </a:lnTo>
                    <a:lnTo>
                      <a:pt x="656" y="617"/>
                    </a:lnTo>
                    <a:lnTo>
                      <a:pt x="664" y="623"/>
                    </a:lnTo>
                    <a:lnTo>
                      <a:pt x="674" y="629"/>
                    </a:lnTo>
                    <a:lnTo>
                      <a:pt x="685" y="633"/>
                    </a:lnTo>
                    <a:lnTo>
                      <a:pt x="697" y="636"/>
                    </a:lnTo>
                    <a:lnTo>
                      <a:pt x="707" y="637"/>
                    </a:lnTo>
                    <a:lnTo>
                      <a:pt x="718" y="639"/>
                    </a:lnTo>
                    <a:lnTo>
                      <a:pt x="727" y="640"/>
                    </a:lnTo>
                    <a:lnTo>
                      <a:pt x="733" y="641"/>
                    </a:lnTo>
                    <a:lnTo>
                      <a:pt x="738" y="643"/>
                    </a:lnTo>
                    <a:lnTo>
                      <a:pt x="740" y="646"/>
                    </a:lnTo>
                    <a:lnTo>
                      <a:pt x="741" y="648"/>
                    </a:lnTo>
                    <a:lnTo>
                      <a:pt x="741" y="652"/>
                    </a:lnTo>
                    <a:lnTo>
                      <a:pt x="740" y="655"/>
                    </a:lnTo>
                    <a:lnTo>
                      <a:pt x="738" y="659"/>
                    </a:lnTo>
                    <a:lnTo>
                      <a:pt x="730" y="666"/>
                    </a:lnTo>
                    <a:lnTo>
                      <a:pt x="722" y="675"/>
                    </a:lnTo>
                    <a:lnTo>
                      <a:pt x="712" y="681"/>
                    </a:lnTo>
                    <a:lnTo>
                      <a:pt x="704" y="687"/>
                    </a:lnTo>
                    <a:lnTo>
                      <a:pt x="691" y="694"/>
                    </a:lnTo>
                    <a:lnTo>
                      <a:pt x="676" y="702"/>
                    </a:lnTo>
                    <a:lnTo>
                      <a:pt x="668" y="707"/>
                    </a:lnTo>
                    <a:lnTo>
                      <a:pt x="661" y="712"/>
                    </a:lnTo>
                    <a:lnTo>
                      <a:pt x="655" y="717"/>
                    </a:lnTo>
                    <a:lnTo>
                      <a:pt x="650" y="723"/>
                    </a:lnTo>
                    <a:lnTo>
                      <a:pt x="646" y="730"/>
                    </a:lnTo>
                    <a:lnTo>
                      <a:pt x="642" y="740"/>
                    </a:lnTo>
                    <a:lnTo>
                      <a:pt x="640" y="749"/>
                    </a:lnTo>
                    <a:lnTo>
                      <a:pt x="638" y="758"/>
                    </a:lnTo>
                    <a:lnTo>
                      <a:pt x="635" y="765"/>
                    </a:lnTo>
                    <a:lnTo>
                      <a:pt x="630" y="771"/>
                    </a:lnTo>
                    <a:lnTo>
                      <a:pt x="628" y="773"/>
                    </a:lnTo>
                    <a:lnTo>
                      <a:pt x="624" y="775"/>
                    </a:lnTo>
                    <a:lnTo>
                      <a:pt x="620" y="775"/>
                    </a:lnTo>
                    <a:lnTo>
                      <a:pt x="615" y="773"/>
                    </a:lnTo>
                    <a:lnTo>
                      <a:pt x="615" y="759"/>
                    </a:lnTo>
                    <a:lnTo>
                      <a:pt x="612" y="743"/>
                    </a:lnTo>
                    <a:lnTo>
                      <a:pt x="611" y="736"/>
                    </a:lnTo>
                    <a:lnTo>
                      <a:pt x="609" y="729"/>
                    </a:lnTo>
                    <a:lnTo>
                      <a:pt x="605" y="722"/>
                    </a:lnTo>
                    <a:lnTo>
                      <a:pt x="602" y="716"/>
                    </a:lnTo>
                    <a:lnTo>
                      <a:pt x="600" y="708"/>
                    </a:lnTo>
                    <a:lnTo>
                      <a:pt x="598" y="700"/>
                    </a:lnTo>
                    <a:lnTo>
                      <a:pt x="597" y="691"/>
                    </a:lnTo>
                    <a:lnTo>
                      <a:pt x="593" y="684"/>
                    </a:lnTo>
                    <a:lnTo>
                      <a:pt x="592" y="681"/>
                    </a:lnTo>
                    <a:lnTo>
                      <a:pt x="590" y="679"/>
                    </a:lnTo>
                    <a:lnTo>
                      <a:pt x="587" y="677"/>
                    </a:lnTo>
                    <a:lnTo>
                      <a:pt x="585" y="677"/>
                    </a:lnTo>
                    <a:lnTo>
                      <a:pt x="582" y="677"/>
                    </a:lnTo>
                    <a:lnTo>
                      <a:pt x="579" y="677"/>
                    </a:lnTo>
                    <a:lnTo>
                      <a:pt x="575" y="679"/>
                    </a:lnTo>
                    <a:lnTo>
                      <a:pt x="571" y="683"/>
                    </a:lnTo>
                    <a:lnTo>
                      <a:pt x="564" y="694"/>
                    </a:lnTo>
                    <a:lnTo>
                      <a:pt x="558" y="707"/>
                    </a:lnTo>
                    <a:lnTo>
                      <a:pt x="555" y="713"/>
                    </a:lnTo>
                    <a:lnTo>
                      <a:pt x="550" y="717"/>
                    </a:lnTo>
                    <a:lnTo>
                      <a:pt x="547" y="718"/>
                    </a:lnTo>
                    <a:lnTo>
                      <a:pt x="545" y="719"/>
                    </a:lnTo>
                    <a:lnTo>
                      <a:pt x="541" y="719"/>
                    </a:lnTo>
                    <a:lnTo>
                      <a:pt x="538" y="719"/>
                    </a:lnTo>
                    <a:lnTo>
                      <a:pt x="526" y="714"/>
                    </a:lnTo>
                    <a:lnTo>
                      <a:pt x="511" y="706"/>
                    </a:lnTo>
                    <a:lnTo>
                      <a:pt x="505" y="702"/>
                    </a:lnTo>
                    <a:lnTo>
                      <a:pt x="499" y="699"/>
                    </a:lnTo>
                    <a:lnTo>
                      <a:pt x="494" y="696"/>
                    </a:lnTo>
                    <a:lnTo>
                      <a:pt x="490" y="696"/>
                    </a:lnTo>
                    <a:lnTo>
                      <a:pt x="486" y="696"/>
                    </a:lnTo>
                    <a:lnTo>
                      <a:pt x="482" y="699"/>
                    </a:lnTo>
                    <a:lnTo>
                      <a:pt x="480" y="701"/>
                    </a:lnTo>
                    <a:lnTo>
                      <a:pt x="478" y="705"/>
                    </a:lnTo>
                    <a:lnTo>
                      <a:pt x="476" y="712"/>
                    </a:lnTo>
                    <a:lnTo>
                      <a:pt x="475" y="722"/>
                    </a:lnTo>
                    <a:lnTo>
                      <a:pt x="476" y="731"/>
                    </a:lnTo>
                    <a:lnTo>
                      <a:pt x="479" y="741"/>
                    </a:lnTo>
                    <a:lnTo>
                      <a:pt x="482" y="748"/>
                    </a:lnTo>
                    <a:lnTo>
                      <a:pt x="486" y="754"/>
                    </a:lnTo>
                    <a:lnTo>
                      <a:pt x="493" y="766"/>
                    </a:lnTo>
                    <a:lnTo>
                      <a:pt x="498" y="777"/>
                    </a:lnTo>
                    <a:lnTo>
                      <a:pt x="499" y="783"/>
                    </a:lnTo>
                    <a:lnTo>
                      <a:pt x="500" y="788"/>
                    </a:lnTo>
                    <a:lnTo>
                      <a:pt x="500" y="793"/>
                    </a:lnTo>
                    <a:lnTo>
                      <a:pt x="499" y="797"/>
                    </a:lnTo>
                    <a:lnTo>
                      <a:pt x="498" y="802"/>
                    </a:lnTo>
                    <a:lnTo>
                      <a:pt x="496" y="806"/>
                    </a:lnTo>
                    <a:lnTo>
                      <a:pt x="492" y="809"/>
                    </a:lnTo>
                    <a:lnTo>
                      <a:pt x="487" y="813"/>
                    </a:lnTo>
                    <a:lnTo>
                      <a:pt x="482" y="815"/>
                    </a:lnTo>
                    <a:lnTo>
                      <a:pt x="476" y="818"/>
                    </a:lnTo>
                    <a:lnTo>
                      <a:pt x="469" y="820"/>
                    </a:lnTo>
                    <a:lnTo>
                      <a:pt x="461" y="821"/>
                    </a:lnTo>
                    <a:lnTo>
                      <a:pt x="457" y="829"/>
                    </a:lnTo>
                    <a:lnTo>
                      <a:pt x="451" y="844"/>
                    </a:lnTo>
                    <a:lnTo>
                      <a:pt x="448" y="853"/>
                    </a:lnTo>
                    <a:lnTo>
                      <a:pt x="444" y="861"/>
                    </a:lnTo>
                    <a:lnTo>
                      <a:pt x="440" y="867"/>
                    </a:lnTo>
                    <a:lnTo>
                      <a:pt x="437" y="872"/>
                    </a:lnTo>
                    <a:lnTo>
                      <a:pt x="422" y="883"/>
                    </a:lnTo>
                    <a:lnTo>
                      <a:pt x="405" y="895"/>
                    </a:lnTo>
                    <a:lnTo>
                      <a:pt x="398" y="901"/>
                    </a:lnTo>
                    <a:lnTo>
                      <a:pt x="390" y="908"/>
                    </a:lnTo>
                    <a:lnTo>
                      <a:pt x="384" y="915"/>
                    </a:lnTo>
                    <a:lnTo>
                      <a:pt x="379" y="921"/>
                    </a:lnTo>
                    <a:lnTo>
                      <a:pt x="371" y="933"/>
                    </a:lnTo>
                    <a:lnTo>
                      <a:pt x="363" y="941"/>
                    </a:lnTo>
                    <a:lnTo>
                      <a:pt x="357" y="947"/>
                    </a:lnTo>
                    <a:lnTo>
                      <a:pt x="350" y="951"/>
                    </a:lnTo>
                    <a:lnTo>
                      <a:pt x="342" y="953"/>
                    </a:lnTo>
                    <a:lnTo>
                      <a:pt x="333" y="953"/>
                    </a:lnTo>
                    <a:lnTo>
                      <a:pt x="322" y="951"/>
                    </a:lnTo>
                    <a:lnTo>
                      <a:pt x="309" y="948"/>
                    </a:lnTo>
                    <a:lnTo>
                      <a:pt x="289" y="951"/>
                    </a:lnTo>
                    <a:lnTo>
                      <a:pt x="274" y="953"/>
                    </a:lnTo>
                    <a:lnTo>
                      <a:pt x="275" y="948"/>
                    </a:lnTo>
                    <a:lnTo>
                      <a:pt x="277" y="944"/>
                    </a:lnTo>
                    <a:lnTo>
                      <a:pt x="281" y="939"/>
                    </a:lnTo>
                    <a:lnTo>
                      <a:pt x="285" y="935"/>
                    </a:lnTo>
                    <a:lnTo>
                      <a:pt x="296" y="926"/>
                    </a:lnTo>
                    <a:lnTo>
                      <a:pt x="303" y="920"/>
                    </a:lnTo>
                    <a:lnTo>
                      <a:pt x="308" y="914"/>
                    </a:lnTo>
                    <a:lnTo>
                      <a:pt x="312" y="908"/>
                    </a:lnTo>
                    <a:lnTo>
                      <a:pt x="314" y="902"/>
                    </a:lnTo>
                    <a:lnTo>
                      <a:pt x="316" y="897"/>
                    </a:lnTo>
                    <a:lnTo>
                      <a:pt x="321" y="885"/>
                    </a:lnTo>
                    <a:lnTo>
                      <a:pt x="328" y="874"/>
                    </a:lnTo>
                    <a:lnTo>
                      <a:pt x="345" y="861"/>
                    </a:lnTo>
                    <a:lnTo>
                      <a:pt x="377" y="836"/>
                    </a:lnTo>
                    <a:lnTo>
                      <a:pt x="383" y="829"/>
                    </a:lnTo>
                    <a:lnTo>
                      <a:pt x="389" y="823"/>
                    </a:lnTo>
                    <a:lnTo>
                      <a:pt x="393" y="817"/>
                    </a:lnTo>
                    <a:lnTo>
                      <a:pt x="397" y="812"/>
                    </a:lnTo>
                    <a:lnTo>
                      <a:pt x="397" y="809"/>
                    </a:lnTo>
                    <a:lnTo>
                      <a:pt x="398" y="807"/>
                    </a:lnTo>
                    <a:lnTo>
                      <a:pt x="397" y="806"/>
                    </a:lnTo>
                    <a:lnTo>
                      <a:pt x="396" y="803"/>
                    </a:lnTo>
                    <a:lnTo>
                      <a:pt x="392" y="802"/>
                    </a:lnTo>
                    <a:lnTo>
                      <a:pt x="385" y="801"/>
                    </a:lnTo>
                    <a:lnTo>
                      <a:pt x="373" y="802"/>
                    </a:lnTo>
                    <a:lnTo>
                      <a:pt x="357" y="807"/>
                    </a:lnTo>
                    <a:lnTo>
                      <a:pt x="349" y="808"/>
                    </a:lnTo>
                    <a:lnTo>
                      <a:pt x="342" y="809"/>
                    </a:lnTo>
                    <a:lnTo>
                      <a:pt x="337" y="809"/>
                    </a:lnTo>
                    <a:lnTo>
                      <a:pt x="334" y="808"/>
                    </a:lnTo>
                    <a:lnTo>
                      <a:pt x="332" y="801"/>
                    </a:lnTo>
                    <a:lnTo>
                      <a:pt x="332" y="794"/>
                    </a:lnTo>
                    <a:lnTo>
                      <a:pt x="333" y="787"/>
                    </a:lnTo>
                    <a:lnTo>
                      <a:pt x="337" y="778"/>
                    </a:lnTo>
                    <a:lnTo>
                      <a:pt x="346" y="761"/>
                    </a:lnTo>
                    <a:lnTo>
                      <a:pt x="360" y="744"/>
                    </a:lnTo>
                    <a:lnTo>
                      <a:pt x="373" y="728"/>
                    </a:lnTo>
                    <a:lnTo>
                      <a:pt x="384" y="711"/>
                    </a:lnTo>
                    <a:lnTo>
                      <a:pt x="387" y="704"/>
                    </a:lnTo>
                    <a:lnTo>
                      <a:pt x="390" y="696"/>
                    </a:lnTo>
                    <a:lnTo>
                      <a:pt x="391" y="689"/>
                    </a:lnTo>
                    <a:lnTo>
                      <a:pt x="390" y="682"/>
                    </a:lnTo>
                    <a:lnTo>
                      <a:pt x="383" y="691"/>
                    </a:lnTo>
                    <a:lnTo>
                      <a:pt x="368" y="705"/>
                    </a:lnTo>
                    <a:lnTo>
                      <a:pt x="352" y="719"/>
                    </a:lnTo>
                    <a:lnTo>
                      <a:pt x="343" y="731"/>
                    </a:lnTo>
                    <a:lnTo>
                      <a:pt x="332" y="744"/>
                    </a:lnTo>
                    <a:lnTo>
                      <a:pt x="318" y="759"/>
                    </a:lnTo>
                    <a:lnTo>
                      <a:pt x="303" y="772"/>
                    </a:lnTo>
                    <a:lnTo>
                      <a:pt x="290" y="785"/>
                    </a:lnTo>
                    <a:lnTo>
                      <a:pt x="271" y="809"/>
                    </a:lnTo>
                    <a:lnTo>
                      <a:pt x="241" y="847"/>
                    </a:lnTo>
                    <a:lnTo>
                      <a:pt x="224" y="864"/>
                    </a:lnTo>
                    <a:lnTo>
                      <a:pt x="210" y="877"/>
                    </a:lnTo>
                    <a:lnTo>
                      <a:pt x="204" y="880"/>
                    </a:lnTo>
                    <a:lnTo>
                      <a:pt x="200" y="883"/>
                    </a:lnTo>
                    <a:lnTo>
                      <a:pt x="198" y="883"/>
                    </a:lnTo>
                    <a:lnTo>
                      <a:pt x="197" y="882"/>
                    </a:lnTo>
                    <a:lnTo>
                      <a:pt x="196" y="880"/>
                    </a:lnTo>
                    <a:lnTo>
                      <a:pt x="195" y="878"/>
                    </a:lnTo>
                    <a:lnTo>
                      <a:pt x="191" y="859"/>
                    </a:lnTo>
                    <a:lnTo>
                      <a:pt x="189" y="838"/>
                    </a:lnTo>
                    <a:lnTo>
                      <a:pt x="186" y="830"/>
                    </a:lnTo>
                    <a:lnTo>
                      <a:pt x="183" y="820"/>
                    </a:lnTo>
                    <a:lnTo>
                      <a:pt x="180" y="817"/>
                    </a:lnTo>
                    <a:lnTo>
                      <a:pt x="177" y="813"/>
                    </a:lnTo>
                    <a:lnTo>
                      <a:pt x="173" y="809"/>
                    </a:lnTo>
                    <a:lnTo>
                      <a:pt x="170" y="806"/>
                    </a:lnTo>
                    <a:lnTo>
                      <a:pt x="143" y="790"/>
                    </a:lnTo>
                    <a:lnTo>
                      <a:pt x="120" y="775"/>
                    </a:lnTo>
                    <a:lnTo>
                      <a:pt x="115" y="770"/>
                    </a:lnTo>
                    <a:lnTo>
                      <a:pt x="112" y="765"/>
                    </a:lnTo>
                    <a:lnTo>
                      <a:pt x="107" y="760"/>
                    </a:lnTo>
                    <a:lnTo>
                      <a:pt x="105" y="754"/>
                    </a:lnTo>
                    <a:lnTo>
                      <a:pt x="101" y="748"/>
                    </a:lnTo>
                    <a:lnTo>
                      <a:pt x="99" y="741"/>
                    </a:lnTo>
                    <a:lnTo>
                      <a:pt x="97" y="732"/>
                    </a:lnTo>
                    <a:lnTo>
                      <a:pt x="96" y="724"/>
                    </a:lnTo>
                    <a:lnTo>
                      <a:pt x="99" y="711"/>
                    </a:lnTo>
                    <a:lnTo>
                      <a:pt x="101" y="695"/>
                    </a:lnTo>
                    <a:lnTo>
                      <a:pt x="103" y="676"/>
                    </a:lnTo>
                    <a:lnTo>
                      <a:pt x="105" y="658"/>
                    </a:lnTo>
                    <a:lnTo>
                      <a:pt x="106" y="639"/>
                    </a:lnTo>
                    <a:lnTo>
                      <a:pt x="105" y="620"/>
                    </a:lnTo>
                    <a:lnTo>
                      <a:pt x="103" y="605"/>
                    </a:lnTo>
                    <a:lnTo>
                      <a:pt x="100" y="592"/>
                    </a:lnTo>
                    <a:lnTo>
                      <a:pt x="95" y="584"/>
                    </a:lnTo>
                    <a:lnTo>
                      <a:pt x="91" y="578"/>
                    </a:lnTo>
                    <a:lnTo>
                      <a:pt x="86" y="574"/>
                    </a:lnTo>
                    <a:lnTo>
                      <a:pt x="80" y="570"/>
                    </a:lnTo>
                    <a:lnTo>
                      <a:pt x="74" y="568"/>
                    </a:lnTo>
                    <a:lnTo>
                      <a:pt x="68" y="566"/>
                    </a:lnTo>
                    <a:lnTo>
                      <a:pt x="62" y="565"/>
                    </a:lnTo>
                    <a:lnTo>
                      <a:pt x="56" y="565"/>
                    </a:lnTo>
                    <a:lnTo>
                      <a:pt x="43" y="566"/>
                    </a:lnTo>
                    <a:lnTo>
                      <a:pt x="29" y="566"/>
                    </a:lnTo>
                    <a:lnTo>
                      <a:pt x="21" y="566"/>
                    </a:lnTo>
                    <a:lnTo>
                      <a:pt x="14" y="565"/>
                    </a:lnTo>
                    <a:lnTo>
                      <a:pt x="7" y="564"/>
                    </a:lnTo>
                    <a:lnTo>
                      <a:pt x="1" y="562"/>
                    </a:lnTo>
                    <a:lnTo>
                      <a:pt x="0" y="554"/>
                    </a:lnTo>
                    <a:lnTo>
                      <a:pt x="0" y="547"/>
                    </a:lnTo>
                    <a:lnTo>
                      <a:pt x="0" y="540"/>
                    </a:lnTo>
                    <a:lnTo>
                      <a:pt x="2" y="533"/>
                    </a:lnTo>
                    <a:lnTo>
                      <a:pt x="7" y="517"/>
                    </a:lnTo>
                    <a:lnTo>
                      <a:pt x="13" y="501"/>
                    </a:lnTo>
                    <a:lnTo>
                      <a:pt x="20" y="486"/>
                    </a:lnTo>
                    <a:lnTo>
                      <a:pt x="28" y="470"/>
                    </a:lnTo>
                    <a:lnTo>
                      <a:pt x="32" y="454"/>
                    </a:lnTo>
                    <a:lnTo>
                      <a:pt x="36" y="439"/>
                    </a:lnTo>
                    <a:lnTo>
                      <a:pt x="37" y="429"/>
                    </a:lnTo>
                    <a:lnTo>
                      <a:pt x="40" y="421"/>
                    </a:lnTo>
                    <a:lnTo>
                      <a:pt x="42" y="414"/>
                    </a:lnTo>
                    <a:lnTo>
                      <a:pt x="46" y="407"/>
                    </a:lnTo>
                    <a:lnTo>
                      <a:pt x="50" y="401"/>
                    </a:lnTo>
                    <a:lnTo>
                      <a:pt x="55" y="397"/>
                    </a:lnTo>
                    <a:lnTo>
                      <a:pt x="60" y="392"/>
                    </a:lnTo>
                    <a:lnTo>
                      <a:pt x="66" y="388"/>
                    </a:lnTo>
                    <a:lnTo>
                      <a:pt x="92" y="374"/>
                    </a:lnTo>
                    <a:lnTo>
                      <a:pt x="121" y="355"/>
                    </a:lnTo>
                    <a:lnTo>
                      <a:pt x="130" y="347"/>
                    </a:lnTo>
                    <a:lnTo>
                      <a:pt x="137" y="339"/>
                    </a:lnTo>
                    <a:lnTo>
                      <a:pt x="143" y="332"/>
                    </a:lnTo>
                    <a:lnTo>
                      <a:pt x="149" y="323"/>
                    </a:lnTo>
                    <a:lnTo>
                      <a:pt x="161" y="308"/>
                    </a:lnTo>
                    <a:lnTo>
                      <a:pt x="174" y="292"/>
                    </a:lnTo>
                    <a:lnTo>
                      <a:pt x="184" y="285"/>
                    </a:lnTo>
                    <a:lnTo>
                      <a:pt x="194" y="279"/>
                    </a:lnTo>
                    <a:lnTo>
                      <a:pt x="203" y="274"/>
                    </a:lnTo>
                    <a:lnTo>
                      <a:pt x="214" y="269"/>
                    </a:lnTo>
                    <a:lnTo>
                      <a:pt x="225" y="267"/>
                    </a:lnTo>
                    <a:lnTo>
                      <a:pt x="237" y="265"/>
                    </a:lnTo>
                    <a:lnTo>
                      <a:pt x="248" y="265"/>
                    </a:lnTo>
                    <a:lnTo>
                      <a:pt x="260" y="267"/>
                    </a:lnTo>
                    <a:lnTo>
                      <a:pt x="273" y="265"/>
                    </a:lnTo>
                    <a:lnTo>
                      <a:pt x="284" y="265"/>
                    </a:lnTo>
                    <a:lnTo>
                      <a:pt x="295" y="267"/>
                    </a:lnTo>
                    <a:lnTo>
                      <a:pt x="304" y="269"/>
                    </a:lnTo>
                    <a:lnTo>
                      <a:pt x="313" y="273"/>
                    </a:lnTo>
                    <a:lnTo>
                      <a:pt x="320" y="276"/>
                    </a:lnTo>
                    <a:lnTo>
                      <a:pt x="326" y="282"/>
                    </a:lnTo>
                    <a:lnTo>
                      <a:pt x="331" y="288"/>
                    </a:lnTo>
                    <a:lnTo>
                      <a:pt x="336" y="297"/>
                    </a:lnTo>
                    <a:lnTo>
                      <a:pt x="339" y="304"/>
                    </a:lnTo>
                    <a:lnTo>
                      <a:pt x="343" y="314"/>
                    </a:lnTo>
                    <a:lnTo>
                      <a:pt x="345" y="323"/>
                    </a:lnTo>
                    <a:lnTo>
                      <a:pt x="348" y="342"/>
                    </a:lnTo>
                    <a:lnTo>
                      <a:pt x="349" y="364"/>
                    </a:lnTo>
                    <a:lnTo>
                      <a:pt x="350" y="375"/>
                    </a:lnTo>
                    <a:lnTo>
                      <a:pt x="355" y="389"/>
                    </a:lnTo>
                    <a:lnTo>
                      <a:pt x="362" y="407"/>
                    </a:lnTo>
                    <a:lnTo>
                      <a:pt x="369" y="426"/>
                    </a:lnTo>
                    <a:lnTo>
                      <a:pt x="379" y="442"/>
                    </a:lnTo>
                    <a:lnTo>
                      <a:pt x="389" y="458"/>
                    </a:lnTo>
                    <a:lnTo>
                      <a:pt x="397" y="471"/>
                    </a:lnTo>
                    <a:lnTo>
                      <a:pt x="405" y="480"/>
                    </a:lnTo>
                    <a:lnTo>
                      <a:pt x="407" y="476"/>
                    </a:lnTo>
                    <a:lnTo>
                      <a:pt x="407" y="470"/>
                    </a:lnTo>
                    <a:lnTo>
                      <a:pt x="408" y="463"/>
                    </a:lnTo>
                    <a:lnTo>
                      <a:pt x="408" y="454"/>
                    </a:lnTo>
                    <a:lnTo>
                      <a:pt x="408" y="433"/>
                    </a:lnTo>
                    <a:lnTo>
                      <a:pt x="407" y="407"/>
                    </a:lnTo>
                    <a:lnTo>
                      <a:pt x="402" y="359"/>
                    </a:lnTo>
                    <a:lnTo>
                      <a:pt x="398" y="328"/>
                    </a:lnTo>
                    <a:lnTo>
                      <a:pt x="396" y="314"/>
                    </a:lnTo>
                    <a:lnTo>
                      <a:pt x="393" y="297"/>
                    </a:lnTo>
                    <a:lnTo>
                      <a:pt x="395" y="290"/>
                    </a:lnTo>
                    <a:lnTo>
                      <a:pt x="397" y="284"/>
                    </a:lnTo>
                    <a:lnTo>
                      <a:pt x="399" y="282"/>
                    </a:lnTo>
                    <a:lnTo>
                      <a:pt x="402" y="280"/>
                    </a:lnTo>
                    <a:lnTo>
                      <a:pt x="405" y="279"/>
                    </a:lnTo>
                    <a:lnTo>
                      <a:pt x="410" y="279"/>
                    </a:lnTo>
                    <a:lnTo>
                      <a:pt x="426" y="279"/>
                    </a:lnTo>
                    <a:lnTo>
                      <a:pt x="439" y="276"/>
                    </a:lnTo>
                    <a:lnTo>
                      <a:pt x="451" y="274"/>
                    </a:lnTo>
                    <a:lnTo>
                      <a:pt x="467" y="269"/>
                    </a:lnTo>
                    <a:lnTo>
                      <a:pt x="461" y="265"/>
                    </a:lnTo>
                    <a:lnTo>
                      <a:pt x="449" y="261"/>
                    </a:lnTo>
                    <a:lnTo>
                      <a:pt x="435" y="256"/>
                    </a:lnTo>
                    <a:lnTo>
                      <a:pt x="426" y="253"/>
                    </a:lnTo>
                    <a:lnTo>
                      <a:pt x="417" y="250"/>
                    </a:lnTo>
                    <a:lnTo>
                      <a:pt x="404" y="244"/>
                    </a:lnTo>
                    <a:lnTo>
                      <a:pt x="391" y="237"/>
                    </a:lnTo>
                    <a:lnTo>
                      <a:pt x="377" y="227"/>
                    </a:lnTo>
                    <a:lnTo>
                      <a:pt x="364" y="216"/>
                    </a:lnTo>
                    <a:lnTo>
                      <a:pt x="354" y="205"/>
                    </a:lnTo>
                    <a:lnTo>
                      <a:pt x="351" y="200"/>
                    </a:lnTo>
                    <a:lnTo>
                      <a:pt x="349" y="194"/>
                    </a:lnTo>
                    <a:lnTo>
                      <a:pt x="349" y="190"/>
                    </a:lnTo>
                    <a:lnTo>
                      <a:pt x="350" y="185"/>
                    </a:lnTo>
                    <a:lnTo>
                      <a:pt x="356" y="175"/>
                    </a:lnTo>
                    <a:lnTo>
                      <a:pt x="367" y="162"/>
                    </a:lnTo>
                    <a:lnTo>
                      <a:pt x="380" y="148"/>
                    </a:lnTo>
                    <a:lnTo>
                      <a:pt x="395" y="133"/>
                    </a:lnTo>
                    <a:lnTo>
                      <a:pt x="410" y="119"/>
                    </a:lnTo>
                    <a:lnTo>
                      <a:pt x="426" y="107"/>
                    </a:lnTo>
                    <a:lnTo>
                      <a:pt x="433" y="103"/>
                    </a:lnTo>
                    <a:lnTo>
                      <a:pt x="439" y="99"/>
                    </a:lnTo>
                    <a:lnTo>
                      <a:pt x="445" y="97"/>
                    </a:lnTo>
                    <a:lnTo>
                      <a:pt x="450" y="96"/>
                    </a:lnTo>
                    <a:lnTo>
                      <a:pt x="457" y="97"/>
                    </a:lnTo>
                    <a:lnTo>
                      <a:pt x="464" y="99"/>
                    </a:lnTo>
                    <a:lnTo>
                      <a:pt x="472" y="104"/>
                    </a:lnTo>
                    <a:lnTo>
                      <a:pt x="478" y="109"/>
                    </a:lnTo>
                    <a:lnTo>
                      <a:pt x="487" y="122"/>
                    </a:lnTo>
                    <a:lnTo>
                      <a:pt x="497" y="137"/>
                    </a:lnTo>
                    <a:lnTo>
                      <a:pt x="506" y="152"/>
                    </a:lnTo>
                    <a:lnTo>
                      <a:pt x="516" y="166"/>
                    </a:lnTo>
                    <a:lnTo>
                      <a:pt x="522" y="170"/>
                    </a:lnTo>
                    <a:lnTo>
                      <a:pt x="528" y="174"/>
                    </a:lnTo>
                    <a:lnTo>
                      <a:pt x="534" y="176"/>
                    </a:lnTo>
                    <a:lnTo>
                      <a:pt x="541" y="178"/>
                    </a:lnTo>
                    <a:lnTo>
                      <a:pt x="539" y="161"/>
                    </a:lnTo>
                    <a:lnTo>
                      <a:pt x="535" y="142"/>
                    </a:lnTo>
                    <a:lnTo>
                      <a:pt x="535" y="137"/>
                    </a:lnTo>
                    <a:lnTo>
                      <a:pt x="535" y="134"/>
                    </a:lnTo>
                    <a:lnTo>
                      <a:pt x="537" y="132"/>
                    </a:lnTo>
                    <a:lnTo>
                      <a:pt x="539" y="129"/>
                    </a:lnTo>
                    <a:lnTo>
                      <a:pt x="541" y="129"/>
                    </a:lnTo>
                    <a:lnTo>
                      <a:pt x="546" y="131"/>
                    </a:lnTo>
                    <a:lnTo>
                      <a:pt x="551" y="133"/>
                    </a:lnTo>
                    <a:lnTo>
                      <a:pt x="558" y="137"/>
                    </a:lnTo>
                    <a:lnTo>
                      <a:pt x="569" y="144"/>
                    </a:lnTo>
                    <a:lnTo>
                      <a:pt x="581" y="150"/>
                    </a:lnTo>
                    <a:lnTo>
                      <a:pt x="588" y="154"/>
                    </a:lnTo>
                    <a:lnTo>
                      <a:pt x="594" y="156"/>
                    </a:lnTo>
                    <a:lnTo>
                      <a:pt x="602" y="157"/>
                    </a:lnTo>
                    <a:lnTo>
                      <a:pt x="608" y="157"/>
                    </a:lnTo>
                    <a:lnTo>
                      <a:pt x="615" y="157"/>
                    </a:lnTo>
                    <a:lnTo>
                      <a:pt x="620" y="156"/>
                    </a:lnTo>
                    <a:lnTo>
                      <a:pt x="622" y="154"/>
                    </a:lnTo>
                    <a:lnTo>
                      <a:pt x="623" y="150"/>
                    </a:lnTo>
                    <a:lnTo>
                      <a:pt x="622" y="146"/>
                    </a:lnTo>
                    <a:lnTo>
                      <a:pt x="621" y="142"/>
                    </a:lnTo>
                    <a:lnTo>
                      <a:pt x="617" y="138"/>
                    </a:lnTo>
                    <a:lnTo>
                      <a:pt x="614" y="133"/>
                    </a:lnTo>
                    <a:lnTo>
                      <a:pt x="593" y="115"/>
                    </a:lnTo>
                    <a:lnTo>
                      <a:pt x="581" y="104"/>
                    </a:lnTo>
                    <a:lnTo>
                      <a:pt x="573" y="98"/>
                    </a:lnTo>
                    <a:lnTo>
                      <a:pt x="564" y="90"/>
                    </a:lnTo>
                    <a:lnTo>
                      <a:pt x="557" y="81"/>
                    </a:lnTo>
                    <a:lnTo>
                      <a:pt x="549" y="72"/>
                    </a:lnTo>
                    <a:lnTo>
                      <a:pt x="541" y="62"/>
                    </a:lnTo>
                    <a:lnTo>
                      <a:pt x="535" y="52"/>
                    </a:lnTo>
                    <a:lnTo>
                      <a:pt x="531" y="43"/>
                    </a:lnTo>
                    <a:lnTo>
                      <a:pt x="527" y="33"/>
                    </a:lnTo>
                    <a:lnTo>
                      <a:pt x="534" y="34"/>
                    </a:lnTo>
                    <a:lnTo>
                      <a:pt x="541" y="36"/>
                    </a:lnTo>
                    <a:lnTo>
                      <a:pt x="549" y="38"/>
                    </a:lnTo>
                    <a:lnTo>
                      <a:pt x="556" y="40"/>
                    </a:lnTo>
                    <a:lnTo>
                      <a:pt x="570" y="49"/>
                    </a:lnTo>
                    <a:lnTo>
                      <a:pt x="584" y="58"/>
                    </a:lnTo>
                    <a:lnTo>
                      <a:pt x="608" y="80"/>
                    </a:lnTo>
                    <a:lnTo>
                      <a:pt x="630" y="99"/>
                    </a:lnTo>
                    <a:lnTo>
                      <a:pt x="652" y="103"/>
                    </a:lnTo>
                    <a:lnTo>
                      <a:pt x="688" y="109"/>
                    </a:lnTo>
                    <a:lnTo>
                      <a:pt x="704" y="111"/>
                    </a:lnTo>
                    <a:lnTo>
                      <a:pt x="717" y="110"/>
                    </a:lnTo>
                    <a:lnTo>
                      <a:pt x="721" y="109"/>
                    </a:lnTo>
                    <a:lnTo>
                      <a:pt x="722" y="107"/>
                    </a:lnTo>
                    <a:lnTo>
                      <a:pt x="722" y="103"/>
                    </a:lnTo>
                    <a:lnTo>
                      <a:pt x="718" y="98"/>
                    </a:lnTo>
                    <a:lnTo>
                      <a:pt x="697" y="78"/>
                    </a:lnTo>
                    <a:lnTo>
                      <a:pt x="670" y="51"/>
                    </a:lnTo>
                    <a:lnTo>
                      <a:pt x="657" y="38"/>
                    </a:lnTo>
                    <a:lnTo>
                      <a:pt x="646" y="25"/>
                    </a:lnTo>
                    <a:lnTo>
                      <a:pt x="642" y="18"/>
                    </a:lnTo>
                    <a:lnTo>
                      <a:pt x="639" y="12"/>
                    </a:lnTo>
                    <a:lnTo>
                      <a:pt x="636" y="6"/>
                    </a:lnTo>
                    <a:lnTo>
                      <a:pt x="636" y="0"/>
                    </a:lnTo>
                    <a:lnTo>
                      <a:pt x="641" y="7"/>
                    </a:lnTo>
                    <a:lnTo>
                      <a:pt x="652" y="16"/>
                    </a:lnTo>
                    <a:lnTo>
                      <a:pt x="668" y="28"/>
                    </a:lnTo>
                    <a:lnTo>
                      <a:pt x="686" y="40"/>
                    </a:lnTo>
                    <a:lnTo>
                      <a:pt x="704" y="52"/>
                    </a:lnTo>
                    <a:lnTo>
                      <a:pt x="721" y="61"/>
                    </a:lnTo>
                    <a:lnTo>
                      <a:pt x="728" y="65"/>
                    </a:lnTo>
                    <a:lnTo>
                      <a:pt x="734" y="66"/>
                    </a:lnTo>
                    <a:lnTo>
                      <a:pt x="739" y="67"/>
                    </a:lnTo>
                    <a:lnTo>
                      <a:pt x="741" y="67"/>
                    </a:lnTo>
                    <a:lnTo>
                      <a:pt x="747" y="58"/>
                    </a:lnTo>
                    <a:lnTo>
                      <a:pt x="753" y="44"/>
                    </a:lnTo>
                    <a:lnTo>
                      <a:pt x="757" y="38"/>
                    </a:lnTo>
                    <a:lnTo>
                      <a:pt x="760" y="33"/>
                    </a:lnTo>
                    <a:lnTo>
                      <a:pt x="763" y="32"/>
                    </a:lnTo>
                    <a:lnTo>
                      <a:pt x="765" y="32"/>
                    </a:lnTo>
                    <a:lnTo>
                      <a:pt x="766" y="32"/>
                    </a:lnTo>
                    <a:lnTo>
                      <a:pt x="769" y="33"/>
                    </a:lnTo>
                    <a:lnTo>
                      <a:pt x="786" y="44"/>
                    </a:lnTo>
                    <a:lnTo>
                      <a:pt x="805" y="54"/>
                    </a:lnTo>
                    <a:lnTo>
                      <a:pt x="815" y="58"/>
                    </a:lnTo>
                    <a:lnTo>
                      <a:pt x="821" y="65"/>
                    </a:lnTo>
                    <a:lnTo>
                      <a:pt x="823" y="67"/>
                    </a:lnTo>
                    <a:lnTo>
                      <a:pt x="824" y="69"/>
                    </a:lnTo>
                    <a:lnTo>
                      <a:pt x="825" y="73"/>
                    </a:lnTo>
                    <a:lnTo>
                      <a:pt x="824" y="77"/>
                    </a:lnTo>
                    <a:lnTo>
                      <a:pt x="818" y="87"/>
                    </a:lnTo>
                    <a:lnTo>
                      <a:pt x="811" y="97"/>
                    </a:lnTo>
                    <a:lnTo>
                      <a:pt x="805" y="105"/>
                    </a:lnTo>
                    <a:lnTo>
                      <a:pt x="798" y="113"/>
                    </a:lnTo>
                    <a:lnTo>
                      <a:pt x="793" y="121"/>
                    </a:lnTo>
                    <a:lnTo>
                      <a:pt x="788" y="129"/>
                    </a:lnTo>
                    <a:lnTo>
                      <a:pt x="785" y="142"/>
                    </a:lnTo>
                    <a:lnTo>
                      <a:pt x="783" y="157"/>
                    </a:lnTo>
                    <a:lnTo>
                      <a:pt x="787" y="172"/>
                    </a:lnTo>
                    <a:lnTo>
                      <a:pt x="793" y="192"/>
                    </a:lnTo>
                    <a:lnTo>
                      <a:pt x="797" y="200"/>
                    </a:lnTo>
                    <a:lnTo>
                      <a:pt x="800" y="208"/>
                    </a:lnTo>
                    <a:lnTo>
                      <a:pt x="803" y="210"/>
                    </a:lnTo>
                    <a:lnTo>
                      <a:pt x="805" y="211"/>
                    </a:lnTo>
                    <a:lnTo>
                      <a:pt x="806" y="211"/>
                    </a:lnTo>
                    <a:lnTo>
                      <a:pt x="809" y="210"/>
                    </a:lnTo>
                    <a:lnTo>
                      <a:pt x="811" y="204"/>
                    </a:lnTo>
                    <a:lnTo>
                      <a:pt x="813" y="194"/>
                    </a:lnTo>
                    <a:lnTo>
                      <a:pt x="816" y="181"/>
                    </a:lnTo>
                    <a:lnTo>
                      <a:pt x="818" y="167"/>
                    </a:lnTo>
                    <a:lnTo>
                      <a:pt x="822" y="138"/>
                    </a:lnTo>
                    <a:lnTo>
                      <a:pt x="825" y="119"/>
                    </a:lnTo>
                    <a:lnTo>
                      <a:pt x="827" y="115"/>
                    </a:lnTo>
                    <a:lnTo>
                      <a:pt x="828" y="113"/>
                    </a:lnTo>
                    <a:lnTo>
                      <a:pt x="830" y="113"/>
                    </a:lnTo>
                    <a:lnTo>
                      <a:pt x="831" y="113"/>
                    </a:lnTo>
                    <a:lnTo>
                      <a:pt x="836" y="117"/>
                    </a:lnTo>
                    <a:lnTo>
                      <a:pt x="840" y="123"/>
                    </a:lnTo>
                    <a:lnTo>
                      <a:pt x="845" y="132"/>
                    </a:lnTo>
                    <a:lnTo>
                      <a:pt x="849" y="139"/>
                    </a:lnTo>
                    <a:lnTo>
                      <a:pt x="852" y="142"/>
                    </a:lnTo>
                    <a:lnTo>
                      <a:pt x="854" y="143"/>
                    </a:lnTo>
                    <a:lnTo>
                      <a:pt x="857" y="144"/>
                    </a:lnTo>
                    <a:lnTo>
                      <a:pt x="858" y="144"/>
                    </a:lnTo>
                    <a:lnTo>
                      <a:pt x="860" y="143"/>
                    </a:lnTo>
                    <a:lnTo>
                      <a:pt x="863" y="140"/>
                    </a:lnTo>
                    <a:lnTo>
                      <a:pt x="864" y="138"/>
                    </a:lnTo>
                    <a:lnTo>
                      <a:pt x="864" y="134"/>
                    </a:lnTo>
                    <a:lnTo>
                      <a:pt x="864" y="128"/>
                    </a:lnTo>
                    <a:lnTo>
                      <a:pt x="863" y="122"/>
                    </a:lnTo>
                    <a:lnTo>
                      <a:pt x="863" y="117"/>
                    </a:lnTo>
                    <a:lnTo>
                      <a:pt x="865" y="114"/>
                    </a:lnTo>
                    <a:lnTo>
                      <a:pt x="868" y="113"/>
                    </a:lnTo>
                    <a:lnTo>
                      <a:pt x="871" y="113"/>
                    </a:lnTo>
                    <a:lnTo>
                      <a:pt x="876" y="113"/>
                    </a:lnTo>
                    <a:lnTo>
                      <a:pt x="882" y="113"/>
                    </a:lnTo>
                    <a:lnTo>
                      <a:pt x="889" y="114"/>
                    </a:lnTo>
                    <a:lnTo>
                      <a:pt x="895" y="114"/>
                    </a:lnTo>
                    <a:lnTo>
                      <a:pt x="900" y="111"/>
                    </a:lnTo>
                    <a:lnTo>
                      <a:pt x="902" y="108"/>
                    </a:lnTo>
                    <a:lnTo>
                      <a:pt x="906" y="99"/>
                    </a:lnTo>
                    <a:lnTo>
                      <a:pt x="908" y="91"/>
                    </a:lnTo>
                    <a:lnTo>
                      <a:pt x="910" y="86"/>
                    </a:lnTo>
                    <a:lnTo>
                      <a:pt x="911" y="83"/>
                    </a:lnTo>
                    <a:lnTo>
                      <a:pt x="913" y="80"/>
                    </a:lnTo>
                    <a:lnTo>
                      <a:pt x="917" y="79"/>
                    </a:lnTo>
                    <a:lnTo>
                      <a:pt x="922" y="79"/>
                    </a:lnTo>
                    <a:lnTo>
                      <a:pt x="928" y="81"/>
                    </a:lnTo>
                    <a:lnTo>
                      <a:pt x="936" y="85"/>
                    </a:lnTo>
                    <a:lnTo>
                      <a:pt x="947" y="92"/>
                    </a:lnTo>
                    <a:lnTo>
                      <a:pt x="958" y="98"/>
                    </a:lnTo>
                    <a:lnTo>
                      <a:pt x="964" y="102"/>
                    </a:lnTo>
                    <a:lnTo>
                      <a:pt x="966" y="105"/>
                    </a:lnTo>
                    <a:lnTo>
                      <a:pt x="967" y="109"/>
                    </a:lnTo>
                    <a:lnTo>
                      <a:pt x="969" y="114"/>
                    </a:lnTo>
                    <a:lnTo>
                      <a:pt x="969" y="121"/>
                    </a:lnTo>
                    <a:lnTo>
                      <a:pt x="977" y="138"/>
                    </a:lnTo>
                    <a:lnTo>
                      <a:pt x="988" y="154"/>
                    </a:lnTo>
                    <a:lnTo>
                      <a:pt x="987" y="157"/>
                    </a:lnTo>
                    <a:lnTo>
                      <a:pt x="984" y="161"/>
                    </a:lnTo>
                    <a:lnTo>
                      <a:pt x="979" y="164"/>
                    </a:lnTo>
                    <a:lnTo>
                      <a:pt x="975" y="169"/>
                    </a:lnTo>
                    <a:lnTo>
                      <a:pt x="964" y="176"/>
                    </a:lnTo>
                    <a:lnTo>
                      <a:pt x="955" y="184"/>
                    </a:lnTo>
                    <a:lnTo>
                      <a:pt x="952" y="188"/>
                    </a:lnTo>
                    <a:lnTo>
                      <a:pt x="951" y="196"/>
                    </a:lnTo>
                    <a:lnTo>
                      <a:pt x="949" y="204"/>
                    </a:lnTo>
                    <a:lnTo>
                      <a:pt x="949" y="214"/>
                    </a:lnTo>
                    <a:lnTo>
                      <a:pt x="951" y="225"/>
                    </a:lnTo>
                    <a:lnTo>
                      <a:pt x="952" y="235"/>
                    </a:lnTo>
                    <a:lnTo>
                      <a:pt x="954" y="246"/>
                    </a:lnTo>
                    <a:lnTo>
                      <a:pt x="957" y="257"/>
                    </a:lnTo>
                    <a:lnTo>
                      <a:pt x="964" y="279"/>
                    </a:lnTo>
                    <a:lnTo>
                      <a:pt x="971" y="296"/>
                    </a:lnTo>
                    <a:lnTo>
                      <a:pt x="975" y="303"/>
                    </a:lnTo>
                    <a:lnTo>
                      <a:pt x="978" y="308"/>
                    </a:lnTo>
                    <a:lnTo>
                      <a:pt x="982" y="311"/>
                    </a:lnTo>
                    <a:lnTo>
                      <a:pt x="984" y="311"/>
                    </a:lnTo>
                    <a:lnTo>
                      <a:pt x="1001" y="308"/>
                    </a:lnTo>
                    <a:lnTo>
                      <a:pt x="1014" y="304"/>
                    </a:lnTo>
                    <a:lnTo>
                      <a:pt x="1020" y="303"/>
                    </a:lnTo>
                    <a:lnTo>
                      <a:pt x="1028" y="303"/>
                    </a:lnTo>
                    <a:lnTo>
                      <a:pt x="1035" y="303"/>
                    </a:lnTo>
                    <a:lnTo>
                      <a:pt x="1044" y="305"/>
                    </a:lnTo>
                    <a:lnTo>
                      <a:pt x="1058" y="305"/>
                    </a:lnTo>
                    <a:lnTo>
                      <a:pt x="1076" y="305"/>
                    </a:lnTo>
                    <a:lnTo>
                      <a:pt x="1084" y="305"/>
                    </a:lnTo>
                    <a:lnTo>
                      <a:pt x="1090" y="306"/>
                    </a:lnTo>
                    <a:lnTo>
                      <a:pt x="1091" y="308"/>
                    </a:lnTo>
                    <a:lnTo>
                      <a:pt x="1093" y="309"/>
                    </a:lnTo>
                    <a:lnTo>
                      <a:pt x="1091" y="311"/>
                    </a:lnTo>
                    <a:lnTo>
                      <a:pt x="1090" y="314"/>
                    </a:lnTo>
                    <a:lnTo>
                      <a:pt x="1071" y="339"/>
                    </a:lnTo>
                    <a:lnTo>
                      <a:pt x="1050" y="364"/>
                    </a:lnTo>
                    <a:lnTo>
                      <a:pt x="1041" y="377"/>
                    </a:lnTo>
                    <a:lnTo>
                      <a:pt x="1031" y="392"/>
                    </a:lnTo>
                    <a:lnTo>
                      <a:pt x="1024" y="406"/>
                    </a:lnTo>
                    <a:lnTo>
                      <a:pt x="1018" y="421"/>
                    </a:lnTo>
                    <a:lnTo>
                      <a:pt x="1016" y="427"/>
                    </a:lnTo>
                    <a:lnTo>
                      <a:pt x="1012" y="432"/>
                    </a:lnTo>
                    <a:lnTo>
                      <a:pt x="1008" y="434"/>
                    </a:lnTo>
                    <a:lnTo>
                      <a:pt x="1004" y="435"/>
                    </a:lnTo>
                    <a:lnTo>
                      <a:pt x="999" y="436"/>
                    </a:lnTo>
                    <a:lnTo>
                      <a:pt x="993" y="435"/>
                    </a:lnTo>
                    <a:lnTo>
                      <a:pt x="988" y="434"/>
                    </a:lnTo>
                    <a:lnTo>
                      <a:pt x="982" y="432"/>
                    </a:lnTo>
                    <a:lnTo>
                      <a:pt x="958" y="417"/>
                    </a:lnTo>
                    <a:lnTo>
                      <a:pt x="937" y="405"/>
                    </a:lnTo>
                    <a:lnTo>
                      <a:pt x="928" y="400"/>
                    </a:lnTo>
                    <a:lnTo>
                      <a:pt x="918" y="395"/>
                    </a:lnTo>
                    <a:lnTo>
                      <a:pt x="908" y="392"/>
                    </a:lnTo>
                    <a:lnTo>
                      <a:pt x="899" y="389"/>
                    </a:lnTo>
                    <a:lnTo>
                      <a:pt x="880" y="386"/>
                    </a:lnTo>
                    <a:lnTo>
                      <a:pt x="860" y="383"/>
                    </a:lnTo>
                    <a:lnTo>
                      <a:pt x="821" y="382"/>
                    </a:lnTo>
                    <a:lnTo>
                      <a:pt x="780" y="382"/>
                    </a:lnTo>
                    <a:lnTo>
                      <a:pt x="774" y="383"/>
                    </a:lnTo>
                    <a:lnTo>
                      <a:pt x="768" y="386"/>
                    </a:lnTo>
                    <a:lnTo>
                      <a:pt x="760" y="389"/>
                    </a:lnTo>
                    <a:lnTo>
                      <a:pt x="754" y="393"/>
                    </a:lnTo>
                    <a:lnTo>
                      <a:pt x="750" y="398"/>
                    </a:lnTo>
                    <a:lnTo>
                      <a:pt x="748" y="401"/>
                    </a:lnTo>
                    <a:lnTo>
                      <a:pt x="748" y="404"/>
                    </a:lnTo>
                    <a:lnTo>
                      <a:pt x="750" y="406"/>
                    </a:lnTo>
                    <a:lnTo>
                      <a:pt x="752" y="407"/>
                    </a:lnTo>
                    <a:lnTo>
                      <a:pt x="756" y="409"/>
                    </a:lnTo>
                    <a:lnTo>
                      <a:pt x="775" y="415"/>
                    </a:lnTo>
                    <a:lnTo>
                      <a:pt x="792" y="420"/>
                    </a:lnTo>
                    <a:lnTo>
                      <a:pt x="809" y="422"/>
                    </a:lnTo>
                    <a:lnTo>
                      <a:pt x="828" y="426"/>
                    </a:lnTo>
                    <a:lnTo>
                      <a:pt x="852" y="4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35"/>
              <p:cNvSpPr>
                <a:spLocks/>
              </p:cNvSpPr>
              <p:nvPr/>
            </p:nvSpPr>
            <p:spPr bwMode="auto">
              <a:xfrm>
                <a:off x="3603626" y="6938963"/>
                <a:ext cx="206375" cy="144463"/>
              </a:xfrm>
              <a:custGeom>
                <a:avLst/>
                <a:gdLst>
                  <a:gd name="T0" fmla="*/ 336 w 517"/>
                  <a:gd name="T1" fmla="*/ 258 h 366"/>
                  <a:gd name="T2" fmla="*/ 300 w 517"/>
                  <a:gd name="T3" fmla="*/ 245 h 366"/>
                  <a:gd name="T4" fmla="*/ 285 w 517"/>
                  <a:gd name="T5" fmla="*/ 251 h 366"/>
                  <a:gd name="T6" fmla="*/ 271 w 517"/>
                  <a:gd name="T7" fmla="*/ 242 h 366"/>
                  <a:gd name="T8" fmla="*/ 260 w 517"/>
                  <a:gd name="T9" fmla="*/ 201 h 366"/>
                  <a:gd name="T10" fmla="*/ 247 w 517"/>
                  <a:gd name="T11" fmla="*/ 218 h 366"/>
                  <a:gd name="T12" fmla="*/ 229 w 517"/>
                  <a:gd name="T13" fmla="*/ 264 h 366"/>
                  <a:gd name="T14" fmla="*/ 231 w 517"/>
                  <a:gd name="T15" fmla="*/ 296 h 366"/>
                  <a:gd name="T16" fmla="*/ 213 w 517"/>
                  <a:gd name="T17" fmla="*/ 308 h 366"/>
                  <a:gd name="T18" fmla="*/ 178 w 517"/>
                  <a:gd name="T19" fmla="*/ 303 h 366"/>
                  <a:gd name="T20" fmla="*/ 158 w 517"/>
                  <a:gd name="T21" fmla="*/ 307 h 366"/>
                  <a:gd name="T22" fmla="*/ 156 w 517"/>
                  <a:gd name="T23" fmla="*/ 351 h 366"/>
                  <a:gd name="T24" fmla="*/ 138 w 517"/>
                  <a:gd name="T25" fmla="*/ 354 h 366"/>
                  <a:gd name="T26" fmla="*/ 95 w 517"/>
                  <a:gd name="T27" fmla="*/ 311 h 366"/>
                  <a:gd name="T28" fmla="*/ 76 w 517"/>
                  <a:gd name="T29" fmla="*/ 289 h 366"/>
                  <a:gd name="T30" fmla="*/ 61 w 517"/>
                  <a:gd name="T31" fmla="*/ 264 h 366"/>
                  <a:gd name="T32" fmla="*/ 26 w 517"/>
                  <a:gd name="T33" fmla="*/ 246 h 366"/>
                  <a:gd name="T34" fmla="*/ 6 w 517"/>
                  <a:gd name="T35" fmla="*/ 230 h 366"/>
                  <a:gd name="T36" fmla="*/ 0 w 517"/>
                  <a:gd name="T37" fmla="*/ 202 h 366"/>
                  <a:gd name="T38" fmla="*/ 18 w 517"/>
                  <a:gd name="T39" fmla="*/ 195 h 366"/>
                  <a:gd name="T40" fmla="*/ 93 w 517"/>
                  <a:gd name="T41" fmla="*/ 210 h 366"/>
                  <a:gd name="T42" fmla="*/ 112 w 517"/>
                  <a:gd name="T43" fmla="*/ 213 h 366"/>
                  <a:gd name="T44" fmla="*/ 99 w 517"/>
                  <a:gd name="T45" fmla="*/ 186 h 366"/>
                  <a:gd name="T46" fmla="*/ 66 w 517"/>
                  <a:gd name="T47" fmla="*/ 151 h 366"/>
                  <a:gd name="T48" fmla="*/ 58 w 517"/>
                  <a:gd name="T49" fmla="*/ 134 h 366"/>
                  <a:gd name="T50" fmla="*/ 69 w 517"/>
                  <a:gd name="T51" fmla="*/ 126 h 366"/>
                  <a:gd name="T52" fmla="*/ 117 w 517"/>
                  <a:gd name="T53" fmla="*/ 128 h 366"/>
                  <a:gd name="T54" fmla="*/ 155 w 517"/>
                  <a:gd name="T55" fmla="*/ 132 h 366"/>
                  <a:gd name="T56" fmla="*/ 143 w 517"/>
                  <a:gd name="T57" fmla="*/ 92 h 366"/>
                  <a:gd name="T58" fmla="*/ 165 w 517"/>
                  <a:gd name="T59" fmla="*/ 108 h 366"/>
                  <a:gd name="T60" fmla="*/ 186 w 517"/>
                  <a:gd name="T61" fmla="*/ 134 h 366"/>
                  <a:gd name="T62" fmla="*/ 189 w 517"/>
                  <a:gd name="T63" fmla="*/ 119 h 366"/>
                  <a:gd name="T64" fmla="*/ 188 w 517"/>
                  <a:gd name="T65" fmla="*/ 73 h 366"/>
                  <a:gd name="T66" fmla="*/ 180 w 517"/>
                  <a:gd name="T67" fmla="*/ 42 h 366"/>
                  <a:gd name="T68" fmla="*/ 185 w 517"/>
                  <a:gd name="T69" fmla="*/ 23 h 366"/>
                  <a:gd name="T70" fmla="*/ 217 w 517"/>
                  <a:gd name="T71" fmla="*/ 23 h 366"/>
                  <a:gd name="T72" fmla="*/ 232 w 517"/>
                  <a:gd name="T73" fmla="*/ 29 h 366"/>
                  <a:gd name="T74" fmla="*/ 247 w 517"/>
                  <a:gd name="T75" fmla="*/ 9 h 366"/>
                  <a:gd name="T76" fmla="*/ 256 w 517"/>
                  <a:gd name="T77" fmla="*/ 0 h 366"/>
                  <a:gd name="T78" fmla="*/ 283 w 517"/>
                  <a:gd name="T79" fmla="*/ 9 h 366"/>
                  <a:gd name="T80" fmla="*/ 289 w 517"/>
                  <a:gd name="T81" fmla="*/ 21 h 366"/>
                  <a:gd name="T82" fmla="*/ 300 w 517"/>
                  <a:gd name="T83" fmla="*/ 77 h 366"/>
                  <a:gd name="T84" fmla="*/ 326 w 517"/>
                  <a:gd name="T85" fmla="*/ 94 h 366"/>
                  <a:gd name="T86" fmla="*/ 351 w 517"/>
                  <a:gd name="T87" fmla="*/ 62 h 366"/>
                  <a:gd name="T88" fmla="*/ 373 w 517"/>
                  <a:gd name="T89" fmla="*/ 45 h 366"/>
                  <a:gd name="T90" fmla="*/ 386 w 517"/>
                  <a:gd name="T91" fmla="*/ 57 h 366"/>
                  <a:gd name="T92" fmla="*/ 399 w 517"/>
                  <a:gd name="T93" fmla="*/ 68 h 366"/>
                  <a:gd name="T94" fmla="*/ 442 w 517"/>
                  <a:gd name="T95" fmla="*/ 62 h 366"/>
                  <a:gd name="T96" fmla="*/ 444 w 517"/>
                  <a:gd name="T97" fmla="*/ 73 h 366"/>
                  <a:gd name="T98" fmla="*/ 424 w 517"/>
                  <a:gd name="T99" fmla="*/ 139 h 366"/>
                  <a:gd name="T100" fmla="*/ 434 w 517"/>
                  <a:gd name="T101" fmla="*/ 162 h 366"/>
                  <a:gd name="T102" fmla="*/ 464 w 517"/>
                  <a:gd name="T103" fmla="*/ 133 h 366"/>
                  <a:gd name="T104" fmla="*/ 503 w 517"/>
                  <a:gd name="T105" fmla="*/ 92 h 366"/>
                  <a:gd name="T106" fmla="*/ 514 w 517"/>
                  <a:gd name="T107" fmla="*/ 94 h 366"/>
                  <a:gd name="T108" fmla="*/ 513 w 517"/>
                  <a:gd name="T109" fmla="*/ 138 h 366"/>
                  <a:gd name="T110" fmla="*/ 490 w 517"/>
                  <a:gd name="T111" fmla="*/ 189 h 366"/>
                  <a:gd name="T112" fmla="*/ 472 w 517"/>
                  <a:gd name="T113" fmla="*/ 210 h 366"/>
                  <a:gd name="T114" fmla="*/ 450 w 517"/>
                  <a:gd name="T115" fmla="*/ 212 h 366"/>
                  <a:gd name="T116" fmla="*/ 385 w 517"/>
                  <a:gd name="T117" fmla="*/ 171 h 366"/>
                  <a:gd name="T118" fmla="*/ 365 w 517"/>
                  <a:gd name="T119" fmla="*/ 189 h 366"/>
                  <a:gd name="T120" fmla="*/ 372 w 517"/>
                  <a:gd name="T121" fmla="*/ 222 h 366"/>
                  <a:gd name="T122" fmla="*/ 360 w 517"/>
                  <a:gd name="T123" fmla="*/ 24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7" h="366">
                    <a:moveTo>
                      <a:pt x="344" y="256"/>
                    </a:moveTo>
                    <a:lnTo>
                      <a:pt x="345" y="257"/>
                    </a:lnTo>
                    <a:lnTo>
                      <a:pt x="345" y="260"/>
                    </a:lnTo>
                    <a:lnTo>
                      <a:pt x="336" y="258"/>
                    </a:lnTo>
                    <a:lnTo>
                      <a:pt x="326" y="255"/>
                    </a:lnTo>
                    <a:lnTo>
                      <a:pt x="315" y="251"/>
                    </a:lnTo>
                    <a:lnTo>
                      <a:pt x="306" y="248"/>
                    </a:lnTo>
                    <a:lnTo>
                      <a:pt x="300" y="245"/>
                    </a:lnTo>
                    <a:lnTo>
                      <a:pt x="295" y="246"/>
                    </a:lnTo>
                    <a:lnTo>
                      <a:pt x="291" y="248"/>
                    </a:lnTo>
                    <a:lnTo>
                      <a:pt x="289" y="249"/>
                    </a:lnTo>
                    <a:lnTo>
                      <a:pt x="285" y="251"/>
                    </a:lnTo>
                    <a:lnTo>
                      <a:pt x="283" y="254"/>
                    </a:lnTo>
                    <a:lnTo>
                      <a:pt x="278" y="255"/>
                    </a:lnTo>
                    <a:lnTo>
                      <a:pt x="273" y="256"/>
                    </a:lnTo>
                    <a:lnTo>
                      <a:pt x="271" y="242"/>
                    </a:lnTo>
                    <a:lnTo>
                      <a:pt x="267" y="221"/>
                    </a:lnTo>
                    <a:lnTo>
                      <a:pt x="265" y="210"/>
                    </a:lnTo>
                    <a:lnTo>
                      <a:pt x="261" y="203"/>
                    </a:lnTo>
                    <a:lnTo>
                      <a:pt x="260" y="201"/>
                    </a:lnTo>
                    <a:lnTo>
                      <a:pt x="259" y="201"/>
                    </a:lnTo>
                    <a:lnTo>
                      <a:pt x="256" y="201"/>
                    </a:lnTo>
                    <a:lnTo>
                      <a:pt x="255" y="203"/>
                    </a:lnTo>
                    <a:lnTo>
                      <a:pt x="247" y="218"/>
                    </a:lnTo>
                    <a:lnTo>
                      <a:pt x="237" y="236"/>
                    </a:lnTo>
                    <a:lnTo>
                      <a:pt x="233" y="245"/>
                    </a:lnTo>
                    <a:lnTo>
                      <a:pt x="230" y="255"/>
                    </a:lnTo>
                    <a:lnTo>
                      <a:pt x="229" y="264"/>
                    </a:lnTo>
                    <a:lnTo>
                      <a:pt x="229" y="273"/>
                    </a:lnTo>
                    <a:lnTo>
                      <a:pt x="231" y="281"/>
                    </a:lnTo>
                    <a:lnTo>
                      <a:pt x="231" y="291"/>
                    </a:lnTo>
                    <a:lnTo>
                      <a:pt x="231" y="296"/>
                    </a:lnTo>
                    <a:lnTo>
                      <a:pt x="229" y="299"/>
                    </a:lnTo>
                    <a:lnTo>
                      <a:pt x="225" y="303"/>
                    </a:lnTo>
                    <a:lnTo>
                      <a:pt x="220" y="305"/>
                    </a:lnTo>
                    <a:lnTo>
                      <a:pt x="213" y="308"/>
                    </a:lnTo>
                    <a:lnTo>
                      <a:pt x="206" y="308"/>
                    </a:lnTo>
                    <a:lnTo>
                      <a:pt x="200" y="308"/>
                    </a:lnTo>
                    <a:lnTo>
                      <a:pt x="192" y="305"/>
                    </a:lnTo>
                    <a:lnTo>
                      <a:pt x="178" y="303"/>
                    </a:lnTo>
                    <a:lnTo>
                      <a:pt x="164" y="302"/>
                    </a:lnTo>
                    <a:lnTo>
                      <a:pt x="161" y="302"/>
                    </a:lnTo>
                    <a:lnTo>
                      <a:pt x="160" y="304"/>
                    </a:lnTo>
                    <a:lnTo>
                      <a:pt x="158" y="307"/>
                    </a:lnTo>
                    <a:lnTo>
                      <a:pt x="156" y="310"/>
                    </a:lnTo>
                    <a:lnTo>
                      <a:pt x="155" y="319"/>
                    </a:lnTo>
                    <a:lnTo>
                      <a:pt x="155" y="329"/>
                    </a:lnTo>
                    <a:lnTo>
                      <a:pt x="156" y="351"/>
                    </a:lnTo>
                    <a:lnTo>
                      <a:pt x="158" y="366"/>
                    </a:lnTo>
                    <a:lnTo>
                      <a:pt x="153" y="363"/>
                    </a:lnTo>
                    <a:lnTo>
                      <a:pt x="146" y="360"/>
                    </a:lnTo>
                    <a:lnTo>
                      <a:pt x="138" y="354"/>
                    </a:lnTo>
                    <a:lnTo>
                      <a:pt x="131" y="346"/>
                    </a:lnTo>
                    <a:lnTo>
                      <a:pt x="115" y="332"/>
                    </a:lnTo>
                    <a:lnTo>
                      <a:pt x="106" y="321"/>
                    </a:lnTo>
                    <a:lnTo>
                      <a:pt x="95" y="311"/>
                    </a:lnTo>
                    <a:lnTo>
                      <a:pt x="85" y="303"/>
                    </a:lnTo>
                    <a:lnTo>
                      <a:pt x="82" y="299"/>
                    </a:lnTo>
                    <a:lnTo>
                      <a:pt x="79" y="295"/>
                    </a:lnTo>
                    <a:lnTo>
                      <a:pt x="76" y="289"/>
                    </a:lnTo>
                    <a:lnTo>
                      <a:pt x="72" y="280"/>
                    </a:lnTo>
                    <a:lnTo>
                      <a:pt x="70" y="274"/>
                    </a:lnTo>
                    <a:lnTo>
                      <a:pt x="66" y="268"/>
                    </a:lnTo>
                    <a:lnTo>
                      <a:pt x="61" y="264"/>
                    </a:lnTo>
                    <a:lnTo>
                      <a:pt x="56" y="260"/>
                    </a:lnTo>
                    <a:lnTo>
                      <a:pt x="46" y="254"/>
                    </a:lnTo>
                    <a:lnTo>
                      <a:pt x="32" y="249"/>
                    </a:lnTo>
                    <a:lnTo>
                      <a:pt x="26" y="246"/>
                    </a:lnTo>
                    <a:lnTo>
                      <a:pt x="22" y="243"/>
                    </a:lnTo>
                    <a:lnTo>
                      <a:pt x="16" y="239"/>
                    </a:lnTo>
                    <a:lnTo>
                      <a:pt x="11" y="234"/>
                    </a:lnTo>
                    <a:lnTo>
                      <a:pt x="6" y="230"/>
                    </a:lnTo>
                    <a:lnTo>
                      <a:pt x="4" y="222"/>
                    </a:lnTo>
                    <a:lnTo>
                      <a:pt x="1" y="215"/>
                    </a:lnTo>
                    <a:lnTo>
                      <a:pt x="0" y="205"/>
                    </a:lnTo>
                    <a:lnTo>
                      <a:pt x="0" y="202"/>
                    </a:lnTo>
                    <a:lnTo>
                      <a:pt x="1" y="198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8" y="195"/>
                    </a:lnTo>
                    <a:lnTo>
                      <a:pt x="30" y="196"/>
                    </a:lnTo>
                    <a:lnTo>
                      <a:pt x="55" y="202"/>
                    </a:lnTo>
                    <a:lnTo>
                      <a:pt x="72" y="204"/>
                    </a:lnTo>
                    <a:lnTo>
                      <a:pt x="93" y="210"/>
                    </a:lnTo>
                    <a:lnTo>
                      <a:pt x="108" y="216"/>
                    </a:lnTo>
                    <a:lnTo>
                      <a:pt x="109" y="216"/>
                    </a:lnTo>
                    <a:lnTo>
                      <a:pt x="111" y="215"/>
                    </a:lnTo>
                    <a:lnTo>
                      <a:pt x="112" y="213"/>
                    </a:lnTo>
                    <a:lnTo>
                      <a:pt x="112" y="212"/>
                    </a:lnTo>
                    <a:lnTo>
                      <a:pt x="109" y="205"/>
                    </a:lnTo>
                    <a:lnTo>
                      <a:pt x="107" y="198"/>
                    </a:lnTo>
                    <a:lnTo>
                      <a:pt x="99" y="186"/>
                    </a:lnTo>
                    <a:lnTo>
                      <a:pt x="93" y="178"/>
                    </a:lnTo>
                    <a:lnTo>
                      <a:pt x="84" y="168"/>
                    </a:lnTo>
                    <a:lnTo>
                      <a:pt x="72" y="157"/>
                    </a:lnTo>
                    <a:lnTo>
                      <a:pt x="66" y="151"/>
                    </a:lnTo>
                    <a:lnTo>
                      <a:pt x="61" y="147"/>
                    </a:lnTo>
                    <a:lnTo>
                      <a:pt x="58" y="142"/>
                    </a:lnTo>
                    <a:lnTo>
                      <a:pt x="56" y="138"/>
                    </a:lnTo>
                    <a:lnTo>
                      <a:pt x="58" y="134"/>
                    </a:lnTo>
                    <a:lnTo>
                      <a:pt x="59" y="132"/>
                    </a:lnTo>
                    <a:lnTo>
                      <a:pt x="60" y="131"/>
                    </a:lnTo>
                    <a:lnTo>
                      <a:pt x="63" y="128"/>
                    </a:lnTo>
                    <a:lnTo>
                      <a:pt x="69" y="126"/>
                    </a:lnTo>
                    <a:lnTo>
                      <a:pt x="76" y="125"/>
                    </a:lnTo>
                    <a:lnTo>
                      <a:pt x="91" y="124"/>
                    </a:lnTo>
                    <a:lnTo>
                      <a:pt x="103" y="125"/>
                    </a:lnTo>
                    <a:lnTo>
                      <a:pt x="117" y="128"/>
                    </a:lnTo>
                    <a:lnTo>
                      <a:pt x="129" y="133"/>
                    </a:lnTo>
                    <a:lnTo>
                      <a:pt x="141" y="137"/>
                    </a:lnTo>
                    <a:lnTo>
                      <a:pt x="154" y="138"/>
                    </a:lnTo>
                    <a:lnTo>
                      <a:pt x="155" y="132"/>
                    </a:lnTo>
                    <a:lnTo>
                      <a:pt x="155" y="126"/>
                    </a:lnTo>
                    <a:lnTo>
                      <a:pt x="149" y="114"/>
                    </a:lnTo>
                    <a:lnTo>
                      <a:pt x="143" y="98"/>
                    </a:lnTo>
                    <a:lnTo>
                      <a:pt x="143" y="92"/>
                    </a:lnTo>
                    <a:lnTo>
                      <a:pt x="148" y="94"/>
                    </a:lnTo>
                    <a:lnTo>
                      <a:pt x="153" y="97"/>
                    </a:lnTo>
                    <a:lnTo>
                      <a:pt x="159" y="102"/>
                    </a:lnTo>
                    <a:lnTo>
                      <a:pt x="165" y="108"/>
                    </a:lnTo>
                    <a:lnTo>
                      <a:pt x="176" y="121"/>
                    </a:lnTo>
                    <a:lnTo>
                      <a:pt x="183" y="131"/>
                    </a:lnTo>
                    <a:lnTo>
                      <a:pt x="184" y="133"/>
                    </a:lnTo>
                    <a:lnTo>
                      <a:pt x="186" y="134"/>
                    </a:lnTo>
                    <a:lnTo>
                      <a:pt x="186" y="133"/>
                    </a:lnTo>
                    <a:lnTo>
                      <a:pt x="188" y="132"/>
                    </a:lnTo>
                    <a:lnTo>
                      <a:pt x="189" y="127"/>
                    </a:lnTo>
                    <a:lnTo>
                      <a:pt x="189" y="119"/>
                    </a:lnTo>
                    <a:lnTo>
                      <a:pt x="188" y="102"/>
                    </a:lnTo>
                    <a:lnTo>
                      <a:pt x="188" y="94"/>
                    </a:lnTo>
                    <a:lnTo>
                      <a:pt x="188" y="83"/>
                    </a:lnTo>
                    <a:lnTo>
                      <a:pt x="188" y="73"/>
                    </a:lnTo>
                    <a:lnTo>
                      <a:pt x="186" y="63"/>
                    </a:lnTo>
                    <a:lnTo>
                      <a:pt x="184" y="54"/>
                    </a:lnTo>
                    <a:lnTo>
                      <a:pt x="182" y="48"/>
                    </a:lnTo>
                    <a:lnTo>
                      <a:pt x="180" y="42"/>
                    </a:lnTo>
                    <a:lnTo>
                      <a:pt x="179" y="36"/>
                    </a:lnTo>
                    <a:lnTo>
                      <a:pt x="179" y="31"/>
                    </a:lnTo>
                    <a:lnTo>
                      <a:pt x="182" y="26"/>
                    </a:lnTo>
                    <a:lnTo>
                      <a:pt x="185" y="23"/>
                    </a:lnTo>
                    <a:lnTo>
                      <a:pt x="191" y="20"/>
                    </a:lnTo>
                    <a:lnTo>
                      <a:pt x="200" y="19"/>
                    </a:lnTo>
                    <a:lnTo>
                      <a:pt x="209" y="20"/>
                    </a:lnTo>
                    <a:lnTo>
                      <a:pt x="217" y="23"/>
                    </a:lnTo>
                    <a:lnTo>
                      <a:pt x="221" y="25"/>
                    </a:lnTo>
                    <a:lnTo>
                      <a:pt x="227" y="27"/>
                    </a:lnTo>
                    <a:lnTo>
                      <a:pt x="230" y="29"/>
                    </a:lnTo>
                    <a:lnTo>
                      <a:pt x="232" y="29"/>
                    </a:lnTo>
                    <a:lnTo>
                      <a:pt x="233" y="27"/>
                    </a:lnTo>
                    <a:lnTo>
                      <a:pt x="236" y="26"/>
                    </a:lnTo>
                    <a:lnTo>
                      <a:pt x="241" y="20"/>
                    </a:lnTo>
                    <a:lnTo>
                      <a:pt x="247" y="9"/>
                    </a:lnTo>
                    <a:lnTo>
                      <a:pt x="249" y="6"/>
                    </a:lnTo>
                    <a:lnTo>
                      <a:pt x="251" y="2"/>
                    </a:lnTo>
                    <a:lnTo>
                      <a:pt x="254" y="1"/>
                    </a:lnTo>
                    <a:lnTo>
                      <a:pt x="256" y="0"/>
                    </a:lnTo>
                    <a:lnTo>
                      <a:pt x="261" y="1"/>
                    </a:lnTo>
                    <a:lnTo>
                      <a:pt x="270" y="5"/>
                    </a:lnTo>
                    <a:lnTo>
                      <a:pt x="277" y="7"/>
                    </a:lnTo>
                    <a:lnTo>
                      <a:pt x="283" y="9"/>
                    </a:lnTo>
                    <a:lnTo>
                      <a:pt x="285" y="11"/>
                    </a:lnTo>
                    <a:lnTo>
                      <a:pt x="286" y="13"/>
                    </a:lnTo>
                    <a:lnTo>
                      <a:pt x="289" y="17"/>
                    </a:lnTo>
                    <a:lnTo>
                      <a:pt x="289" y="21"/>
                    </a:lnTo>
                    <a:lnTo>
                      <a:pt x="291" y="35"/>
                    </a:lnTo>
                    <a:lnTo>
                      <a:pt x="295" y="48"/>
                    </a:lnTo>
                    <a:lnTo>
                      <a:pt x="298" y="62"/>
                    </a:lnTo>
                    <a:lnTo>
                      <a:pt x="300" y="77"/>
                    </a:lnTo>
                    <a:lnTo>
                      <a:pt x="309" y="84"/>
                    </a:lnTo>
                    <a:lnTo>
                      <a:pt x="318" y="91"/>
                    </a:lnTo>
                    <a:lnTo>
                      <a:pt x="322" y="94"/>
                    </a:lnTo>
                    <a:lnTo>
                      <a:pt x="326" y="94"/>
                    </a:lnTo>
                    <a:lnTo>
                      <a:pt x="331" y="92"/>
                    </a:lnTo>
                    <a:lnTo>
                      <a:pt x="336" y="88"/>
                    </a:lnTo>
                    <a:lnTo>
                      <a:pt x="343" y="76"/>
                    </a:lnTo>
                    <a:lnTo>
                      <a:pt x="351" y="62"/>
                    </a:lnTo>
                    <a:lnTo>
                      <a:pt x="359" y="53"/>
                    </a:lnTo>
                    <a:lnTo>
                      <a:pt x="365" y="44"/>
                    </a:lnTo>
                    <a:lnTo>
                      <a:pt x="369" y="44"/>
                    </a:lnTo>
                    <a:lnTo>
                      <a:pt x="373" y="45"/>
                    </a:lnTo>
                    <a:lnTo>
                      <a:pt x="375" y="48"/>
                    </a:lnTo>
                    <a:lnTo>
                      <a:pt x="378" y="49"/>
                    </a:lnTo>
                    <a:lnTo>
                      <a:pt x="381" y="54"/>
                    </a:lnTo>
                    <a:lnTo>
                      <a:pt x="386" y="57"/>
                    </a:lnTo>
                    <a:lnTo>
                      <a:pt x="389" y="62"/>
                    </a:lnTo>
                    <a:lnTo>
                      <a:pt x="391" y="66"/>
                    </a:lnTo>
                    <a:lnTo>
                      <a:pt x="395" y="67"/>
                    </a:lnTo>
                    <a:lnTo>
                      <a:pt x="399" y="68"/>
                    </a:lnTo>
                    <a:lnTo>
                      <a:pt x="410" y="67"/>
                    </a:lnTo>
                    <a:lnTo>
                      <a:pt x="422" y="65"/>
                    </a:lnTo>
                    <a:lnTo>
                      <a:pt x="433" y="62"/>
                    </a:lnTo>
                    <a:lnTo>
                      <a:pt x="442" y="62"/>
                    </a:lnTo>
                    <a:lnTo>
                      <a:pt x="444" y="63"/>
                    </a:lnTo>
                    <a:lnTo>
                      <a:pt x="445" y="65"/>
                    </a:lnTo>
                    <a:lnTo>
                      <a:pt x="445" y="68"/>
                    </a:lnTo>
                    <a:lnTo>
                      <a:pt x="444" y="73"/>
                    </a:lnTo>
                    <a:lnTo>
                      <a:pt x="434" y="96"/>
                    </a:lnTo>
                    <a:lnTo>
                      <a:pt x="427" y="118"/>
                    </a:lnTo>
                    <a:lnTo>
                      <a:pt x="425" y="127"/>
                    </a:lnTo>
                    <a:lnTo>
                      <a:pt x="424" y="139"/>
                    </a:lnTo>
                    <a:lnTo>
                      <a:pt x="425" y="150"/>
                    </a:lnTo>
                    <a:lnTo>
                      <a:pt x="427" y="163"/>
                    </a:lnTo>
                    <a:lnTo>
                      <a:pt x="431" y="163"/>
                    </a:lnTo>
                    <a:lnTo>
                      <a:pt x="434" y="162"/>
                    </a:lnTo>
                    <a:lnTo>
                      <a:pt x="439" y="160"/>
                    </a:lnTo>
                    <a:lnTo>
                      <a:pt x="444" y="155"/>
                    </a:lnTo>
                    <a:lnTo>
                      <a:pt x="455" y="145"/>
                    </a:lnTo>
                    <a:lnTo>
                      <a:pt x="464" y="133"/>
                    </a:lnTo>
                    <a:lnTo>
                      <a:pt x="475" y="120"/>
                    </a:lnTo>
                    <a:lnTo>
                      <a:pt x="486" y="108"/>
                    </a:lnTo>
                    <a:lnTo>
                      <a:pt x="496" y="98"/>
                    </a:lnTo>
                    <a:lnTo>
                      <a:pt x="503" y="92"/>
                    </a:lnTo>
                    <a:lnTo>
                      <a:pt x="508" y="91"/>
                    </a:lnTo>
                    <a:lnTo>
                      <a:pt x="510" y="91"/>
                    </a:lnTo>
                    <a:lnTo>
                      <a:pt x="513" y="91"/>
                    </a:lnTo>
                    <a:lnTo>
                      <a:pt x="514" y="94"/>
                    </a:lnTo>
                    <a:lnTo>
                      <a:pt x="516" y="100"/>
                    </a:lnTo>
                    <a:lnTo>
                      <a:pt x="517" y="108"/>
                    </a:lnTo>
                    <a:lnTo>
                      <a:pt x="515" y="125"/>
                    </a:lnTo>
                    <a:lnTo>
                      <a:pt x="513" y="138"/>
                    </a:lnTo>
                    <a:lnTo>
                      <a:pt x="509" y="147"/>
                    </a:lnTo>
                    <a:lnTo>
                      <a:pt x="504" y="160"/>
                    </a:lnTo>
                    <a:lnTo>
                      <a:pt x="498" y="174"/>
                    </a:lnTo>
                    <a:lnTo>
                      <a:pt x="490" y="189"/>
                    </a:lnTo>
                    <a:lnTo>
                      <a:pt x="485" y="195"/>
                    </a:lnTo>
                    <a:lnTo>
                      <a:pt x="481" y="201"/>
                    </a:lnTo>
                    <a:lnTo>
                      <a:pt x="477" y="207"/>
                    </a:lnTo>
                    <a:lnTo>
                      <a:pt x="472" y="210"/>
                    </a:lnTo>
                    <a:lnTo>
                      <a:pt x="466" y="214"/>
                    </a:lnTo>
                    <a:lnTo>
                      <a:pt x="461" y="215"/>
                    </a:lnTo>
                    <a:lnTo>
                      <a:pt x="456" y="214"/>
                    </a:lnTo>
                    <a:lnTo>
                      <a:pt x="450" y="212"/>
                    </a:lnTo>
                    <a:lnTo>
                      <a:pt x="432" y="199"/>
                    </a:lnTo>
                    <a:lnTo>
                      <a:pt x="409" y="184"/>
                    </a:lnTo>
                    <a:lnTo>
                      <a:pt x="397" y="177"/>
                    </a:lnTo>
                    <a:lnTo>
                      <a:pt x="385" y="171"/>
                    </a:lnTo>
                    <a:lnTo>
                      <a:pt x="374" y="167"/>
                    </a:lnTo>
                    <a:lnTo>
                      <a:pt x="365" y="166"/>
                    </a:lnTo>
                    <a:lnTo>
                      <a:pt x="363" y="178"/>
                    </a:lnTo>
                    <a:lnTo>
                      <a:pt x="365" y="189"/>
                    </a:lnTo>
                    <a:lnTo>
                      <a:pt x="367" y="199"/>
                    </a:lnTo>
                    <a:lnTo>
                      <a:pt x="371" y="212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71" y="227"/>
                    </a:lnTo>
                    <a:lnTo>
                      <a:pt x="368" y="231"/>
                    </a:lnTo>
                    <a:lnTo>
                      <a:pt x="363" y="238"/>
                    </a:lnTo>
                    <a:lnTo>
                      <a:pt x="360" y="246"/>
                    </a:lnTo>
                    <a:lnTo>
                      <a:pt x="344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36"/>
              <p:cNvSpPr>
                <a:spLocks/>
              </p:cNvSpPr>
              <p:nvPr/>
            </p:nvSpPr>
            <p:spPr bwMode="auto">
              <a:xfrm>
                <a:off x="3697288" y="6888163"/>
                <a:ext cx="46038" cy="38100"/>
              </a:xfrm>
              <a:custGeom>
                <a:avLst/>
                <a:gdLst>
                  <a:gd name="T0" fmla="*/ 96 w 115"/>
                  <a:gd name="T1" fmla="*/ 75 h 97"/>
                  <a:gd name="T2" fmla="*/ 102 w 115"/>
                  <a:gd name="T3" fmla="*/ 69 h 97"/>
                  <a:gd name="T4" fmla="*/ 107 w 115"/>
                  <a:gd name="T5" fmla="*/ 61 h 97"/>
                  <a:gd name="T6" fmla="*/ 110 w 115"/>
                  <a:gd name="T7" fmla="*/ 52 h 97"/>
                  <a:gd name="T8" fmla="*/ 113 w 115"/>
                  <a:gd name="T9" fmla="*/ 41 h 97"/>
                  <a:gd name="T10" fmla="*/ 114 w 115"/>
                  <a:gd name="T11" fmla="*/ 20 h 97"/>
                  <a:gd name="T12" fmla="*/ 115 w 115"/>
                  <a:gd name="T13" fmla="*/ 0 h 97"/>
                  <a:gd name="T14" fmla="*/ 112 w 115"/>
                  <a:gd name="T15" fmla="*/ 0 h 97"/>
                  <a:gd name="T16" fmla="*/ 109 w 115"/>
                  <a:gd name="T17" fmla="*/ 9 h 97"/>
                  <a:gd name="T18" fmla="*/ 106 w 115"/>
                  <a:gd name="T19" fmla="*/ 15 h 97"/>
                  <a:gd name="T20" fmla="*/ 102 w 115"/>
                  <a:gd name="T21" fmla="*/ 20 h 97"/>
                  <a:gd name="T22" fmla="*/ 98 w 115"/>
                  <a:gd name="T23" fmla="*/ 24 h 97"/>
                  <a:gd name="T24" fmla="*/ 87 w 115"/>
                  <a:gd name="T25" fmla="*/ 32 h 97"/>
                  <a:gd name="T26" fmla="*/ 73 w 115"/>
                  <a:gd name="T27" fmla="*/ 38 h 97"/>
                  <a:gd name="T28" fmla="*/ 60 w 115"/>
                  <a:gd name="T29" fmla="*/ 44 h 97"/>
                  <a:gd name="T30" fmla="*/ 48 w 115"/>
                  <a:gd name="T31" fmla="*/ 51 h 97"/>
                  <a:gd name="T32" fmla="*/ 36 w 115"/>
                  <a:gd name="T33" fmla="*/ 57 h 97"/>
                  <a:gd name="T34" fmla="*/ 22 w 115"/>
                  <a:gd name="T35" fmla="*/ 62 h 97"/>
                  <a:gd name="T36" fmla="*/ 16 w 115"/>
                  <a:gd name="T37" fmla="*/ 64 h 97"/>
                  <a:gd name="T38" fmla="*/ 7 w 115"/>
                  <a:gd name="T39" fmla="*/ 68 h 97"/>
                  <a:gd name="T40" fmla="*/ 3 w 115"/>
                  <a:gd name="T41" fmla="*/ 71 h 97"/>
                  <a:gd name="T42" fmla="*/ 1 w 115"/>
                  <a:gd name="T43" fmla="*/ 74 h 97"/>
                  <a:gd name="T44" fmla="*/ 0 w 115"/>
                  <a:gd name="T45" fmla="*/ 76 h 97"/>
                  <a:gd name="T46" fmla="*/ 0 w 115"/>
                  <a:gd name="T47" fmla="*/ 79 h 97"/>
                  <a:gd name="T48" fmla="*/ 4 w 115"/>
                  <a:gd name="T49" fmla="*/ 82 h 97"/>
                  <a:gd name="T50" fmla="*/ 9 w 115"/>
                  <a:gd name="T51" fmla="*/ 83 h 97"/>
                  <a:gd name="T52" fmla="*/ 15 w 115"/>
                  <a:gd name="T53" fmla="*/ 85 h 97"/>
                  <a:gd name="T54" fmla="*/ 20 w 115"/>
                  <a:gd name="T55" fmla="*/ 85 h 97"/>
                  <a:gd name="T56" fmla="*/ 27 w 115"/>
                  <a:gd name="T57" fmla="*/ 86 h 97"/>
                  <a:gd name="T58" fmla="*/ 35 w 115"/>
                  <a:gd name="T59" fmla="*/ 88 h 97"/>
                  <a:gd name="T60" fmla="*/ 42 w 115"/>
                  <a:gd name="T61" fmla="*/ 91 h 97"/>
                  <a:gd name="T62" fmla="*/ 48 w 115"/>
                  <a:gd name="T63" fmla="*/ 94 h 97"/>
                  <a:gd name="T64" fmla="*/ 53 w 115"/>
                  <a:gd name="T65" fmla="*/ 95 h 97"/>
                  <a:gd name="T66" fmla="*/ 56 w 115"/>
                  <a:gd name="T67" fmla="*/ 97 h 97"/>
                  <a:gd name="T68" fmla="*/ 60 w 115"/>
                  <a:gd name="T69" fmla="*/ 95 h 97"/>
                  <a:gd name="T70" fmla="*/ 63 w 115"/>
                  <a:gd name="T71" fmla="*/ 95 h 97"/>
                  <a:gd name="T72" fmla="*/ 71 w 115"/>
                  <a:gd name="T73" fmla="*/ 92 h 97"/>
                  <a:gd name="T74" fmla="*/ 80 w 115"/>
                  <a:gd name="T75" fmla="*/ 88 h 97"/>
                  <a:gd name="T76" fmla="*/ 96 w 115"/>
                  <a:gd name="T77" fmla="*/ 75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5" h="97">
                    <a:moveTo>
                      <a:pt x="96" y="75"/>
                    </a:moveTo>
                    <a:lnTo>
                      <a:pt x="102" y="69"/>
                    </a:lnTo>
                    <a:lnTo>
                      <a:pt x="107" y="61"/>
                    </a:lnTo>
                    <a:lnTo>
                      <a:pt x="110" y="52"/>
                    </a:lnTo>
                    <a:lnTo>
                      <a:pt x="113" y="41"/>
                    </a:lnTo>
                    <a:lnTo>
                      <a:pt x="114" y="20"/>
                    </a:lnTo>
                    <a:lnTo>
                      <a:pt x="115" y="0"/>
                    </a:lnTo>
                    <a:lnTo>
                      <a:pt x="112" y="0"/>
                    </a:lnTo>
                    <a:lnTo>
                      <a:pt x="109" y="9"/>
                    </a:lnTo>
                    <a:lnTo>
                      <a:pt x="106" y="15"/>
                    </a:lnTo>
                    <a:lnTo>
                      <a:pt x="102" y="20"/>
                    </a:lnTo>
                    <a:lnTo>
                      <a:pt x="98" y="24"/>
                    </a:lnTo>
                    <a:lnTo>
                      <a:pt x="87" y="32"/>
                    </a:lnTo>
                    <a:lnTo>
                      <a:pt x="73" y="38"/>
                    </a:lnTo>
                    <a:lnTo>
                      <a:pt x="60" y="44"/>
                    </a:lnTo>
                    <a:lnTo>
                      <a:pt x="48" y="51"/>
                    </a:lnTo>
                    <a:lnTo>
                      <a:pt x="36" y="57"/>
                    </a:lnTo>
                    <a:lnTo>
                      <a:pt x="22" y="62"/>
                    </a:lnTo>
                    <a:lnTo>
                      <a:pt x="16" y="64"/>
                    </a:lnTo>
                    <a:lnTo>
                      <a:pt x="7" y="68"/>
                    </a:lnTo>
                    <a:lnTo>
                      <a:pt x="3" y="71"/>
                    </a:lnTo>
                    <a:lnTo>
                      <a:pt x="1" y="74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4" y="82"/>
                    </a:lnTo>
                    <a:lnTo>
                      <a:pt x="9" y="83"/>
                    </a:lnTo>
                    <a:lnTo>
                      <a:pt x="15" y="85"/>
                    </a:lnTo>
                    <a:lnTo>
                      <a:pt x="20" y="85"/>
                    </a:lnTo>
                    <a:lnTo>
                      <a:pt x="27" y="86"/>
                    </a:lnTo>
                    <a:lnTo>
                      <a:pt x="35" y="88"/>
                    </a:lnTo>
                    <a:lnTo>
                      <a:pt x="42" y="91"/>
                    </a:lnTo>
                    <a:lnTo>
                      <a:pt x="48" y="94"/>
                    </a:lnTo>
                    <a:lnTo>
                      <a:pt x="53" y="95"/>
                    </a:lnTo>
                    <a:lnTo>
                      <a:pt x="56" y="97"/>
                    </a:lnTo>
                    <a:lnTo>
                      <a:pt x="60" y="95"/>
                    </a:lnTo>
                    <a:lnTo>
                      <a:pt x="63" y="95"/>
                    </a:lnTo>
                    <a:lnTo>
                      <a:pt x="71" y="92"/>
                    </a:lnTo>
                    <a:lnTo>
                      <a:pt x="80" y="88"/>
                    </a:lnTo>
                    <a:lnTo>
                      <a:pt x="96" y="7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37"/>
              <p:cNvSpPr>
                <a:spLocks/>
              </p:cNvSpPr>
              <p:nvPr/>
            </p:nvSpPr>
            <p:spPr bwMode="auto">
              <a:xfrm>
                <a:off x="3552826" y="6630988"/>
                <a:ext cx="26988" cy="30163"/>
              </a:xfrm>
              <a:custGeom>
                <a:avLst/>
                <a:gdLst>
                  <a:gd name="T0" fmla="*/ 70 w 70"/>
                  <a:gd name="T1" fmla="*/ 37 h 80"/>
                  <a:gd name="T2" fmla="*/ 69 w 70"/>
                  <a:gd name="T3" fmla="*/ 32 h 80"/>
                  <a:gd name="T4" fmla="*/ 69 w 70"/>
                  <a:gd name="T5" fmla="*/ 27 h 80"/>
                  <a:gd name="T6" fmla="*/ 67 w 70"/>
                  <a:gd name="T7" fmla="*/ 22 h 80"/>
                  <a:gd name="T8" fmla="*/ 65 w 70"/>
                  <a:gd name="T9" fmla="*/ 17 h 80"/>
                  <a:gd name="T10" fmla="*/ 60 w 70"/>
                  <a:gd name="T11" fmla="*/ 9 h 80"/>
                  <a:gd name="T12" fmla="*/ 53 w 70"/>
                  <a:gd name="T13" fmla="*/ 2 h 80"/>
                  <a:gd name="T14" fmla="*/ 49 w 70"/>
                  <a:gd name="T15" fmla="*/ 0 h 80"/>
                  <a:gd name="T16" fmla="*/ 44 w 70"/>
                  <a:gd name="T17" fmla="*/ 0 h 80"/>
                  <a:gd name="T18" fmla="*/ 34 w 70"/>
                  <a:gd name="T19" fmla="*/ 7 h 80"/>
                  <a:gd name="T20" fmla="*/ 22 w 70"/>
                  <a:gd name="T21" fmla="*/ 13 h 80"/>
                  <a:gd name="T22" fmla="*/ 16 w 70"/>
                  <a:gd name="T23" fmla="*/ 16 h 80"/>
                  <a:gd name="T24" fmla="*/ 11 w 70"/>
                  <a:gd name="T25" fmla="*/ 21 h 80"/>
                  <a:gd name="T26" fmla="*/ 7 w 70"/>
                  <a:gd name="T27" fmla="*/ 26 h 80"/>
                  <a:gd name="T28" fmla="*/ 4 w 70"/>
                  <a:gd name="T29" fmla="*/ 32 h 80"/>
                  <a:gd name="T30" fmla="*/ 2 w 70"/>
                  <a:gd name="T31" fmla="*/ 37 h 80"/>
                  <a:gd name="T32" fmla="*/ 1 w 70"/>
                  <a:gd name="T33" fmla="*/ 41 h 80"/>
                  <a:gd name="T34" fmla="*/ 0 w 70"/>
                  <a:gd name="T35" fmla="*/ 47 h 80"/>
                  <a:gd name="T36" fmla="*/ 0 w 70"/>
                  <a:gd name="T37" fmla="*/ 52 h 80"/>
                  <a:gd name="T38" fmla="*/ 0 w 70"/>
                  <a:gd name="T39" fmla="*/ 65 h 80"/>
                  <a:gd name="T40" fmla="*/ 4 w 70"/>
                  <a:gd name="T41" fmla="*/ 76 h 80"/>
                  <a:gd name="T42" fmla="*/ 10 w 70"/>
                  <a:gd name="T43" fmla="*/ 78 h 80"/>
                  <a:gd name="T44" fmla="*/ 17 w 70"/>
                  <a:gd name="T45" fmla="*/ 79 h 80"/>
                  <a:gd name="T46" fmla="*/ 24 w 70"/>
                  <a:gd name="T47" fmla="*/ 80 h 80"/>
                  <a:gd name="T48" fmla="*/ 31 w 70"/>
                  <a:gd name="T49" fmla="*/ 79 h 80"/>
                  <a:gd name="T50" fmla="*/ 36 w 70"/>
                  <a:gd name="T51" fmla="*/ 79 h 80"/>
                  <a:gd name="T52" fmla="*/ 40 w 70"/>
                  <a:gd name="T53" fmla="*/ 76 h 80"/>
                  <a:gd name="T54" fmla="*/ 43 w 70"/>
                  <a:gd name="T55" fmla="*/ 75 h 80"/>
                  <a:gd name="T56" fmla="*/ 47 w 70"/>
                  <a:gd name="T57" fmla="*/ 71 h 80"/>
                  <a:gd name="T58" fmla="*/ 51 w 70"/>
                  <a:gd name="T59" fmla="*/ 67 h 80"/>
                  <a:gd name="T60" fmla="*/ 54 w 70"/>
                  <a:gd name="T61" fmla="*/ 62 h 80"/>
                  <a:gd name="T62" fmla="*/ 59 w 70"/>
                  <a:gd name="T63" fmla="*/ 57 h 80"/>
                  <a:gd name="T64" fmla="*/ 63 w 70"/>
                  <a:gd name="T65" fmla="*/ 55 h 80"/>
                  <a:gd name="T66" fmla="*/ 70 w 70"/>
                  <a:gd name="T67" fmla="*/ 3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80">
                    <a:moveTo>
                      <a:pt x="70" y="37"/>
                    </a:moveTo>
                    <a:lnTo>
                      <a:pt x="69" y="32"/>
                    </a:lnTo>
                    <a:lnTo>
                      <a:pt x="69" y="27"/>
                    </a:lnTo>
                    <a:lnTo>
                      <a:pt x="67" y="22"/>
                    </a:lnTo>
                    <a:lnTo>
                      <a:pt x="65" y="17"/>
                    </a:lnTo>
                    <a:lnTo>
                      <a:pt x="60" y="9"/>
                    </a:lnTo>
                    <a:lnTo>
                      <a:pt x="53" y="2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34" y="7"/>
                    </a:lnTo>
                    <a:lnTo>
                      <a:pt x="22" y="13"/>
                    </a:lnTo>
                    <a:lnTo>
                      <a:pt x="16" y="16"/>
                    </a:lnTo>
                    <a:lnTo>
                      <a:pt x="11" y="21"/>
                    </a:lnTo>
                    <a:lnTo>
                      <a:pt x="7" y="26"/>
                    </a:lnTo>
                    <a:lnTo>
                      <a:pt x="4" y="32"/>
                    </a:lnTo>
                    <a:lnTo>
                      <a:pt x="2" y="37"/>
                    </a:lnTo>
                    <a:lnTo>
                      <a:pt x="1" y="41"/>
                    </a:lnTo>
                    <a:lnTo>
                      <a:pt x="0" y="47"/>
                    </a:lnTo>
                    <a:lnTo>
                      <a:pt x="0" y="52"/>
                    </a:lnTo>
                    <a:lnTo>
                      <a:pt x="0" y="65"/>
                    </a:lnTo>
                    <a:lnTo>
                      <a:pt x="4" y="76"/>
                    </a:lnTo>
                    <a:lnTo>
                      <a:pt x="10" y="78"/>
                    </a:lnTo>
                    <a:lnTo>
                      <a:pt x="17" y="79"/>
                    </a:lnTo>
                    <a:lnTo>
                      <a:pt x="24" y="80"/>
                    </a:lnTo>
                    <a:lnTo>
                      <a:pt x="31" y="79"/>
                    </a:lnTo>
                    <a:lnTo>
                      <a:pt x="36" y="79"/>
                    </a:lnTo>
                    <a:lnTo>
                      <a:pt x="40" y="76"/>
                    </a:lnTo>
                    <a:lnTo>
                      <a:pt x="43" y="75"/>
                    </a:lnTo>
                    <a:lnTo>
                      <a:pt x="47" y="71"/>
                    </a:lnTo>
                    <a:lnTo>
                      <a:pt x="51" y="67"/>
                    </a:lnTo>
                    <a:lnTo>
                      <a:pt x="54" y="62"/>
                    </a:lnTo>
                    <a:lnTo>
                      <a:pt x="59" y="57"/>
                    </a:lnTo>
                    <a:lnTo>
                      <a:pt x="63" y="55"/>
                    </a:lnTo>
                    <a:lnTo>
                      <a:pt x="70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38"/>
              <p:cNvSpPr>
                <a:spLocks/>
              </p:cNvSpPr>
              <p:nvPr/>
            </p:nvSpPr>
            <p:spPr bwMode="auto">
              <a:xfrm>
                <a:off x="4481513" y="6319838"/>
                <a:ext cx="158750" cy="190500"/>
              </a:xfrm>
              <a:custGeom>
                <a:avLst/>
                <a:gdLst>
                  <a:gd name="T0" fmla="*/ 12 w 398"/>
                  <a:gd name="T1" fmla="*/ 426 h 478"/>
                  <a:gd name="T2" fmla="*/ 25 w 398"/>
                  <a:gd name="T3" fmla="*/ 415 h 478"/>
                  <a:gd name="T4" fmla="*/ 47 w 398"/>
                  <a:gd name="T5" fmla="*/ 393 h 478"/>
                  <a:gd name="T6" fmla="*/ 90 w 398"/>
                  <a:gd name="T7" fmla="*/ 341 h 478"/>
                  <a:gd name="T8" fmla="*/ 132 w 398"/>
                  <a:gd name="T9" fmla="*/ 293 h 478"/>
                  <a:gd name="T10" fmla="*/ 162 w 398"/>
                  <a:gd name="T11" fmla="*/ 251 h 478"/>
                  <a:gd name="T12" fmla="*/ 193 w 398"/>
                  <a:gd name="T13" fmla="*/ 207 h 478"/>
                  <a:gd name="T14" fmla="*/ 223 w 398"/>
                  <a:gd name="T15" fmla="*/ 166 h 478"/>
                  <a:gd name="T16" fmla="*/ 253 w 398"/>
                  <a:gd name="T17" fmla="*/ 134 h 478"/>
                  <a:gd name="T18" fmla="*/ 276 w 398"/>
                  <a:gd name="T19" fmla="*/ 110 h 478"/>
                  <a:gd name="T20" fmla="*/ 286 w 398"/>
                  <a:gd name="T21" fmla="*/ 93 h 478"/>
                  <a:gd name="T22" fmla="*/ 294 w 398"/>
                  <a:gd name="T23" fmla="*/ 63 h 478"/>
                  <a:gd name="T24" fmla="*/ 297 w 398"/>
                  <a:gd name="T25" fmla="*/ 27 h 478"/>
                  <a:gd name="T26" fmla="*/ 302 w 398"/>
                  <a:gd name="T27" fmla="*/ 11 h 478"/>
                  <a:gd name="T28" fmla="*/ 308 w 398"/>
                  <a:gd name="T29" fmla="*/ 3 h 478"/>
                  <a:gd name="T30" fmla="*/ 315 w 398"/>
                  <a:gd name="T31" fmla="*/ 5 h 478"/>
                  <a:gd name="T32" fmla="*/ 320 w 398"/>
                  <a:gd name="T33" fmla="*/ 23 h 478"/>
                  <a:gd name="T34" fmla="*/ 326 w 398"/>
                  <a:gd name="T35" fmla="*/ 56 h 478"/>
                  <a:gd name="T36" fmla="*/ 337 w 398"/>
                  <a:gd name="T37" fmla="*/ 70 h 478"/>
                  <a:gd name="T38" fmla="*/ 353 w 398"/>
                  <a:gd name="T39" fmla="*/ 62 h 478"/>
                  <a:gd name="T40" fmla="*/ 369 w 398"/>
                  <a:gd name="T41" fmla="*/ 51 h 478"/>
                  <a:gd name="T42" fmla="*/ 387 w 398"/>
                  <a:gd name="T43" fmla="*/ 42 h 478"/>
                  <a:gd name="T44" fmla="*/ 398 w 398"/>
                  <a:gd name="T45" fmla="*/ 42 h 478"/>
                  <a:gd name="T46" fmla="*/ 394 w 398"/>
                  <a:gd name="T47" fmla="*/ 59 h 478"/>
                  <a:gd name="T48" fmla="*/ 381 w 398"/>
                  <a:gd name="T49" fmla="*/ 78 h 478"/>
                  <a:gd name="T50" fmla="*/ 341 w 398"/>
                  <a:gd name="T51" fmla="*/ 121 h 478"/>
                  <a:gd name="T52" fmla="*/ 260 w 398"/>
                  <a:gd name="T53" fmla="*/ 195 h 478"/>
                  <a:gd name="T54" fmla="*/ 224 w 398"/>
                  <a:gd name="T55" fmla="*/ 241 h 478"/>
                  <a:gd name="T56" fmla="*/ 212 w 398"/>
                  <a:gd name="T57" fmla="*/ 266 h 478"/>
                  <a:gd name="T58" fmla="*/ 207 w 398"/>
                  <a:gd name="T59" fmla="*/ 293 h 478"/>
                  <a:gd name="T60" fmla="*/ 206 w 398"/>
                  <a:gd name="T61" fmla="*/ 304 h 478"/>
                  <a:gd name="T62" fmla="*/ 202 w 398"/>
                  <a:gd name="T63" fmla="*/ 312 h 478"/>
                  <a:gd name="T64" fmla="*/ 189 w 398"/>
                  <a:gd name="T65" fmla="*/ 324 h 478"/>
                  <a:gd name="T66" fmla="*/ 176 w 398"/>
                  <a:gd name="T67" fmla="*/ 335 h 478"/>
                  <a:gd name="T68" fmla="*/ 170 w 398"/>
                  <a:gd name="T69" fmla="*/ 341 h 478"/>
                  <a:gd name="T70" fmla="*/ 166 w 398"/>
                  <a:gd name="T71" fmla="*/ 350 h 478"/>
                  <a:gd name="T72" fmla="*/ 165 w 398"/>
                  <a:gd name="T73" fmla="*/ 364 h 478"/>
                  <a:gd name="T74" fmla="*/ 167 w 398"/>
                  <a:gd name="T75" fmla="*/ 377 h 478"/>
                  <a:gd name="T76" fmla="*/ 170 w 398"/>
                  <a:gd name="T77" fmla="*/ 390 h 478"/>
                  <a:gd name="T78" fmla="*/ 167 w 398"/>
                  <a:gd name="T79" fmla="*/ 402 h 478"/>
                  <a:gd name="T80" fmla="*/ 159 w 398"/>
                  <a:gd name="T81" fmla="*/ 413 h 478"/>
                  <a:gd name="T82" fmla="*/ 152 w 398"/>
                  <a:gd name="T83" fmla="*/ 418 h 478"/>
                  <a:gd name="T84" fmla="*/ 129 w 398"/>
                  <a:gd name="T85" fmla="*/ 417 h 478"/>
                  <a:gd name="T86" fmla="*/ 120 w 398"/>
                  <a:gd name="T87" fmla="*/ 419 h 478"/>
                  <a:gd name="T88" fmla="*/ 113 w 398"/>
                  <a:gd name="T89" fmla="*/ 423 h 478"/>
                  <a:gd name="T90" fmla="*/ 97 w 398"/>
                  <a:gd name="T91" fmla="*/ 437 h 478"/>
                  <a:gd name="T92" fmla="*/ 83 w 398"/>
                  <a:gd name="T93" fmla="*/ 452 h 478"/>
                  <a:gd name="T94" fmla="*/ 70 w 398"/>
                  <a:gd name="T95" fmla="*/ 460 h 478"/>
                  <a:gd name="T96" fmla="*/ 36 w 398"/>
                  <a:gd name="T97" fmla="*/ 465 h 478"/>
                  <a:gd name="T98" fmla="*/ 19 w 398"/>
                  <a:gd name="T99" fmla="*/ 471 h 478"/>
                  <a:gd name="T100" fmla="*/ 13 w 398"/>
                  <a:gd name="T101" fmla="*/ 474 h 478"/>
                  <a:gd name="T102" fmla="*/ 10 w 398"/>
                  <a:gd name="T103" fmla="*/ 478 h 478"/>
                  <a:gd name="T104" fmla="*/ 5 w 398"/>
                  <a:gd name="T105" fmla="*/ 476 h 478"/>
                  <a:gd name="T106" fmla="*/ 1 w 398"/>
                  <a:gd name="T107" fmla="*/ 468 h 478"/>
                  <a:gd name="T108" fmla="*/ 0 w 398"/>
                  <a:gd name="T109" fmla="*/ 454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8" h="478">
                    <a:moveTo>
                      <a:pt x="5" y="431"/>
                    </a:moveTo>
                    <a:lnTo>
                      <a:pt x="12" y="426"/>
                    </a:lnTo>
                    <a:lnTo>
                      <a:pt x="18" y="421"/>
                    </a:lnTo>
                    <a:lnTo>
                      <a:pt x="25" y="415"/>
                    </a:lnTo>
                    <a:lnTo>
                      <a:pt x="32" y="408"/>
                    </a:lnTo>
                    <a:lnTo>
                      <a:pt x="47" y="393"/>
                    </a:lnTo>
                    <a:lnTo>
                      <a:pt x="63" y="376"/>
                    </a:lnTo>
                    <a:lnTo>
                      <a:pt x="90" y="341"/>
                    </a:lnTo>
                    <a:lnTo>
                      <a:pt x="116" y="312"/>
                    </a:lnTo>
                    <a:lnTo>
                      <a:pt x="132" y="293"/>
                    </a:lnTo>
                    <a:lnTo>
                      <a:pt x="148" y="272"/>
                    </a:lnTo>
                    <a:lnTo>
                      <a:pt x="162" y="251"/>
                    </a:lnTo>
                    <a:lnTo>
                      <a:pt x="178" y="229"/>
                    </a:lnTo>
                    <a:lnTo>
                      <a:pt x="193" y="207"/>
                    </a:lnTo>
                    <a:lnTo>
                      <a:pt x="207" y="187"/>
                    </a:lnTo>
                    <a:lnTo>
                      <a:pt x="223" y="166"/>
                    </a:lnTo>
                    <a:lnTo>
                      <a:pt x="239" y="147"/>
                    </a:lnTo>
                    <a:lnTo>
                      <a:pt x="253" y="134"/>
                    </a:lnTo>
                    <a:lnTo>
                      <a:pt x="268" y="118"/>
                    </a:lnTo>
                    <a:lnTo>
                      <a:pt x="276" y="110"/>
                    </a:lnTo>
                    <a:lnTo>
                      <a:pt x="282" y="101"/>
                    </a:lnTo>
                    <a:lnTo>
                      <a:pt x="286" y="93"/>
                    </a:lnTo>
                    <a:lnTo>
                      <a:pt x="290" y="83"/>
                    </a:lnTo>
                    <a:lnTo>
                      <a:pt x="294" y="63"/>
                    </a:lnTo>
                    <a:lnTo>
                      <a:pt x="295" y="39"/>
                    </a:lnTo>
                    <a:lnTo>
                      <a:pt x="297" y="27"/>
                    </a:lnTo>
                    <a:lnTo>
                      <a:pt x="300" y="16"/>
                    </a:lnTo>
                    <a:lnTo>
                      <a:pt x="302" y="11"/>
                    </a:lnTo>
                    <a:lnTo>
                      <a:pt x="304" y="7"/>
                    </a:lnTo>
                    <a:lnTo>
                      <a:pt x="308" y="3"/>
                    </a:lnTo>
                    <a:lnTo>
                      <a:pt x="312" y="0"/>
                    </a:lnTo>
                    <a:lnTo>
                      <a:pt x="315" y="5"/>
                    </a:lnTo>
                    <a:lnTo>
                      <a:pt x="318" y="13"/>
                    </a:lnTo>
                    <a:lnTo>
                      <a:pt x="320" y="23"/>
                    </a:lnTo>
                    <a:lnTo>
                      <a:pt x="323" y="34"/>
                    </a:lnTo>
                    <a:lnTo>
                      <a:pt x="326" y="56"/>
                    </a:lnTo>
                    <a:lnTo>
                      <a:pt x="330" y="72"/>
                    </a:lnTo>
                    <a:lnTo>
                      <a:pt x="337" y="70"/>
                    </a:lnTo>
                    <a:lnTo>
                      <a:pt x="345" y="68"/>
                    </a:lnTo>
                    <a:lnTo>
                      <a:pt x="353" y="62"/>
                    </a:lnTo>
                    <a:lnTo>
                      <a:pt x="361" y="57"/>
                    </a:lnTo>
                    <a:lnTo>
                      <a:pt x="369" y="51"/>
                    </a:lnTo>
                    <a:lnTo>
                      <a:pt x="378" y="46"/>
                    </a:lnTo>
                    <a:lnTo>
                      <a:pt x="387" y="42"/>
                    </a:lnTo>
                    <a:lnTo>
                      <a:pt x="397" y="41"/>
                    </a:lnTo>
                    <a:lnTo>
                      <a:pt x="398" y="42"/>
                    </a:lnTo>
                    <a:lnTo>
                      <a:pt x="397" y="51"/>
                    </a:lnTo>
                    <a:lnTo>
                      <a:pt x="394" y="59"/>
                    </a:lnTo>
                    <a:lnTo>
                      <a:pt x="389" y="69"/>
                    </a:lnTo>
                    <a:lnTo>
                      <a:pt x="381" y="78"/>
                    </a:lnTo>
                    <a:lnTo>
                      <a:pt x="362" y="100"/>
                    </a:lnTo>
                    <a:lnTo>
                      <a:pt x="341" y="121"/>
                    </a:lnTo>
                    <a:lnTo>
                      <a:pt x="294" y="162"/>
                    </a:lnTo>
                    <a:lnTo>
                      <a:pt x="260" y="195"/>
                    </a:lnTo>
                    <a:lnTo>
                      <a:pt x="241" y="218"/>
                    </a:lnTo>
                    <a:lnTo>
                      <a:pt x="224" y="241"/>
                    </a:lnTo>
                    <a:lnTo>
                      <a:pt x="217" y="253"/>
                    </a:lnTo>
                    <a:lnTo>
                      <a:pt x="212" y="266"/>
                    </a:lnTo>
                    <a:lnTo>
                      <a:pt x="208" y="279"/>
                    </a:lnTo>
                    <a:lnTo>
                      <a:pt x="207" y="293"/>
                    </a:lnTo>
                    <a:lnTo>
                      <a:pt x="207" y="299"/>
                    </a:lnTo>
                    <a:lnTo>
                      <a:pt x="206" y="304"/>
                    </a:lnTo>
                    <a:lnTo>
                      <a:pt x="205" y="308"/>
                    </a:lnTo>
                    <a:lnTo>
                      <a:pt x="202" y="312"/>
                    </a:lnTo>
                    <a:lnTo>
                      <a:pt x="196" y="318"/>
                    </a:lnTo>
                    <a:lnTo>
                      <a:pt x="189" y="324"/>
                    </a:lnTo>
                    <a:lnTo>
                      <a:pt x="182" y="329"/>
                    </a:lnTo>
                    <a:lnTo>
                      <a:pt x="176" y="335"/>
                    </a:lnTo>
                    <a:lnTo>
                      <a:pt x="172" y="337"/>
                    </a:lnTo>
                    <a:lnTo>
                      <a:pt x="170" y="341"/>
                    </a:lnTo>
                    <a:lnTo>
                      <a:pt x="167" y="346"/>
                    </a:lnTo>
                    <a:lnTo>
                      <a:pt x="166" y="350"/>
                    </a:lnTo>
                    <a:lnTo>
                      <a:pt x="165" y="358"/>
                    </a:lnTo>
                    <a:lnTo>
                      <a:pt x="165" y="364"/>
                    </a:lnTo>
                    <a:lnTo>
                      <a:pt x="166" y="371"/>
                    </a:lnTo>
                    <a:lnTo>
                      <a:pt x="167" y="377"/>
                    </a:lnTo>
                    <a:lnTo>
                      <a:pt x="168" y="383"/>
                    </a:lnTo>
                    <a:lnTo>
                      <a:pt x="170" y="390"/>
                    </a:lnTo>
                    <a:lnTo>
                      <a:pt x="170" y="396"/>
                    </a:lnTo>
                    <a:lnTo>
                      <a:pt x="167" y="402"/>
                    </a:lnTo>
                    <a:lnTo>
                      <a:pt x="162" y="409"/>
                    </a:lnTo>
                    <a:lnTo>
                      <a:pt x="159" y="413"/>
                    </a:lnTo>
                    <a:lnTo>
                      <a:pt x="155" y="417"/>
                    </a:lnTo>
                    <a:lnTo>
                      <a:pt x="152" y="418"/>
                    </a:lnTo>
                    <a:lnTo>
                      <a:pt x="142" y="418"/>
                    </a:lnTo>
                    <a:lnTo>
                      <a:pt x="129" y="417"/>
                    </a:lnTo>
                    <a:lnTo>
                      <a:pt x="125" y="418"/>
                    </a:lnTo>
                    <a:lnTo>
                      <a:pt x="120" y="419"/>
                    </a:lnTo>
                    <a:lnTo>
                      <a:pt x="117" y="420"/>
                    </a:lnTo>
                    <a:lnTo>
                      <a:pt x="113" y="423"/>
                    </a:lnTo>
                    <a:lnTo>
                      <a:pt x="105" y="430"/>
                    </a:lnTo>
                    <a:lnTo>
                      <a:pt x="97" y="437"/>
                    </a:lnTo>
                    <a:lnTo>
                      <a:pt x="90" y="446"/>
                    </a:lnTo>
                    <a:lnTo>
                      <a:pt x="83" y="452"/>
                    </a:lnTo>
                    <a:lnTo>
                      <a:pt x="76" y="458"/>
                    </a:lnTo>
                    <a:lnTo>
                      <a:pt x="70" y="460"/>
                    </a:lnTo>
                    <a:lnTo>
                      <a:pt x="55" y="462"/>
                    </a:lnTo>
                    <a:lnTo>
                      <a:pt x="36" y="465"/>
                    </a:lnTo>
                    <a:lnTo>
                      <a:pt x="28" y="467"/>
                    </a:lnTo>
                    <a:lnTo>
                      <a:pt x="19" y="471"/>
                    </a:lnTo>
                    <a:lnTo>
                      <a:pt x="16" y="472"/>
                    </a:lnTo>
                    <a:lnTo>
                      <a:pt x="13" y="474"/>
                    </a:lnTo>
                    <a:lnTo>
                      <a:pt x="11" y="476"/>
                    </a:lnTo>
                    <a:lnTo>
                      <a:pt x="10" y="478"/>
                    </a:lnTo>
                    <a:lnTo>
                      <a:pt x="7" y="478"/>
                    </a:lnTo>
                    <a:lnTo>
                      <a:pt x="5" y="476"/>
                    </a:lnTo>
                    <a:lnTo>
                      <a:pt x="2" y="472"/>
                    </a:lnTo>
                    <a:lnTo>
                      <a:pt x="1" y="468"/>
                    </a:lnTo>
                    <a:lnTo>
                      <a:pt x="0" y="461"/>
                    </a:lnTo>
                    <a:lnTo>
                      <a:pt x="0" y="454"/>
                    </a:lnTo>
                    <a:lnTo>
                      <a:pt x="5" y="4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39"/>
              <p:cNvSpPr>
                <a:spLocks/>
              </p:cNvSpPr>
              <p:nvPr/>
            </p:nvSpPr>
            <p:spPr bwMode="auto">
              <a:xfrm>
                <a:off x="4457701" y="6418263"/>
                <a:ext cx="33338" cy="38100"/>
              </a:xfrm>
              <a:custGeom>
                <a:avLst/>
                <a:gdLst>
                  <a:gd name="T0" fmla="*/ 63 w 86"/>
                  <a:gd name="T1" fmla="*/ 23 h 99"/>
                  <a:gd name="T2" fmla="*/ 53 w 86"/>
                  <a:gd name="T3" fmla="*/ 30 h 99"/>
                  <a:gd name="T4" fmla="*/ 45 w 86"/>
                  <a:gd name="T5" fmla="*/ 40 h 99"/>
                  <a:gd name="T6" fmla="*/ 37 w 86"/>
                  <a:gd name="T7" fmla="*/ 47 h 99"/>
                  <a:gd name="T8" fmla="*/ 31 w 86"/>
                  <a:gd name="T9" fmla="*/ 55 h 99"/>
                  <a:gd name="T10" fmla="*/ 25 w 86"/>
                  <a:gd name="T11" fmla="*/ 60 h 99"/>
                  <a:gd name="T12" fmla="*/ 19 w 86"/>
                  <a:gd name="T13" fmla="*/ 64 h 99"/>
                  <a:gd name="T14" fmla="*/ 12 w 86"/>
                  <a:gd name="T15" fmla="*/ 71 h 99"/>
                  <a:gd name="T16" fmla="*/ 6 w 86"/>
                  <a:gd name="T17" fmla="*/ 78 h 99"/>
                  <a:gd name="T18" fmla="*/ 4 w 86"/>
                  <a:gd name="T19" fmla="*/ 83 h 99"/>
                  <a:gd name="T20" fmla="*/ 3 w 86"/>
                  <a:gd name="T21" fmla="*/ 88 h 99"/>
                  <a:gd name="T22" fmla="*/ 1 w 86"/>
                  <a:gd name="T23" fmla="*/ 93 h 99"/>
                  <a:gd name="T24" fmla="*/ 0 w 86"/>
                  <a:gd name="T25" fmla="*/ 97 h 99"/>
                  <a:gd name="T26" fmla="*/ 1 w 86"/>
                  <a:gd name="T27" fmla="*/ 99 h 99"/>
                  <a:gd name="T28" fmla="*/ 6 w 86"/>
                  <a:gd name="T29" fmla="*/ 99 h 99"/>
                  <a:gd name="T30" fmla="*/ 11 w 86"/>
                  <a:gd name="T31" fmla="*/ 96 h 99"/>
                  <a:gd name="T32" fmla="*/ 15 w 86"/>
                  <a:gd name="T33" fmla="*/ 94 h 99"/>
                  <a:gd name="T34" fmla="*/ 19 w 86"/>
                  <a:gd name="T35" fmla="*/ 91 h 99"/>
                  <a:gd name="T36" fmla="*/ 27 w 86"/>
                  <a:gd name="T37" fmla="*/ 85 h 99"/>
                  <a:gd name="T38" fmla="*/ 34 w 86"/>
                  <a:gd name="T39" fmla="*/ 78 h 99"/>
                  <a:gd name="T40" fmla="*/ 46 w 86"/>
                  <a:gd name="T41" fmla="*/ 70 h 99"/>
                  <a:gd name="T42" fmla="*/ 58 w 86"/>
                  <a:gd name="T43" fmla="*/ 61 h 99"/>
                  <a:gd name="T44" fmla="*/ 64 w 86"/>
                  <a:gd name="T45" fmla="*/ 57 h 99"/>
                  <a:gd name="T46" fmla="*/ 69 w 86"/>
                  <a:gd name="T47" fmla="*/ 51 h 99"/>
                  <a:gd name="T48" fmla="*/ 74 w 86"/>
                  <a:gd name="T49" fmla="*/ 43 h 99"/>
                  <a:gd name="T50" fmla="*/ 76 w 86"/>
                  <a:gd name="T51" fmla="*/ 35 h 99"/>
                  <a:gd name="T52" fmla="*/ 80 w 86"/>
                  <a:gd name="T53" fmla="*/ 26 h 99"/>
                  <a:gd name="T54" fmla="*/ 82 w 86"/>
                  <a:gd name="T55" fmla="*/ 18 h 99"/>
                  <a:gd name="T56" fmla="*/ 84 w 86"/>
                  <a:gd name="T57" fmla="*/ 10 h 99"/>
                  <a:gd name="T58" fmla="*/ 86 w 86"/>
                  <a:gd name="T59" fmla="*/ 0 h 99"/>
                  <a:gd name="T60" fmla="*/ 77 w 86"/>
                  <a:gd name="T61" fmla="*/ 5 h 99"/>
                  <a:gd name="T62" fmla="*/ 72 w 86"/>
                  <a:gd name="T63" fmla="*/ 10 h 99"/>
                  <a:gd name="T64" fmla="*/ 63 w 86"/>
                  <a:gd name="T65" fmla="*/ 2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99">
                    <a:moveTo>
                      <a:pt x="63" y="23"/>
                    </a:moveTo>
                    <a:lnTo>
                      <a:pt x="53" y="30"/>
                    </a:lnTo>
                    <a:lnTo>
                      <a:pt x="45" y="40"/>
                    </a:lnTo>
                    <a:lnTo>
                      <a:pt x="37" y="47"/>
                    </a:lnTo>
                    <a:lnTo>
                      <a:pt x="31" y="55"/>
                    </a:lnTo>
                    <a:lnTo>
                      <a:pt x="25" y="60"/>
                    </a:lnTo>
                    <a:lnTo>
                      <a:pt x="19" y="64"/>
                    </a:lnTo>
                    <a:lnTo>
                      <a:pt x="12" y="71"/>
                    </a:lnTo>
                    <a:lnTo>
                      <a:pt x="6" y="78"/>
                    </a:lnTo>
                    <a:lnTo>
                      <a:pt x="4" y="83"/>
                    </a:lnTo>
                    <a:lnTo>
                      <a:pt x="3" y="88"/>
                    </a:lnTo>
                    <a:lnTo>
                      <a:pt x="1" y="93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6" y="99"/>
                    </a:lnTo>
                    <a:lnTo>
                      <a:pt x="11" y="96"/>
                    </a:lnTo>
                    <a:lnTo>
                      <a:pt x="15" y="94"/>
                    </a:lnTo>
                    <a:lnTo>
                      <a:pt x="19" y="91"/>
                    </a:lnTo>
                    <a:lnTo>
                      <a:pt x="27" y="85"/>
                    </a:lnTo>
                    <a:lnTo>
                      <a:pt x="34" y="78"/>
                    </a:lnTo>
                    <a:lnTo>
                      <a:pt x="46" y="70"/>
                    </a:lnTo>
                    <a:lnTo>
                      <a:pt x="58" y="61"/>
                    </a:lnTo>
                    <a:lnTo>
                      <a:pt x="64" y="57"/>
                    </a:lnTo>
                    <a:lnTo>
                      <a:pt x="69" y="51"/>
                    </a:lnTo>
                    <a:lnTo>
                      <a:pt x="74" y="43"/>
                    </a:lnTo>
                    <a:lnTo>
                      <a:pt x="76" y="35"/>
                    </a:lnTo>
                    <a:lnTo>
                      <a:pt x="80" y="26"/>
                    </a:lnTo>
                    <a:lnTo>
                      <a:pt x="82" y="18"/>
                    </a:lnTo>
                    <a:lnTo>
                      <a:pt x="84" y="10"/>
                    </a:lnTo>
                    <a:lnTo>
                      <a:pt x="86" y="0"/>
                    </a:lnTo>
                    <a:lnTo>
                      <a:pt x="77" y="5"/>
                    </a:lnTo>
                    <a:lnTo>
                      <a:pt x="72" y="10"/>
                    </a:lnTo>
                    <a:lnTo>
                      <a:pt x="63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40"/>
              <p:cNvSpPr>
                <a:spLocks/>
              </p:cNvSpPr>
              <p:nvPr/>
            </p:nvSpPr>
            <p:spPr bwMode="auto">
              <a:xfrm>
                <a:off x="4487863" y="6289675"/>
                <a:ext cx="34925" cy="90488"/>
              </a:xfrm>
              <a:custGeom>
                <a:avLst/>
                <a:gdLst>
                  <a:gd name="T0" fmla="*/ 76 w 89"/>
                  <a:gd name="T1" fmla="*/ 38 h 229"/>
                  <a:gd name="T2" fmla="*/ 89 w 89"/>
                  <a:gd name="T3" fmla="*/ 18 h 229"/>
                  <a:gd name="T4" fmla="*/ 89 w 89"/>
                  <a:gd name="T5" fmla="*/ 9 h 229"/>
                  <a:gd name="T6" fmla="*/ 84 w 89"/>
                  <a:gd name="T7" fmla="*/ 4 h 229"/>
                  <a:gd name="T8" fmla="*/ 76 w 89"/>
                  <a:gd name="T9" fmla="*/ 0 h 229"/>
                  <a:gd name="T10" fmla="*/ 70 w 89"/>
                  <a:gd name="T11" fmla="*/ 2 h 229"/>
                  <a:gd name="T12" fmla="*/ 63 w 89"/>
                  <a:gd name="T13" fmla="*/ 9 h 229"/>
                  <a:gd name="T14" fmla="*/ 57 w 89"/>
                  <a:gd name="T15" fmla="*/ 34 h 229"/>
                  <a:gd name="T16" fmla="*/ 47 w 89"/>
                  <a:gd name="T17" fmla="*/ 55 h 229"/>
                  <a:gd name="T18" fmla="*/ 31 w 89"/>
                  <a:gd name="T19" fmla="*/ 65 h 229"/>
                  <a:gd name="T20" fmla="*/ 30 w 89"/>
                  <a:gd name="T21" fmla="*/ 71 h 229"/>
                  <a:gd name="T22" fmla="*/ 41 w 89"/>
                  <a:gd name="T23" fmla="*/ 80 h 229"/>
                  <a:gd name="T24" fmla="*/ 50 w 89"/>
                  <a:gd name="T25" fmla="*/ 89 h 229"/>
                  <a:gd name="T26" fmla="*/ 51 w 89"/>
                  <a:gd name="T27" fmla="*/ 97 h 229"/>
                  <a:gd name="T28" fmla="*/ 47 w 89"/>
                  <a:gd name="T29" fmla="*/ 108 h 229"/>
                  <a:gd name="T30" fmla="*/ 38 w 89"/>
                  <a:gd name="T31" fmla="*/ 122 h 229"/>
                  <a:gd name="T32" fmla="*/ 27 w 89"/>
                  <a:gd name="T33" fmla="*/ 134 h 229"/>
                  <a:gd name="T34" fmla="*/ 16 w 89"/>
                  <a:gd name="T35" fmla="*/ 141 h 229"/>
                  <a:gd name="T36" fmla="*/ 4 w 89"/>
                  <a:gd name="T37" fmla="*/ 153 h 229"/>
                  <a:gd name="T38" fmla="*/ 0 w 89"/>
                  <a:gd name="T39" fmla="*/ 165 h 229"/>
                  <a:gd name="T40" fmla="*/ 3 w 89"/>
                  <a:gd name="T41" fmla="*/ 170 h 229"/>
                  <a:gd name="T42" fmla="*/ 10 w 89"/>
                  <a:gd name="T43" fmla="*/ 173 h 229"/>
                  <a:gd name="T44" fmla="*/ 21 w 89"/>
                  <a:gd name="T45" fmla="*/ 185 h 229"/>
                  <a:gd name="T46" fmla="*/ 25 w 89"/>
                  <a:gd name="T47" fmla="*/ 213 h 229"/>
                  <a:gd name="T48" fmla="*/ 30 w 89"/>
                  <a:gd name="T49" fmla="*/ 228 h 229"/>
                  <a:gd name="T50" fmla="*/ 39 w 89"/>
                  <a:gd name="T51" fmla="*/ 224 h 229"/>
                  <a:gd name="T52" fmla="*/ 48 w 89"/>
                  <a:gd name="T53" fmla="*/ 213 h 229"/>
                  <a:gd name="T54" fmla="*/ 54 w 89"/>
                  <a:gd name="T55" fmla="*/ 200 h 229"/>
                  <a:gd name="T56" fmla="*/ 54 w 89"/>
                  <a:gd name="T57" fmla="*/ 192 h 229"/>
                  <a:gd name="T58" fmla="*/ 53 w 89"/>
                  <a:gd name="T59" fmla="*/ 183 h 229"/>
                  <a:gd name="T60" fmla="*/ 47 w 89"/>
                  <a:gd name="T61" fmla="*/ 179 h 229"/>
                  <a:gd name="T62" fmla="*/ 41 w 89"/>
                  <a:gd name="T63" fmla="*/ 173 h 229"/>
                  <a:gd name="T64" fmla="*/ 39 w 89"/>
                  <a:gd name="T65" fmla="*/ 167 h 229"/>
                  <a:gd name="T66" fmla="*/ 41 w 89"/>
                  <a:gd name="T67" fmla="*/ 160 h 229"/>
                  <a:gd name="T68" fmla="*/ 52 w 89"/>
                  <a:gd name="T69" fmla="*/ 147 h 229"/>
                  <a:gd name="T70" fmla="*/ 64 w 89"/>
                  <a:gd name="T71" fmla="*/ 136 h 229"/>
                  <a:gd name="T72" fmla="*/ 70 w 89"/>
                  <a:gd name="T73" fmla="*/ 126 h 229"/>
                  <a:gd name="T74" fmla="*/ 72 w 89"/>
                  <a:gd name="T75" fmla="*/ 115 h 229"/>
                  <a:gd name="T76" fmla="*/ 71 w 89"/>
                  <a:gd name="T77" fmla="*/ 105 h 229"/>
                  <a:gd name="T78" fmla="*/ 66 w 89"/>
                  <a:gd name="T79" fmla="*/ 92 h 229"/>
                  <a:gd name="T80" fmla="*/ 69 w 89"/>
                  <a:gd name="T81" fmla="*/ 5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9" h="229">
                    <a:moveTo>
                      <a:pt x="69" y="50"/>
                    </a:moveTo>
                    <a:lnTo>
                      <a:pt x="76" y="38"/>
                    </a:lnTo>
                    <a:lnTo>
                      <a:pt x="86" y="25"/>
                    </a:lnTo>
                    <a:lnTo>
                      <a:pt x="89" y="18"/>
                    </a:lnTo>
                    <a:lnTo>
                      <a:pt x="89" y="12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84" y="4"/>
                    </a:lnTo>
                    <a:lnTo>
                      <a:pt x="80" y="2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70" y="2"/>
                    </a:lnTo>
                    <a:lnTo>
                      <a:pt x="68" y="3"/>
                    </a:lnTo>
                    <a:lnTo>
                      <a:pt x="63" y="9"/>
                    </a:lnTo>
                    <a:lnTo>
                      <a:pt x="60" y="16"/>
                    </a:lnTo>
                    <a:lnTo>
                      <a:pt x="57" y="34"/>
                    </a:lnTo>
                    <a:lnTo>
                      <a:pt x="57" y="49"/>
                    </a:lnTo>
                    <a:lnTo>
                      <a:pt x="47" y="55"/>
                    </a:lnTo>
                    <a:lnTo>
                      <a:pt x="36" y="62"/>
                    </a:lnTo>
                    <a:lnTo>
                      <a:pt x="31" y="65"/>
                    </a:lnTo>
                    <a:lnTo>
                      <a:pt x="29" y="69"/>
                    </a:lnTo>
                    <a:lnTo>
                      <a:pt x="30" y="71"/>
                    </a:lnTo>
                    <a:lnTo>
                      <a:pt x="33" y="75"/>
                    </a:lnTo>
                    <a:lnTo>
                      <a:pt x="41" y="80"/>
                    </a:lnTo>
                    <a:lnTo>
                      <a:pt x="48" y="86"/>
                    </a:lnTo>
                    <a:lnTo>
                      <a:pt x="50" y="89"/>
                    </a:lnTo>
                    <a:lnTo>
                      <a:pt x="50" y="93"/>
                    </a:lnTo>
                    <a:lnTo>
                      <a:pt x="51" y="97"/>
                    </a:lnTo>
                    <a:lnTo>
                      <a:pt x="50" y="100"/>
                    </a:lnTo>
                    <a:lnTo>
                      <a:pt x="47" y="108"/>
                    </a:lnTo>
                    <a:lnTo>
                      <a:pt x="42" y="115"/>
                    </a:lnTo>
                    <a:lnTo>
                      <a:pt x="38" y="122"/>
                    </a:lnTo>
                    <a:lnTo>
                      <a:pt x="31" y="128"/>
                    </a:lnTo>
                    <a:lnTo>
                      <a:pt x="27" y="134"/>
                    </a:lnTo>
                    <a:lnTo>
                      <a:pt x="22" y="138"/>
                    </a:lnTo>
                    <a:lnTo>
                      <a:pt x="16" y="141"/>
                    </a:lnTo>
                    <a:lnTo>
                      <a:pt x="9" y="147"/>
                    </a:lnTo>
                    <a:lnTo>
                      <a:pt x="4" y="153"/>
                    </a:lnTo>
                    <a:lnTo>
                      <a:pt x="1" y="160"/>
                    </a:lnTo>
                    <a:lnTo>
                      <a:pt x="0" y="165"/>
                    </a:lnTo>
                    <a:lnTo>
                      <a:pt x="1" y="168"/>
                    </a:lnTo>
                    <a:lnTo>
                      <a:pt x="3" y="170"/>
                    </a:lnTo>
                    <a:lnTo>
                      <a:pt x="5" y="171"/>
                    </a:lnTo>
                    <a:lnTo>
                      <a:pt x="10" y="173"/>
                    </a:lnTo>
                    <a:lnTo>
                      <a:pt x="16" y="174"/>
                    </a:lnTo>
                    <a:lnTo>
                      <a:pt x="21" y="185"/>
                    </a:lnTo>
                    <a:lnTo>
                      <a:pt x="25" y="198"/>
                    </a:lnTo>
                    <a:lnTo>
                      <a:pt x="25" y="213"/>
                    </a:lnTo>
                    <a:lnTo>
                      <a:pt x="27" y="229"/>
                    </a:lnTo>
                    <a:lnTo>
                      <a:pt x="30" y="228"/>
                    </a:lnTo>
                    <a:lnTo>
                      <a:pt x="35" y="227"/>
                    </a:lnTo>
                    <a:lnTo>
                      <a:pt x="39" y="224"/>
                    </a:lnTo>
                    <a:lnTo>
                      <a:pt x="42" y="221"/>
                    </a:lnTo>
                    <a:lnTo>
                      <a:pt x="48" y="213"/>
                    </a:lnTo>
                    <a:lnTo>
                      <a:pt x="53" y="205"/>
                    </a:lnTo>
                    <a:lnTo>
                      <a:pt x="54" y="200"/>
                    </a:lnTo>
                    <a:lnTo>
                      <a:pt x="54" y="195"/>
                    </a:lnTo>
                    <a:lnTo>
                      <a:pt x="54" y="192"/>
                    </a:lnTo>
                    <a:lnTo>
                      <a:pt x="54" y="187"/>
                    </a:lnTo>
                    <a:lnTo>
                      <a:pt x="53" y="183"/>
                    </a:lnTo>
                    <a:lnTo>
                      <a:pt x="51" y="181"/>
                    </a:lnTo>
                    <a:lnTo>
                      <a:pt x="47" y="179"/>
                    </a:lnTo>
                    <a:lnTo>
                      <a:pt x="44" y="177"/>
                    </a:lnTo>
                    <a:lnTo>
                      <a:pt x="41" y="173"/>
                    </a:lnTo>
                    <a:lnTo>
                      <a:pt x="39" y="169"/>
                    </a:lnTo>
                    <a:lnTo>
                      <a:pt x="39" y="167"/>
                    </a:lnTo>
                    <a:lnTo>
                      <a:pt x="39" y="164"/>
                    </a:lnTo>
                    <a:lnTo>
                      <a:pt x="41" y="160"/>
                    </a:lnTo>
                    <a:lnTo>
                      <a:pt x="44" y="157"/>
                    </a:lnTo>
                    <a:lnTo>
                      <a:pt x="52" y="147"/>
                    </a:lnTo>
                    <a:lnTo>
                      <a:pt x="60" y="140"/>
                    </a:lnTo>
                    <a:lnTo>
                      <a:pt x="64" y="136"/>
                    </a:lnTo>
                    <a:lnTo>
                      <a:pt x="68" y="132"/>
                    </a:lnTo>
                    <a:lnTo>
                      <a:pt x="70" y="126"/>
                    </a:lnTo>
                    <a:lnTo>
                      <a:pt x="72" y="120"/>
                    </a:lnTo>
                    <a:lnTo>
                      <a:pt x="72" y="115"/>
                    </a:lnTo>
                    <a:lnTo>
                      <a:pt x="72" y="110"/>
                    </a:lnTo>
                    <a:lnTo>
                      <a:pt x="71" y="105"/>
                    </a:lnTo>
                    <a:lnTo>
                      <a:pt x="70" y="100"/>
                    </a:lnTo>
                    <a:lnTo>
                      <a:pt x="66" y="92"/>
                    </a:lnTo>
                    <a:lnTo>
                      <a:pt x="64" y="83"/>
                    </a:lnTo>
                    <a:lnTo>
                      <a:pt x="69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41"/>
              <p:cNvSpPr>
                <a:spLocks/>
              </p:cNvSpPr>
              <p:nvPr/>
            </p:nvSpPr>
            <p:spPr bwMode="auto">
              <a:xfrm>
                <a:off x="4740276" y="6110288"/>
                <a:ext cx="34925" cy="90488"/>
              </a:xfrm>
              <a:custGeom>
                <a:avLst/>
                <a:gdLst>
                  <a:gd name="T0" fmla="*/ 75 w 89"/>
                  <a:gd name="T1" fmla="*/ 37 h 228"/>
                  <a:gd name="T2" fmla="*/ 88 w 89"/>
                  <a:gd name="T3" fmla="*/ 18 h 228"/>
                  <a:gd name="T4" fmla="*/ 88 w 89"/>
                  <a:gd name="T5" fmla="*/ 8 h 228"/>
                  <a:gd name="T6" fmla="*/ 83 w 89"/>
                  <a:gd name="T7" fmla="*/ 3 h 228"/>
                  <a:gd name="T8" fmla="*/ 75 w 89"/>
                  <a:gd name="T9" fmla="*/ 0 h 228"/>
                  <a:gd name="T10" fmla="*/ 68 w 89"/>
                  <a:gd name="T11" fmla="*/ 1 h 228"/>
                  <a:gd name="T12" fmla="*/ 62 w 89"/>
                  <a:gd name="T13" fmla="*/ 8 h 228"/>
                  <a:gd name="T14" fmla="*/ 56 w 89"/>
                  <a:gd name="T15" fmla="*/ 33 h 228"/>
                  <a:gd name="T16" fmla="*/ 45 w 89"/>
                  <a:gd name="T17" fmla="*/ 54 h 228"/>
                  <a:gd name="T18" fmla="*/ 30 w 89"/>
                  <a:gd name="T19" fmla="*/ 65 h 228"/>
                  <a:gd name="T20" fmla="*/ 29 w 89"/>
                  <a:gd name="T21" fmla="*/ 71 h 228"/>
                  <a:gd name="T22" fmla="*/ 39 w 89"/>
                  <a:gd name="T23" fmla="*/ 79 h 228"/>
                  <a:gd name="T24" fmla="*/ 48 w 89"/>
                  <a:gd name="T25" fmla="*/ 89 h 228"/>
                  <a:gd name="T26" fmla="*/ 49 w 89"/>
                  <a:gd name="T27" fmla="*/ 96 h 228"/>
                  <a:gd name="T28" fmla="*/ 47 w 89"/>
                  <a:gd name="T29" fmla="*/ 107 h 228"/>
                  <a:gd name="T30" fmla="*/ 37 w 89"/>
                  <a:gd name="T31" fmla="*/ 121 h 228"/>
                  <a:gd name="T32" fmla="*/ 25 w 89"/>
                  <a:gd name="T33" fmla="*/ 133 h 228"/>
                  <a:gd name="T34" fmla="*/ 14 w 89"/>
                  <a:gd name="T35" fmla="*/ 141 h 228"/>
                  <a:gd name="T36" fmla="*/ 3 w 89"/>
                  <a:gd name="T37" fmla="*/ 154 h 228"/>
                  <a:gd name="T38" fmla="*/ 0 w 89"/>
                  <a:gd name="T39" fmla="*/ 165 h 228"/>
                  <a:gd name="T40" fmla="*/ 2 w 89"/>
                  <a:gd name="T41" fmla="*/ 169 h 228"/>
                  <a:gd name="T42" fmla="*/ 9 w 89"/>
                  <a:gd name="T43" fmla="*/ 172 h 228"/>
                  <a:gd name="T44" fmla="*/ 20 w 89"/>
                  <a:gd name="T45" fmla="*/ 185 h 228"/>
                  <a:gd name="T46" fmla="*/ 25 w 89"/>
                  <a:gd name="T47" fmla="*/ 213 h 228"/>
                  <a:gd name="T48" fmla="*/ 30 w 89"/>
                  <a:gd name="T49" fmla="*/ 227 h 228"/>
                  <a:gd name="T50" fmla="*/ 38 w 89"/>
                  <a:gd name="T51" fmla="*/ 224 h 228"/>
                  <a:gd name="T52" fmla="*/ 48 w 89"/>
                  <a:gd name="T53" fmla="*/ 213 h 228"/>
                  <a:gd name="T54" fmla="*/ 53 w 89"/>
                  <a:gd name="T55" fmla="*/ 200 h 228"/>
                  <a:gd name="T56" fmla="*/ 54 w 89"/>
                  <a:gd name="T57" fmla="*/ 191 h 228"/>
                  <a:gd name="T58" fmla="*/ 51 w 89"/>
                  <a:gd name="T59" fmla="*/ 184 h 228"/>
                  <a:gd name="T60" fmla="*/ 47 w 89"/>
                  <a:gd name="T61" fmla="*/ 178 h 228"/>
                  <a:gd name="T62" fmla="*/ 41 w 89"/>
                  <a:gd name="T63" fmla="*/ 172 h 228"/>
                  <a:gd name="T64" fmla="*/ 38 w 89"/>
                  <a:gd name="T65" fmla="*/ 166 h 228"/>
                  <a:gd name="T66" fmla="*/ 39 w 89"/>
                  <a:gd name="T67" fmla="*/ 160 h 228"/>
                  <a:gd name="T68" fmla="*/ 51 w 89"/>
                  <a:gd name="T69" fmla="*/ 147 h 228"/>
                  <a:gd name="T70" fmla="*/ 62 w 89"/>
                  <a:gd name="T71" fmla="*/ 136 h 228"/>
                  <a:gd name="T72" fmla="*/ 69 w 89"/>
                  <a:gd name="T73" fmla="*/ 126 h 228"/>
                  <a:gd name="T74" fmla="*/ 72 w 89"/>
                  <a:gd name="T75" fmla="*/ 114 h 228"/>
                  <a:gd name="T76" fmla="*/ 71 w 89"/>
                  <a:gd name="T77" fmla="*/ 104 h 228"/>
                  <a:gd name="T78" fmla="*/ 66 w 89"/>
                  <a:gd name="T79" fmla="*/ 9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9" h="228">
                    <a:moveTo>
                      <a:pt x="68" y="50"/>
                    </a:moveTo>
                    <a:lnTo>
                      <a:pt x="75" y="37"/>
                    </a:lnTo>
                    <a:lnTo>
                      <a:pt x="85" y="24"/>
                    </a:lnTo>
                    <a:lnTo>
                      <a:pt x="88" y="18"/>
                    </a:lnTo>
                    <a:lnTo>
                      <a:pt x="89" y="12"/>
                    </a:lnTo>
                    <a:lnTo>
                      <a:pt x="88" y="8"/>
                    </a:lnTo>
                    <a:lnTo>
                      <a:pt x="86" y="6"/>
                    </a:lnTo>
                    <a:lnTo>
                      <a:pt x="83" y="3"/>
                    </a:lnTo>
                    <a:lnTo>
                      <a:pt x="79" y="1"/>
                    </a:lnTo>
                    <a:lnTo>
                      <a:pt x="75" y="0"/>
                    </a:lnTo>
                    <a:lnTo>
                      <a:pt x="72" y="0"/>
                    </a:lnTo>
                    <a:lnTo>
                      <a:pt x="68" y="1"/>
                    </a:lnTo>
                    <a:lnTo>
                      <a:pt x="66" y="2"/>
                    </a:lnTo>
                    <a:lnTo>
                      <a:pt x="62" y="8"/>
                    </a:lnTo>
                    <a:lnTo>
                      <a:pt x="59" y="15"/>
                    </a:lnTo>
                    <a:lnTo>
                      <a:pt x="56" y="33"/>
                    </a:lnTo>
                    <a:lnTo>
                      <a:pt x="55" y="48"/>
                    </a:lnTo>
                    <a:lnTo>
                      <a:pt x="45" y="54"/>
                    </a:lnTo>
                    <a:lnTo>
                      <a:pt x="36" y="61"/>
                    </a:lnTo>
                    <a:lnTo>
                      <a:pt x="30" y="65"/>
                    </a:lnTo>
                    <a:lnTo>
                      <a:pt x="29" y="68"/>
                    </a:lnTo>
                    <a:lnTo>
                      <a:pt x="29" y="71"/>
                    </a:lnTo>
                    <a:lnTo>
                      <a:pt x="32" y="74"/>
                    </a:lnTo>
                    <a:lnTo>
                      <a:pt x="39" y="79"/>
                    </a:lnTo>
                    <a:lnTo>
                      <a:pt x="47" y="86"/>
                    </a:lnTo>
                    <a:lnTo>
                      <a:pt x="48" y="89"/>
                    </a:lnTo>
                    <a:lnTo>
                      <a:pt x="49" y="92"/>
                    </a:lnTo>
                    <a:lnTo>
                      <a:pt x="49" y="96"/>
                    </a:lnTo>
                    <a:lnTo>
                      <a:pt x="49" y="100"/>
                    </a:lnTo>
                    <a:lnTo>
                      <a:pt x="47" y="107"/>
                    </a:lnTo>
                    <a:lnTo>
                      <a:pt x="42" y="114"/>
                    </a:lnTo>
                    <a:lnTo>
                      <a:pt x="37" y="121"/>
                    </a:lnTo>
                    <a:lnTo>
                      <a:pt x="31" y="129"/>
                    </a:lnTo>
                    <a:lnTo>
                      <a:pt x="25" y="133"/>
                    </a:lnTo>
                    <a:lnTo>
                      <a:pt x="20" y="137"/>
                    </a:lnTo>
                    <a:lnTo>
                      <a:pt x="14" y="141"/>
                    </a:lnTo>
                    <a:lnTo>
                      <a:pt x="8" y="147"/>
                    </a:lnTo>
                    <a:lnTo>
                      <a:pt x="3" y="154"/>
                    </a:lnTo>
                    <a:lnTo>
                      <a:pt x="0" y="160"/>
                    </a:lnTo>
                    <a:lnTo>
                      <a:pt x="0" y="165"/>
                    </a:lnTo>
                    <a:lnTo>
                      <a:pt x="0" y="167"/>
                    </a:lnTo>
                    <a:lnTo>
                      <a:pt x="2" y="169"/>
                    </a:lnTo>
                    <a:lnTo>
                      <a:pt x="3" y="171"/>
                    </a:lnTo>
                    <a:lnTo>
                      <a:pt x="9" y="172"/>
                    </a:lnTo>
                    <a:lnTo>
                      <a:pt x="15" y="173"/>
                    </a:lnTo>
                    <a:lnTo>
                      <a:pt x="20" y="185"/>
                    </a:lnTo>
                    <a:lnTo>
                      <a:pt x="25" y="197"/>
                    </a:lnTo>
                    <a:lnTo>
                      <a:pt x="25" y="213"/>
                    </a:lnTo>
                    <a:lnTo>
                      <a:pt x="26" y="228"/>
                    </a:lnTo>
                    <a:lnTo>
                      <a:pt x="30" y="227"/>
                    </a:lnTo>
                    <a:lnTo>
                      <a:pt x="33" y="226"/>
                    </a:lnTo>
                    <a:lnTo>
                      <a:pt x="38" y="224"/>
                    </a:lnTo>
                    <a:lnTo>
                      <a:pt x="42" y="221"/>
                    </a:lnTo>
                    <a:lnTo>
                      <a:pt x="48" y="213"/>
                    </a:lnTo>
                    <a:lnTo>
                      <a:pt x="51" y="204"/>
                    </a:lnTo>
                    <a:lnTo>
                      <a:pt x="53" y="200"/>
                    </a:lnTo>
                    <a:lnTo>
                      <a:pt x="54" y="195"/>
                    </a:lnTo>
                    <a:lnTo>
                      <a:pt x="54" y="191"/>
                    </a:lnTo>
                    <a:lnTo>
                      <a:pt x="53" y="186"/>
                    </a:lnTo>
                    <a:lnTo>
                      <a:pt x="51" y="184"/>
                    </a:lnTo>
                    <a:lnTo>
                      <a:pt x="50" y="180"/>
                    </a:lnTo>
                    <a:lnTo>
                      <a:pt x="47" y="178"/>
                    </a:lnTo>
                    <a:lnTo>
                      <a:pt x="43" y="177"/>
                    </a:lnTo>
                    <a:lnTo>
                      <a:pt x="41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3"/>
                    </a:lnTo>
                    <a:lnTo>
                      <a:pt x="39" y="160"/>
                    </a:lnTo>
                    <a:lnTo>
                      <a:pt x="43" y="156"/>
                    </a:lnTo>
                    <a:lnTo>
                      <a:pt x="51" y="147"/>
                    </a:lnTo>
                    <a:lnTo>
                      <a:pt x="59" y="139"/>
                    </a:lnTo>
                    <a:lnTo>
                      <a:pt x="62" y="136"/>
                    </a:lnTo>
                    <a:lnTo>
                      <a:pt x="66" y="131"/>
                    </a:lnTo>
                    <a:lnTo>
                      <a:pt x="69" y="126"/>
                    </a:lnTo>
                    <a:lnTo>
                      <a:pt x="72" y="119"/>
                    </a:lnTo>
                    <a:lnTo>
                      <a:pt x="72" y="114"/>
                    </a:lnTo>
                    <a:lnTo>
                      <a:pt x="72" y="109"/>
                    </a:lnTo>
                    <a:lnTo>
                      <a:pt x="71" y="104"/>
                    </a:lnTo>
                    <a:lnTo>
                      <a:pt x="69" y="100"/>
                    </a:lnTo>
                    <a:lnTo>
                      <a:pt x="66" y="91"/>
                    </a:lnTo>
                    <a:lnTo>
                      <a:pt x="62" y="83"/>
                    </a:lnTo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42"/>
              <p:cNvSpPr>
                <a:spLocks/>
              </p:cNvSpPr>
              <p:nvPr/>
            </p:nvSpPr>
            <p:spPr bwMode="auto">
              <a:xfrm>
                <a:off x="4679951" y="6283325"/>
                <a:ext cx="88900" cy="68263"/>
              </a:xfrm>
              <a:custGeom>
                <a:avLst/>
                <a:gdLst>
                  <a:gd name="T0" fmla="*/ 148 w 224"/>
                  <a:gd name="T1" fmla="*/ 55 h 171"/>
                  <a:gd name="T2" fmla="*/ 142 w 224"/>
                  <a:gd name="T3" fmla="*/ 47 h 171"/>
                  <a:gd name="T4" fmla="*/ 139 w 224"/>
                  <a:gd name="T5" fmla="*/ 29 h 171"/>
                  <a:gd name="T6" fmla="*/ 129 w 224"/>
                  <a:gd name="T7" fmla="*/ 9 h 171"/>
                  <a:gd name="T8" fmla="*/ 124 w 224"/>
                  <a:gd name="T9" fmla="*/ 2 h 171"/>
                  <a:gd name="T10" fmla="*/ 117 w 224"/>
                  <a:gd name="T11" fmla="*/ 3 h 171"/>
                  <a:gd name="T12" fmla="*/ 107 w 224"/>
                  <a:gd name="T13" fmla="*/ 8 h 171"/>
                  <a:gd name="T14" fmla="*/ 96 w 224"/>
                  <a:gd name="T15" fmla="*/ 9 h 171"/>
                  <a:gd name="T16" fmla="*/ 81 w 224"/>
                  <a:gd name="T17" fmla="*/ 7 h 171"/>
                  <a:gd name="T18" fmla="*/ 59 w 224"/>
                  <a:gd name="T19" fmla="*/ 1 h 171"/>
                  <a:gd name="T20" fmla="*/ 44 w 224"/>
                  <a:gd name="T21" fmla="*/ 1 h 171"/>
                  <a:gd name="T22" fmla="*/ 33 w 224"/>
                  <a:gd name="T23" fmla="*/ 3 h 171"/>
                  <a:gd name="T24" fmla="*/ 23 w 224"/>
                  <a:gd name="T25" fmla="*/ 11 h 171"/>
                  <a:gd name="T26" fmla="*/ 13 w 224"/>
                  <a:gd name="T27" fmla="*/ 26 h 171"/>
                  <a:gd name="T28" fmla="*/ 5 w 224"/>
                  <a:gd name="T29" fmla="*/ 46 h 171"/>
                  <a:gd name="T30" fmla="*/ 1 w 224"/>
                  <a:gd name="T31" fmla="*/ 64 h 171"/>
                  <a:gd name="T32" fmla="*/ 1 w 224"/>
                  <a:gd name="T33" fmla="*/ 73 h 171"/>
                  <a:gd name="T34" fmla="*/ 9 w 224"/>
                  <a:gd name="T35" fmla="*/ 77 h 171"/>
                  <a:gd name="T36" fmla="*/ 29 w 224"/>
                  <a:gd name="T37" fmla="*/ 78 h 171"/>
                  <a:gd name="T38" fmla="*/ 60 w 224"/>
                  <a:gd name="T39" fmla="*/ 77 h 171"/>
                  <a:gd name="T40" fmla="*/ 74 w 224"/>
                  <a:gd name="T41" fmla="*/ 80 h 171"/>
                  <a:gd name="T42" fmla="*/ 75 w 224"/>
                  <a:gd name="T43" fmla="*/ 86 h 171"/>
                  <a:gd name="T44" fmla="*/ 64 w 224"/>
                  <a:gd name="T45" fmla="*/ 100 h 171"/>
                  <a:gd name="T46" fmla="*/ 50 w 224"/>
                  <a:gd name="T47" fmla="*/ 120 h 171"/>
                  <a:gd name="T48" fmla="*/ 35 w 224"/>
                  <a:gd name="T49" fmla="*/ 139 h 171"/>
                  <a:gd name="T50" fmla="*/ 27 w 224"/>
                  <a:gd name="T51" fmla="*/ 154 h 171"/>
                  <a:gd name="T52" fmla="*/ 24 w 224"/>
                  <a:gd name="T53" fmla="*/ 165 h 171"/>
                  <a:gd name="T54" fmla="*/ 29 w 224"/>
                  <a:gd name="T55" fmla="*/ 169 h 171"/>
                  <a:gd name="T56" fmla="*/ 45 w 224"/>
                  <a:gd name="T57" fmla="*/ 161 h 171"/>
                  <a:gd name="T58" fmla="*/ 70 w 224"/>
                  <a:gd name="T59" fmla="*/ 141 h 171"/>
                  <a:gd name="T60" fmla="*/ 95 w 224"/>
                  <a:gd name="T61" fmla="*/ 120 h 171"/>
                  <a:gd name="T62" fmla="*/ 121 w 224"/>
                  <a:gd name="T63" fmla="*/ 103 h 171"/>
                  <a:gd name="T64" fmla="*/ 141 w 224"/>
                  <a:gd name="T65" fmla="*/ 95 h 171"/>
                  <a:gd name="T66" fmla="*/ 155 w 224"/>
                  <a:gd name="T67" fmla="*/ 94 h 171"/>
                  <a:gd name="T68" fmla="*/ 171 w 224"/>
                  <a:gd name="T69" fmla="*/ 94 h 171"/>
                  <a:gd name="T70" fmla="*/ 187 w 224"/>
                  <a:gd name="T71" fmla="*/ 94 h 171"/>
                  <a:gd name="T72" fmla="*/ 201 w 224"/>
                  <a:gd name="T73" fmla="*/ 89 h 171"/>
                  <a:gd name="T74" fmla="*/ 213 w 224"/>
                  <a:gd name="T75" fmla="*/ 78 h 171"/>
                  <a:gd name="T76" fmla="*/ 220 w 224"/>
                  <a:gd name="T77" fmla="*/ 65 h 171"/>
                  <a:gd name="T78" fmla="*/ 224 w 224"/>
                  <a:gd name="T79" fmla="*/ 49 h 171"/>
                  <a:gd name="T80" fmla="*/ 216 w 224"/>
                  <a:gd name="T81" fmla="*/ 42 h 171"/>
                  <a:gd name="T82" fmla="*/ 199 w 224"/>
                  <a:gd name="T83" fmla="*/ 44 h 171"/>
                  <a:gd name="T84" fmla="*/ 152 w 224"/>
                  <a:gd name="T85" fmla="*/ 56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4" h="171">
                    <a:moveTo>
                      <a:pt x="152" y="56"/>
                    </a:moveTo>
                    <a:lnTo>
                      <a:pt x="148" y="55"/>
                    </a:lnTo>
                    <a:lnTo>
                      <a:pt x="145" y="52"/>
                    </a:lnTo>
                    <a:lnTo>
                      <a:pt x="142" y="47"/>
                    </a:lnTo>
                    <a:lnTo>
                      <a:pt x="141" y="42"/>
                    </a:lnTo>
                    <a:lnTo>
                      <a:pt x="139" y="29"/>
                    </a:lnTo>
                    <a:lnTo>
                      <a:pt x="134" y="19"/>
                    </a:lnTo>
                    <a:lnTo>
                      <a:pt x="129" y="9"/>
                    </a:lnTo>
                    <a:lnTo>
                      <a:pt x="125" y="5"/>
                    </a:lnTo>
                    <a:lnTo>
                      <a:pt x="124" y="2"/>
                    </a:lnTo>
                    <a:lnTo>
                      <a:pt x="121" y="2"/>
                    </a:lnTo>
                    <a:lnTo>
                      <a:pt x="117" y="3"/>
                    </a:lnTo>
                    <a:lnTo>
                      <a:pt x="112" y="6"/>
                    </a:lnTo>
                    <a:lnTo>
                      <a:pt x="107" y="8"/>
                    </a:lnTo>
                    <a:lnTo>
                      <a:pt x="101" y="9"/>
                    </a:lnTo>
                    <a:lnTo>
                      <a:pt x="96" y="9"/>
                    </a:lnTo>
                    <a:lnTo>
                      <a:pt x="92" y="9"/>
                    </a:lnTo>
                    <a:lnTo>
                      <a:pt x="81" y="7"/>
                    </a:lnTo>
                    <a:lnTo>
                      <a:pt x="70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4" y="1"/>
                    </a:lnTo>
                    <a:lnTo>
                      <a:pt x="38" y="1"/>
                    </a:lnTo>
                    <a:lnTo>
                      <a:pt x="33" y="3"/>
                    </a:lnTo>
                    <a:lnTo>
                      <a:pt x="28" y="6"/>
                    </a:lnTo>
                    <a:lnTo>
                      <a:pt x="23" y="11"/>
                    </a:lnTo>
                    <a:lnTo>
                      <a:pt x="18" y="18"/>
                    </a:lnTo>
                    <a:lnTo>
                      <a:pt x="13" y="26"/>
                    </a:lnTo>
                    <a:lnTo>
                      <a:pt x="10" y="36"/>
                    </a:lnTo>
                    <a:lnTo>
                      <a:pt x="5" y="46"/>
                    </a:lnTo>
                    <a:lnTo>
                      <a:pt x="3" y="55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1" y="73"/>
                    </a:lnTo>
                    <a:lnTo>
                      <a:pt x="4" y="76"/>
                    </a:lnTo>
                    <a:lnTo>
                      <a:pt x="9" y="77"/>
                    </a:lnTo>
                    <a:lnTo>
                      <a:pt x="15" y="77"/>
                    </a:lnTo>
                    <a:lnTo>
                      <a:pt x="29" y="78"/>
                    </a:lnTo>
                    <a:lnTo>
                      <a:pt x="45" y="77"/>
                    </a:lnTo>
                    <a:lnTo>
                      <a:pt x="60" y="77"/>
                    </a:lnTo>
                    <a:lnTo>
                      <a:pt x="71" y="78"/>
                    </a:lnTo>
                    <a:lnTo>
                      <a:pt x="74" y="80"/>
                    </a:lnTo>
                    <a:lnTo>
                      <a:pt x="76" y="83"/>
                    </a:lnTo>
                    <a:lnTo>
                      <a:pt x="75" y="86"/>
                    </a:lnTo>
                    <a:lnTo>
                      <a:pt x="71" y="91"/>
                    </a:lnTo>
                    <a:lnTo>
                      <a:pt x="64" y="100"/>
                    </a:lnTo>
                    <a:lnTo>
                      <a:pt x="57" y="111"/>
                    </a:lnTo>
                    <a:lnTo>
                      <a:pt x="50" y="120"/>
                    </a:lnTo>
                    <a:lnTo>
                      <a:pt x="42" y="130"/>
                    </a:lnTo>
                    <a:lnTo>
                      <a:pt x="35" y="139"/>
                    </a:lnTo>
                    <a:lnTo>
                      <a:pt x="29" y="149"/>
                    </a:lnTo>
                    <a:lnTo>
                      <a:pt x="27" y="154"/>
                    </a:lnTo>
                    <a:lnTo>
                      <a:pt x="25" y="159"/>
                    </a:lnTo>
                    <a:lnTo>
                      <a:pt x="24" y="165"/>
                    </a:lnTo>
                    <a:lnTo>
                      <a:pt x="23" y="171"/>
                    </a:lnTo>
                    <a:lnTo>
                      <a:pt x="29" y="169"/>
                    </a:lnTo>
                    <a:lnTo>
                      <a:pt x="36" y="167"/>
                    </a:lnTo>
                    <a:lnTo>
                      <a:pt x="45" y="161"/>
                    </a:lnTo>
                    <a:lnTo>
                      <a:pt x="53" y="155"/>
                    </a:lnTo>
                    <a:lnTo>
                      <a:pt x="70" y="141"/>
                    </a:lnTo>
                    <a:lnTo>
                      <a:pt x="83" y="130"/>
                    </a:lnTo>
                    <a:lnTo>
                      <a:pt x="95" y="120"/>
                    </a:lnTo>
                    <a:lnTo>
                      <a:pt x="107" y="112"/>
                    </a:lnTo>
                    <a:lnTo>
                      <a:pt x="121" y="103"/>
                    </a:lnTo>
                    <a:lnTo>
                      <a:pt x="134" y="96"/>
                    </a:lnTo>
                    <a:lnTo>
                      <a:pt x="141" y="95"/>
                    </a:lnTo>
                    <a:lnTo>
                      <a:pt x="147" y="94"/>
                    </a:lnTo>
                    <a:lnTo>
                      <a:pt x="155" y="94"/>
                    </a:lnTo>
                    <a:lnTo>
                      <a:pt x="163" y="94"/>
                    </a:lnTo>
                    <a:lnTo>
                      <a:pt x="171" y="94"/>
                    </a:lnTo>
                    <a:lnTo>
                      <a:pt x="178" y="94"/>
                    </a:lnTo>
                    <a:lnTo>
                      <a:pt x="187" y="94"/>
                    </a:lnTo>
                    <a:lnTo>
                      <a:pt x="193" y="91"/>
                    </a:lnTo>
                    <a:lnTo>
                      <a:pt x="201" y="89"/>
                    </a:lnTo>
                    <a:lnTo>
                      <a:pt x="208" y="84"/>
                    </a:lnTo>
                    <a:lnTo>
                      <a:pt x="213" y="78"/>
                    </a:lnTo>
                    <a:lnTo>
                      <a:pt x="218" y="72"/>
                    </a:lnTo>
                    <a:lnTo>
                      <a:pt x="220" y="65"/>
                    </a:lnTo>
                    <a:lnTo>
                      <a:pt x="223" y="58"/>
                    </a:lnTo>
                    <a:lnTo>
                      <a:pt x="224" y="49"/>
                    </a:lnTo>
                    <a:lnTo>
                      <a:pt x="224" y="41"/>
                    </a:lnTo>
                    <a:lnTo>
                      <a:pt x="216" y="42"/>
                    </a:lnTo>
                    <a:lnTo>
                      <a:pt x="207" y="43"/>
                    </a:lnTo>
                    <a:lnTo>
                      <a:pt x="199" y="44"/>
                    </a:lnTo>
                    <a:lnTo>
                      <a:pt x="190" y="47"/>
                    </a:lnTo>
                    <a:lnTo>
                      <a:pt x="152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43"/>
              <p:cNvSpPr>
                <a:spLocks/>
              </p:cNvSpPr>
              <p:nvPr/>
            </p:nvSpPr>
            <p:spPr bwMode="auto">
              <a:xfrm>
                <a:off x="4746626" y="6245225"/>
                <a:ext cx="77788" cy="33338"/>
              </a:xfrm>
              <a:custGeom>
                <a:avLst/>
                <a:gdLst>
                  <a:gd name="T0" fmla="*/ 156 w 194"/>
                  <a:gd name="T1" fmla="*/ 6 h 80"/>
                  <a:gd name="T2" fmla="*/ 152 w 194"/>
                  <a:gd name="T3" fmla="*/ 6 h 80"/>
                  <a:gd name="T4" fmla="*/ 146 w 194"/>
                  <a:gd name="T5" fmla="*/ 8 h 80"/>
                  <a:gd name="T6" fmla="*/ 141 w 194"/>
                  <a:gd name="T7" fmla="*/ 11 h 80"/>
                  <a:gd name="T8" fmla="*/ 135 w 194"/>
                  <a:gd name="T9" fmla="*/ 14 h 80"/>
                  <a:gd name="T10" fmla="*/ 124 w 194"/>
                  <a:gd name="T11" fmla="*/ 23 h 80"/>
                  <a:gd name="T12" fmla="*/ 115 w 194"/>
                  <a:gd name="T13" fmla="*/ 30 h 80"/>
                  <a:gd name="T14" fmla="*/ 108 w 194"/>
                  <a:gd name="T15" fmla="*/ 36 h 80"/>
                  <a:gd name="T16" fmla="*/ 103 w 194"/>
                  <a:gd name="T17" fmla="*/ 43 h 80"/>
                  <a:gd name="T18" fmla="*/ 96 w 194"/>
                  <a:gd name="T19" fmla="*/ 53 h 80"/>
                  <a:gd name="T20" fmla="*/ 90 w 194"/>
                  <a:gd name="T21" fmla="*/ 61 h 80"/>
                  <a:gd name="T22" fmla="*/ 73 w 194"/>
                  <a:gd name="T23" fmla="*/ 59 h 80"/>
                  <a:gd name="T24" fmla="*/ 55 w 194"/>
                  <a:gd name="T25" fmla="*/ 55 h 80"/>
                  <a:gd name="T26" fmla="*/ 47 w 194"/>
                  <a:gd name="T27" fmla="*/ 54 h 80"/>
                  <a:gd name="T28" fmla="*/ 38 w 194"/>
                  <a:gd name="T29" fmla="*/ 54 h 80"/>
                  <a:gd name="T30" fmla="*/ 30 w 194"/>
                  <a:gd name="T31" fmla="*/ 55 h 80"/>
                  <a:gd name="T32" fmla="*/ 22 w 194"/>
                  <a:gd name="T33" fmla="*/ 57 h 80"/>
                  <a:gd name="T34" fmla="*/ 16 w 194"/>
                  <a:gd name="T35" fmla="*/ 60 h 80"/>
                  <a:gd name="T36" fmla="*/ 8 w 194"/>
                  <a:gd name="T37" fmla="*/ 62 h 80"/>
                  <a:gd name="T38" fmla="*/ 6 w 194"/>
                  <a:gd name="T39" fmla="*/ 65 h 80"/>
                  <a:gd name="T40" fmla="*/ 2 w 194"/>
                  <a:gd name="T41" fmla="*/ 67 h 80"/>
                  <a:gd name="T42" fmla="*/ 1 w 194"/>
                  <a:gd name="T43" fmla="*/ 70 h 80"/>
                  <a:gd name="T44" fmla="*/ 0 w 194"/>
                  <a:gd name="T45" fmla="*/ 72 h 80"/>
                  <a:gd name="T46" fmla="*/ 0 w 194"/>
                  <a:gd name="T47" fmla="*/ 76 h 80"/>
                  <a:gd name="T48" fmla="*/ 2 w 194"/>
                  <a:gd name="T49" fmla="*/ 77 h 80"/>
                  <a:gd name="T50" fmla="*/ 6 w 194"/>
                  <a:gd name="T51" fmla="*/ 78 h 80"/>
                  <a:gd name="T52" fmla="*/ 10 w 194"/>
                  <a:gd name="T53" fmla="*/ 79 h 80"/>
                  <a:gd name="T54" fmla="*/ 17 w 194"/>
                  <a:gd name="T55" fmla="*/ 80 h 80"/>
                  <a:gd name="T56" fmla="*/ 23 w 194"/>
                  <a:gd name="T57" fmla="*/ 79 h 80"/>
                  <a:gd name="T58" fmla="*/ 36 w 194"/>
                  <a:gd name="T59" fmla="*/ 78 h 80"/>
                  <a:gd name="T60" fmla="*/ 49 w 194"/>
                  <a:gd name="T61" fmla="*/ 78 h 80"/>
                  <a:gd name="T62" fmla="*/ 64 w 194"/>
                  <a:gd name="T63" fmla="*/ 78 h 80"/>
                  <a:gd name="T64" fmla="*/ 75 w 194"/>
                  <a:gd name="T65" fmla="*/ 78 h 80"/>
                  <a:gd name="T66" fmla="*/ 79 w 194"/>
                  <a:gd name="T67" fmla="*/ 78 h 80"/>
                  <a:gd name="T68" fmla="*/ 84 w 194"/>
                  <a:gd name="T69" fmla="*/ 77 h 80"/>
                  <a:gd name="T70" fmla="*/ 90 w 194"/>
                  <a:gd name="T71" fmla="*/ 74 h 80"/>
                  <a:gd name="T72" fmla="*/ 96 w 194"/>
                  <a:gd name="T73" fmla="*/ 70 h 80"/>
                  <a:gd name="T74" fmla="*/ 109 w 194"/>
                  <a:gd name="T75" fmla="*/ 62 h 80"/>
                  <a:gd name="T76" fmla="*/ 121 w 194"/>
                  <a:gd name="T77" fmla="*/ 55 h 80"/>
                  <a:gd name="T78" fmla="*/ 133 w 194"/>
                  <a:gd name="T79" fmla="*/ 48 h 80"/>
                  <a:gd name="T80" fmla="*/ 147 w 194"/>
                  <a:gd name="T81" fmla="*/ 41 h 80"/>
                  <a:gd name="T82" fmla="*/ 160 w 194"/>
                  <a:gd name="T83" fmla="*/ 33 h 80"/>
                  <a:gd name="T84" fmla="*/ 172 w 194"/>
                  <a:gd name="T85" fmla="*/ 26 h 80"/>
                  <a:gd name="T86" fmla="*/ 182 w 194"/>
                  <a:gd name="T87" fmla="*/ 18 h 80"/>
                  <a:gd name="T88" fmla="*/ 192 w 194"/>
                  <a:gd name="T89" fmla="*/ 11 h 80"/>
                  <a:gd name="T90" fmla="*/ 192 w 194"/>
                  <a:gd name="T91" fmla="*/ 8 h 80"/>
                  <a:gd name="T92" fmla="*/ 194 w 194"/>
                  <a:gd name="T93" fmla="*/ 7 h 80"/>
                  <a:gd name="T94" fmla="*/ 194 w 194"/>
                  <a:gd name="T95" fmla="*/ 5 h 80"/>
                  <a:gd name="T96" fmla="*/ 192 w 194"/>
                  <a:gd name="T97" fmla="*/ 2 h 80"/>
                  <a:gd name="T98" fmla="*/ 190 w 194"/>
                  <a:gd name="T99" fmla="*/ 1 h 80"/>
                  <a:gd name="T100" fmla="*/ 188 w 194"/>
                  <a:gd name="T101" fmla="*/ 0 h 80"/>
                  <a:gd name="T102" fmla="*/ 185 w 194"/>
                  <a:gd name="T103" fmla="*/ 0 h 80"/>
                  <a:gd name="T104" fmla="*/ 183 w 194"/>
                  <a:gd name="T105" fmla="*/ 0 h 80"/>
                  <a:gd name="T106" fmla="*/ 179 w 194"/>
                  <a:gd name="T107" fmla="*/ 1 h 80"/>
                  <a:gd name="T108" fmla="*/ 177 w 194"/>
                  <a:gd name="T109" fmla="*/ 2 h 80"/>
                  <a:gd name="T110" fmla="*/ 156 w 194"/>
                  <a:gd name="T111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4" h="80">
                    <a:moveTo>
                      <a:pt x="156" y="6"/>
                    </a:moveTo>
                    <a:lnTo>
                      <a:pt x="152" y="6"/>
                    </a:lnTo>
                    <a:lnTo>
                      <a:pt x="146" y="8"/>
                    </a:lnTo>
                    <a:lnTo>
                      <a:pt x="141" y="11"/>
                    </a:lnTo>
                    <a:lnTo>
                      <a:pt x="135" y="14"/>
                    </a:lnTo>
                    <a:lnTo>
                      <a:pt x="124" y="23"/>
                    </a:lnTo>
                    <a:lnTo>
                      <a:pt x="115" y="30"/>
                    </a:lnTo>
                    <a:lnTo>
                      <a:pt x="108" y="36"/>
                    </a:lnTo>
                    <a:lnTo>
                      <a:pt x="103" y="43"/>
                    </a:lnTo>
                    <a:lnTo>
                      <a:pt x="96" y="53"/>
                    </a:lnTo>
                    <a:lnTo>
                      <a:pt x="90" y="61"/>
                    </a:lnTo>
                    <a:lnTo>
                      <a:pt x="73" y="59"/>
                    </a:lnTo>
                    <a:lnTo>
                      <a:pt x="55" y="55"/>
                    </a:lnTo>
                    <a:lnTo>
                      <a:pt x="47" y="54"/>
                    </a:lnTo>
                    <a:lnTo>
                      <a:pt x="38" y="54"/>
                    </a:lnTo>
                    <a:lnTo>
                      <a:pt x="30" y="55"/>
                    </a:lnTo>
                    <a:lnTo>
                      <a:pt x="22" y="57"/>
                    </a:lnTo>
                    <a:lnTo>
                      <a:pt x="16" y="60"/>
                    </a:lnTo>
                    <a:lnTo>
                      <a:pt x="8" y="62"/>
                    </a:lnTo>
                    <a:lnTo>
                      <a:pt x="6" y="65"/>
                    </a:lnTo>
                    <a:lnTo>
                      <a:pt x="2" y="67"/>
                    </a:lnTo>
                    <a:lnTo>
                      <a:pt x="1" y="70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2" y="77"/>
                    </a:lnTo>
                    <a:lnTo>
                      <a:pt x="6" y="78"/>
                    </a:lnTo>
                    <a:lnTo>
                      <a:pt x="10" y="79"/>
                    </a:lnTo>
                    <a:lnTo>
                      <a:pt x="17" y="80"/>
                    </a:lnTo>
                    <a:lnTo>
                      <a:pt x="23" y="79"/>
                    </a:lnTo>
                    <a:lnTo>
                      <a:pt x="36" y="78"/>
                    </a:lnTo>
                    <a:lnTo>
                      <a:pt x="49" y="78"/>
                    </a:lnTo>
                    <a:lnTo>
                      <a:pt x="64" y="78"/>
                    </a:lnTo>
                    <a:lnTo>
                      <a:pt x="75" y="78"/>
                    </a:lnTo>
                    <a:lnTo>
                      <a:pt x="79" y="78"/>
                    </a:lnTo>
                    <a:lnTo>
                      <a:pt x="84" y="77"/>
                    </a:lnTo>
                    <a:lnTo>
                      <a:pt x="90" y="74"/>
                    </a:lnTo>
                    <a:lnTo>
                      <a:pt x="96" y="70"/>
                    </a:lnTo>
                    <a:lnTo>
                      <a:pt x="109" y="62"/>
                    </a:lnTo>
                    <a:lnTo>
                      <a:pt x="121" y="55"/>
                    </a:lnTo>
                    <a:lnTo>
                      <a:pt x="133" y="48"/>
                    </a:lnTo>
                    <a:lnTo>
                      <a:pt x="147" y="41"/>
                    </a:lnTo>
                    <a:lnTo>
                      <a:pt x="160" y="33"/>
                    </a:lnTo>
                    <a:lnTo>
                      <a:pt x="172" y="26"/>
                    </a:lnTo>
                    <a:lnTo>
                      <a:pt x="182" y="18"/>
                    </a:lnTo>
                    <a:lnTo>
                      <a:pt x="192" y="11"/>
                    </a:lnTo>
                    <a:lnTo>
                      <a:pt x="192" y="8"/>
                    </a:lnTo>
                    <a:lnTo>
                      <a:pt x="194" y="7"/>
                    </a:lnTo>
                    <a:lnTo>
                      <a:pt x="194" y="5"/>
                    </a:lnTo>
                    <a:lnTo>
                      <a:pt x="192" y="2"/>
                    </a:lnTo>
                    <a:lnTo>
                      <a:pt x="190" y="1"/>
                    </a:lnTo>
                    <a:lnTo>
                      <a:pt x="188" y="0"/>
                    </a:lnTo>
                    <a:lnTo>
                      <a:pt x="185" y="0"/>
                    </a:lnTo>
                    <a:lnTo>
                      <a:pt x="183" y="0"/>
                    </a:lnTo>
                    <a:lnTo>
                      <a:pt x="179" y="1"/>
                    </a:lnTo>
                    <a:lnTo>
                      <a:pt x="177" y="2"/>
                    </a:lnTo>
                    <a:lnTo>
                      <a:pt x="156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44"/>
              <p:cNvSpPr>
                <a:spLocks/>
              </p:cNvSpPr>
              <p:nvPr/>
            </p:nvSpPr>
            <p:spPr bwMode="auto">
              <a:xfrm>
                <a:off x="5030788" y="6437313"/>
                <a:ext cx="60325" cy="55563"/>
              </a:xfrm>
              <a:custGeom>
                <a:avLst/>
                <a:gdLst>
                  <a:gd name="T0" fmla="*/ 123 w 150"/>
                  <a:gd name="T1" fmla="*/ 10 h 139"/>
                  <a:gd name="T2" fmla="*/ 92 w 150"/>
                  <a:gd name="T3" fmla="*/ 32 h 139"/>
                  <a:gd name="T4" fmla="*/ 79 w 150"/>
                  <a:gd name="T5" fmla="*/ 43 h 139"/>
                  <a:gd name="T6" fmla="*/ 65 w 150"/>
                  <a:gd name="T7" fmla="*/ 54 h 139"/>
                  <a:gd name="T8" fmla="*/ 55 w 150"/>
                  <a:gd name="T9" fmla="*/ 63 h 139"/>
                  <a:gd name="T10" fmla="*/ 46 w 150"/>
                  <a:gd name="T11" fmla="*/ 73 h 139"/>
                  <a:gd name="T12" fmla="*/ 32 w 150"/>
                  <a:gd name="T13" fmla="*/ 86 h 139"/>
                  <a:gd name="T14" fmla="*/ 17 w 150"/>
                  <a:gd name="T15" fmla="*/ 103 h 139"/>
                  <a:gd name="T16" fmla="*/ 9 w 150"/>
                  <a:gd name="T17" fmla="*/ 111 h 139"/>
                  <a:gd name="T18" fmla="*/ 5 w 150"/>
                  <a:gd name="T19" fmla="*/ 121 h 139"/>
                  <a:gd name="T20" fmla="*/ 1 w 150"/>
                  <a:gd name="T21" fmla="*/ 129 h 139"/>
                  <a:gd name="T22" fmla="*/ 0 w 150"/>
                  <a:gd name="T23" fmla="*/ 139 h 139"/>
                  <a:gd name="T24" fmla="*/ 3 w 150"/>
                  <a:gd name="T25" fmla="*/ 138 h 139"/>
                  <a:gd name="T26" fmla="*/ 7 w 150"/>
                  <a:gd name="T27" fmla="*/ 134 h 139"/>
                  <a:gd name="T28" fmla="*/ 12 w 150"/>
                  <a:gd name="T29" fmla="*/ 129 h 139"/>
                  <a:gd name="T30" fmla="*/ 18 w 150"/>
                  <a:gd name="T31" fmla="*/ 125 h 139"/>
                  <a:gd name="T32" fmla="*/ 27 w 150"/>
                  <a:gd name="T33" fmla="*/ 114 h 139"/>
                  <a:gd name="T34" fmla="*/ 35 w 150"/>
                  <a:gd name="T35" fmla="*/ 105 h 139"/>
                  <a:gd name="T36" fmla="*/ 44 w 150"/>
                  <a:gd name="T37" fmla="*/ 98 h 139"/>
                  <a:gd name="T38" fmla="*/ 54 w 150"/>
                  <a:gd name="T39" fmla="*/ 91 h 139"/>
                  <a:gd name="T40" fmla="*/ 64 w 150"/>
                  <a:gd name="T41" fmla="*/ 84 h 139"/>
                  <a:gd name="T42" fmla="*/ 74 w 150"/>
                  <a:gd name="T43" fmla="*/ 77 h 139"/>
                  <a:gd name="T44" fmla="*/ 86 w 150"/>
                  <a:gd name="T45" fmla="*/ 64 h 139"/>
                  <a:gd name="T46" fmla="*/ 100 w 150"/>
                  <a:gd name="T47" fmla="*/ 52 h 139"/>
                  <a:gd name="T48" fmla="*/ 117 w 150"/>
                  <a:gd name="T49" fmla="*/ 38 h 139"/>
                  <a:gd name="T50" fmla="*/ 135 w 150"/>
                  <a:gd name="T51" fmla="*/ 22 h 139"/>
                  <a:gd name="T52" fmla="*/ 138 w 150"/>
                  <a:gd name="T53" fmla="*/ 19 h 139"/>
                  <a:gd name="T54" fmla="*/ 145 w 150"/>
                  <a:gd name="T55" fmla="*/ 10 h 139"/>
                  <a:gd name="T56" fmla="*/ 148 w 150"/>
                  <a:gd name="T57" fmla="*/ 6 h 139"/>
                  <a:gd name="T58" fmla="*/ 149 w 150"/>
                  <a:gd name="T59" fmla="*/ 3 h 139"/>
                  <a:gd name="T60" fmla="*/ 150 w 150"/>
                  <a:gd name="T61" fmla="*/ 1 h 139"/>
                  <a:gd name="T62" fmla="*/ 149 w 150"/>
                  <a:gd name="T63" fmla="*/ 0 h 139"/>
                  <a:gd name="T64" fmla="*/ 148 w 150"/>
                  <a:gd name="T65" fmla="*/ 0 h 139"/>
                  <a:gd name="T66" fmla="*/ 147 w 150"/>
                  <a:gd name="T67" fmla="*/ 0 h 139"/>
                  <a:gd name="T68" fmla="*/ 123 w 150"/>
                  <a:gd name="T69" fmla="*/ 1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0" h="139">
                    <a:moveTo>
                      <a:pt x="123" y="10"/>
                    </a:moveTo>
                    <a:lnTo>
                      <a:pt x="92" y="32"/>
                    </a:lnTo>
                    <a:lnTo>
                      <a:pt x="79" y="43"/>
                    </a:lnTo>
                    <a:lnTo>
                      <a:pt x="65" y="54"/>
                    </a:lnTo>
                    <a:lnTo>
                      <a:pt x="55" y="63"/>
                    </a:lnTo>
                    <a:lnTo>
                      <a:pt x="46" y="73"/>
                    </a:lnTo>
                    <a:lnTo>
                      <a:pt x="32" y="86"/>
                    </a:lnTo>
                    <a:lnTo>
                      <a:pt x="17" y="103"/>
                    </a:lnTo>
                    <a:lnTo>
                      <a:pt x="9" y="111"/>
                    </a:lnTo>
                    <a:lnTo>
                      <a:pt x="5" y="121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3" y="138"/>
                    </a:lnTo>
                    <a:lnTo>
                      <a:pt x="7" y="134"/>
                    </a:lnTo>
                    <a:lnTo>
                      <a:pt x="12" y="129"/>
                    </a:lnTo>
                    <a:lnTo>
                      <a:pt x="18" y="125"/>
                    </a:lnTo>
                    <a:lnTo>
                      <a:pt x="27" y="114"/>
                    </a:lnTo>
                    <a:lnTo>
                      <a:pt x="35" y="105"/>
                    </a:lnTo>
                    <a:lnTo>
                      <a:pt x="44" y="98"/>
                    </a:lnTo>
                    <a:lnTo>
                      <a:pt x="54" y="91"/>
                    </a:lnTo>
                    <a:lnTo>
                      <a:pt x="64" y="84"/>
                    </a:lnTo>
                    <a:lnTo>
                      <a:pt x="74" y="77"/>
                    </a:lnTo>
                    <a:lnTo>
                      <a:pt x="86" y="64"/>
                    </a:lnTo>
                    <a:lnTo>
                      <a:pt x="100" y="52"/>
                    </a:lnTo>
                    <a:lnTo>
                      <a:pt x="117" y="38"/>
                    </a:lnTo>
                    <a:lnTo>
                      <a:pt x="135" y="22"/>
                    </a:lnTo>
                    <a:lnTo>
                      <a:pt x="138" y="19"/>
                    </a:lnTo>
                    <a:lnTo>
                      <a:pt x="145" y="10"/>
                    </a:lnTo>
                    <a:lnTo>
                      <a:pt x="148" y="6"/>
                    </a:lnTo>
                    <a:lnTo>
                      <a:pt x="149" y="3"/>
                    </a:lnTo>
                    <a:lnTo>
                      <a:pt x="150" y="1"/>
                    </a:lnTo>
                    <a:lnTo>
                      <a:pt x="149" y="0"/>
                    </a:lnTo>
                    <a:lnTo>
                      <a:pt x="148" y="0"/>
                    </a:lnTo>
                    <a:lnTo>
                      <a:pt x="147" y="0"/>
                    </a:lnTo>
                    <a:lnTo>
                      <a:pt x="123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45"/>
              <p:cNvSpPr>
                <a:spLocks/>
              </p:cNvSpPr>
              <p:nvPr/>
            </p:nvSpPr>
            <p:spPr bwMode="auto">
              <a:xfrm>
                <a:off x="6380163" y="6992938"/>
                <a:ext cx="252413" cy="280988"/>
              </a:xfrm>
              <a:custGeom>
                <a:avLst/>
                <a:gdLst>
                  <a:gd name="T0" fmla="*/ 341 w 637"/>
                  <a:gd name="T1" fmla="*/ 565 h 709"/>
                  <a:gd name="T2" fmla="*/ 320 w 637"/>
                  <a:gd name="T3" fmla="*/ 503 h 709"/>
                  <a:gd name="T4" fmla="*/ 270 w 637"/>
                  <a:gd name="T5" fmla="*/ 466 h 709"/>
                  <a:gd name="T6" fmla="*/ 296 w 637"/>
                  <a:gd name="T7" fmla="*/ 430 h 709"/>
                  <a:gd name="T8" fmla="*/ 518 w 637"/>
                  <a:gd name="T9" fmla="*/ 585 h 709"/>
                  <a:gd name="T10" fmla="*/ 612 w 637"/>
                  <a:gd name="T11" fmla="*/ 633 h 709"/>
                  <a:gd name="T12" fmla="*/ 636 w 637"/>
                  <a:gd name="T13" fmla="*/ 615 h 709"/>
                  <a:gd name="T14" fmla="*/ 625 w 637"/>
                  <a:gd name="T15" fmla="*/ 499 h 709"/>
                  <a:gd name="T16" fmla="*/ 591 w 637"/>
                  <a:gd name="T17" fmla="*/ 417 h 709"/>
                  <a:gd name="T18" fmla="*/ 448 w 637"/>
                  <a:gd name="T19" fmla="*/ 436 h 709"/>
                  <a:gd name="T20" fmla="*/ 419 w 637"/>
                  <a:gd name="T21" fmla="*/ 415 h 709"/>
                  <a:gd name="T22" fmla="*/ 424 w 637"/>
                  <a:gd name="T23" fmla="*/ 390 h 709"/>
                  <a:gd name="T24" fmla="*/ 298 w 637"/>
                  <a:gd name="T25" fmla="*/ 272 h 709"/>
                  <a:gd name="T26" fmla="*/ 371 w 637"/>
                  <a:gd name="T27" fmla="*/ 301 h 709"/>
                  <a:gd name="T28" fmla="*/ 440 w 637"/>
                  <a:gd name="T29" fmla="*/ 343 h 709"/>
                  <a:gd name="T30" fmla="*/ 502 w 637"/>
                  <a:gd name="T31" fmla="*/ 387 h 709"/>
                  <a:gd name="T32" fmla="*/ 570 w 637"/>
                  <a:gd name="T33" fmla="*/ 381 h 709"/>
                  <a:gd name="T34" fmla="*/ 571 w 637"/>
                  <a:gd name="T35" fmla="*/ 344 h 709"/>
                  <a:gd name="T36" fmla="*/ 497 w 637"/>
                  <a:gd name="T37" fmla="*/ 265 h 709"/>
                  <a:gd name="T38" fmla="*/ 573 w 637"/>
                  <a:gd name="T39" fmla="*/ 286 h 709"/>
                  <a:gd name="T40" fmla="*/ 602 w 637"/>
                  <a:gd name="T41" fmla="*/ 286 h 709"/>
                  <a:gd name="T42" fmla="*/ 580 w 637"/>
                  <a:gd name="T43" fmla="*/ 191 h 709"/>
                  <a:gd name="T44" fmla="*/ 485 w 637"/>
                  <a:gd name="T45" fmla="*/ 153 h 709"/>
                  <a:gd name="T46" fmla="*/ 438 w 637"/>
                  <a:gd name="T47" fmla="*/ 117 h 709"/>
                  <a:gd name="T48" fmla="*/ 414 w 637"/>
                  <a:gd name="T49" fmla="*/ 132 h 709"/>
                  <a:gd name="T50" fmla="*/ 376 w 637"/>
                  <a:gd name="T51" fmla="*/ 184 h 709"/>
                  <a:gd name="T52" fmla="*/ 316 w 637"/>
                  <a:gd name="T53" fmla="*/ 241 h 709"/>
                  <a:gd name="T54" fmla="*/ 293 w 637"/>
                  <a:gd name="T55" fmla="*/ 233 h 709"/>
                  <a:gd name="T56" fmla="*/ 284 w 637"/>
                  <a:gd name="T57" fmla="*/ 176 h 709"/>
                  <a:gd name="T58" fmla="*/ 338 w 637"/>
                  <a:gd name="T59" fmla="*/ 164 h 709"/>
                  <a:gd name="T60" fmla="*/ 377 w 637"/>
                  <a:gd name="T61" fmla="*/ 105 h 709"/>
                  <a:gd name="T62" fmla="*/ 346 w 637"/>
                  <a:gd name="T63" fmla="*/ 65 h 709"/>
                  <a:gd name="T64" fmla="*/ 264 w 637"/>
                  <a:gd name="T65" fmla="*/ 1 h 709"/>
                  <a:gd name="T66" fmla="*/ 193 w 637"/>
                  <a:gd name="T67" fmla="*/ 73 h 709"/>
                  <a:gd name="T68" fmla="*/ 153 w 637"/>
                  <a:gd name="T69" fmla="*/ 60 h 709"/>
                  <a:gd name="T70" fmla="*/ 127 w 637"/>
                  <a:gd name="T71" fmla="*/ 67 h 709"/>
                  <a:gd name="T72" fmla="*/ 116 w 637"/>
                  <a:gd name="T73" fmla="*/ 153 h 709"/>
                  <a:gd name="T74" fmla="*/ 103 w 637"/>
                  <a:gd name="T75" fmla="*/ 160 h 709"/>
                  <a:gd name="T76" fmla="*/ 83 w 637"/>
                  <a:gd name="T77" fmla="*/ 100 h 709"/>
                  <a:gd name="T78" fmla="*/ 64 w 637"/>
                  <a:gd name="T79" fmla="*/ 125 h 709"/>
                  <a:gd name="T80" fmla="*/ 52 w 637"/>
                  <a:gd name="T81" fmla="*/ 147 h 709"/>
                  <a:gd name="T82" fmla="*/ 3 w 637"/>
                  <a:gd name="T83" fmla="*/ 118 h 709"/>
                  <a:gd name="T84" fmla="*/ 10 w 637"/>
                  <a:gd name="T85" fmla="*/ 154 h 709"/>
                  <a:gd name="T86" fmla="*/ 77 w 637"/>
                  <a:gd name="T87" fmla="*/ 238 h 709"/>
                  <a:gd name="T88" fmla="*/ 101 w 637"/>
                  <a:gd name="T89" fmla="*/ 292 h 709"/>
                  <a:gd name="T90" fmla="*/ 32 w 637"/>
                  <a:gd name="T91" fmla="*/ 226 h 709"/>
                  <a:gd name="T92" fmla="*/ 39 w 637"/>
                  <a:gd name="T93" fmla="*/ 268 h 709"/>
                  <a:gd name="T94" fmla="*/ 14 w 637"/>
                  <a:gd name="T95" fmla="*/ 334 h 709"/>
                  <a:gd name="T96" fmla="*/ 28 w 637"/>
                  <a:gd name="T97" fmla="*/ 360 h 709"/>
                  <a:gd name="T98" fmla="*/ 85 w 637"/>
                  <a:gd name="T99" fmla="*/ 395 h 709"/>
                  <a:gd name="T100" fmla="*/ 105 w 637"/>
                  <a:gd name="T101" fmla="*/ 449 h 709"/>
                  <a:gd name="T102" fmla="*/ 181 w 637"/>
                  <a:gd name="T103" fmla="*/ 515 h 709"/>
                  <a:gd name="T104" fmla="*/ 194 w 637"/>
                  <a:gd name="T105" fmla="*/ 547 h 709"/>
                  <a:gd name="T106" fmla="*/ 201 w 637"/>
                  <a:gd name="T107" fmla="*/ 575 h 709"/>
                  <a:gd name="T108" fmla="*/ 239 w 637"/>
                  <a:gd name="T109" fmla="*/ 632 h 709"/>
                  <a:gd name="T110" fmla="*/ 227 w 637"/>
                  <a:gd name="T111" fmla="*/ 638 h 709"/>
                  <a:gd name="T112" fmla="*/ 189 w 637"/>
                  <a:gd name="T113" fmla="*/ 604 h 709"/>
                  <a:gd name="T114" fmla="*/ 193 w 637"/>
                  <a:gd name="T115" fmla="*/ 626 h 709"/>
                  <a:gd name="T116" fmla="*/ 273 w 637"/>
                  <a:gd name="T117" fmla="*/ 706 h 709"/>
                  <a:gd name="T118" fmla="*/ 318 w 637"/>
                  <a:gd name="T119" fmla="*/ 680 h 709"/>
                  <a:gd name="T120" fmla="*/ 335 w 637"/>
                  <a:gd name="T121" fmla="*/ 663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7" h="709">
                    <a:moveTo>
                      <a:pt x="353" y="605"/>
                    </a:moveTo>
                    <a:lnTo>
                      <a:pt x="353" y="598"/>
                    </a:lnTo>
                    <a:lnTo>
                      <a:pt x="350" y="593"/>
                    </a:lnTo>
                    <a:lnTo>
                      <a:pt x="349" y="588"/>
                    </a:lnTo>
                    <a:lnTo>
                      <a:pt x="347" y="584"/>
                    </a:lnTo>
                    <a:lnTo>
                      <a:pt x="342" y="574"/>
                    </a:lnTo>
                    <a:lnTo>
                      <a:pt x="341" y="565"/>
                    </a:lnTo>
                    <a:lnTo>
                      <a:pt x="346" y="547"/>
                    </a:lnTo>
                    <a:lnTo>
                      <a:pt x="350" y="532"/>
                    </a:lnTo>
                    <a:lnTo>
                      <a:pt x="348" y="526"/>
                    </a:lnTo>
                    <a:lnTo>
                      <a:pt x="346" y="521"/>
                    </a:lnTo>
                    <a:lnTo>
                      <a:pt x="341" y="516"/>
                    </a:lnTo>
                    <a:lnTo>
                      <a:pt x="335" y="511"/>
                    </a:lnTo>
                    <a:lnTo>
                      <a:pt x="320" y="503"/>
                    </a:lnTo>
                    <a:lnTo>
                      <a:pt x="305" y="494"/>
                    </a:lnTo>
                    <a:lnTo>
                      <a:pt x="289" y="486"/>
                    </a:lnTo>
                    <a:lnTo>
                      <a:pt x="277" y="479"/>
                    </a:lnTo>
                    <a:lnTo>
                      <a:pt x="273" y="475"/>
                    </a:lnTo>
                    <a:lnTo>
                      <a:pt x="270" y="472"/>
                    </a:lnTo>
                    <a:lnTo>
                      <a:pt x="269" y="469"/>
                    </a:lnTo>
                    <a:lnTo>
                      <a:pt x="270" y="466"/>
                    </a:lnTo>
                    <a:lnTo>
                      <a:pt x="279" y="456"/>
                    </a:lnTo>
                    <a:lnTo>
                      <a:pt x="287" y="450"/>
                    </a:lnTo>
                    <a:lnTo>
                      <a:pt x="289" y="446"/>
                    </a:lnTo>
                    <a:lnTo>
                      <a:pt x="289" y="442"/>
                    </a:lnTo>
                    <a:lnTo>
                      <a:pt x="289" y="434"/>
                    </a:lnTo>
                    <a:lnTo>
                      <a:pt x="287" y="426"/>
                    </a:lnTo>
                    <a:lnTo>
                      <a:pt x="296" y="430"/>
                    </a:lnTo>
                    <a:lnTo>
                      <a:pt x="307" y="436"/>
                    </a:lnTo>
                    <a:lnTo>
                      <a:pt x="322" y="444"/>
                    </a:lnTo>
                    <a:lnTo>
                      <a:pt x="336" y="454"/>
                    </a:lnTo>
                    <a:lnTo>
                      <a:pt x="364" y="473"/>
                    </a:lnTo>
                    <a:lnTo>
                      <a:pt x="385" y="488"/>
                    </a:lnTo>
                    <a:lnTo>
                      <a:pt x="499" y="570"/>
                    </a:lnTo>
                    <a:lnTo>
                      <a:pt x="518" y="585"/>
                    </a:lnTo>
                    <a:lnTo>
                      <a:pt x="541" y="600"/>
                    </a:lnTo>
                    <a:lnTo>
                      <a:pt x="553" y="609"/>
                    </a:lnTo>
                    <a:lnTo>
                      <a:pt x="566" y="616"/>
                    </a:lnTo>
                    <a:lnTo>
                      <a:pt x="578" y="623"/>
                    </a:lnTo>
                    <a:lnTo>
                      <a:pt x="590" y="628"/>
                    </a:lnTo>
                    <a:lnTo>
                      <a:pt x="601" y="632"/>
                    </a:lnTo>
                    <a:lnTo>
                      <a:pt x="612" y="633"/>
                    </a:lnTo>
                    <a:lnTo>
                      <a:pt x="616" y="633"/>
                    </a:lnTo>
                    <a:lnTo>
                      <a:pt x="620" y="632"/>
                    </a:lnTo>
                    <a:lnTo>
                      <a:pt x="625" y="629"/>
                    </a:lnTo>
                    <a:lnTo>
                      <a:pt x="628" y="627"/>
                    </a:lnTo>
                    <a:lnTo>
                      <a:pt x="631" y="624"/>
                    </a:lnTo>
                    <a:lnTo>
                      <a:pt x="633" y="620"/>
                    </a:lnTo>
                    <a:lnTo>
                      <a:pt x="636" y="615"/>
                    </a:lnTo>
                    <a:lnTo>
                      <a:pt x="637" y="609"/>
                    </a:lnTo>
                    <a:lnTo>
                      <a:pt x="637" y="602"/>
                    </a:lnTo>
                    <a:lnTo>
                      <a:pt x="637" y="593"/>
                    </a:lnTo>
                    <a:lnTo>
                      <a:pt x="637" y="585"/>
                    </a:lnTo>
                    <a:lnTo>
                      <a:pt x="636" y="574"/>
                    </a:lnTo>
                    <a:lnTo>
                      <a:pt x="630" y="537"/>
                    </a:lnTo>
                    <a:lnTo>
                      <a:pt x="625" y="499"/>
                    </a:lnTo>
                    <a:lnTo>
                      <a:pt x="619" y="461"/>
                    </a:lnTo>
                    <a:lnTo>
                      <a:pt x="610" y="425"/>
                    </a:lnTo>
                    <a:lnTo>
                      <a:pt x="609" y="422"/>
                    </a:lnTo>
                    <a:lnTo>
                      <a:pt x="608" y="420"/>
                    </a:lnTo>
                    <a:lnTo>
                      <a:pt x="604" y="419"/>
                    </a:lnTo>
                    <a:lnTo>
                      <a:pt x="601" y="419"/>
                    </a:lnTo>
                    <a:lnTo>
                      <a:pt x="591" y="417"/>
                    </a:lnTo>
                    <a:lnTo>
                      <a:pt x="578" y="419"/>
                    </a:lnTo>
                    <a:lnTo>
                      <a:pt x="547" y="422"/>
                    </a:lnTo>
                    <a:lnTo>
                      <a:pt x="512" y="428"/>
                    </a:lnTo>
                    <a:lnTo>
                      <a:pt x="495" y="432"/>
                    </a:lnTo>
                    <a:lnTo>
                      <a:pt x="478" y="433"/>
                    </a:lnTo>
                    <a:lnTo>
                      <a:pt x="462" y="436"/>
                    </a:lnTo>
                    <a:lnTo>
                      <a:pt x="448" y="436"/>
                    </a:lnTo>
                    <a:lnTo>
                      <a:pt x="436" y="434"/>
                    </a:lnTo>
                    <a:lnTo>
                      <a:pt x="426" y="432"/>
                    </a:lnTo>
                    <a:lnTo>
                      <a:pt x="424" y="430"/>
                    </a:lnTo>
                    <a:lnTo>
                      <a:pt x="421" y="427"/>
                    </a:lnTo>
                    <a:lnTo>
                      <a:pt x="419" y="423"/>
                    </a:lnTo>
                    <a:lnTo>
                      <a:pt x="419" y="420"/>
                    </a:lnTo>
                    <a:lnTo>
                      <a:pt x="419" y="415"/>
                    </a:lnTo>
                    <a:lnTo>
                      <a:pt x="421" y="411"/>
                    </a:lnTo>
                    <a:lnTo>
                      <a:pt x="423" y="408"/>
                    </a:lnTo>
                    <a:lnTo>
                      <a:pt x="425" y="404"/>
                    </a:lnTo>
                    <a:lnTo>
                      <a:pt x="426" y="402"/>
                    </a:lnTo>
                    <a:lnTo>
                      <a:pt x="428" y="398"/>
                    </a:lnTo>
                    <a:lnTo>
                      <a:pt x="426" y="395"/>
                    </a:lnTo>
                    <a:lnTo>
                      <a:pt x="424" y="390"/>
                    </a:lnTo>
                    <a:lnTo>
                      <a:pt x="419" y="381"/>
                    </a:lnTo>
                    <a:lnTo>
                      <a:pt x="411" y="372"/>
                    </a:lnTo>
                    <a:lnTo>
                      <a:pt x="402" y="363"/>
                    </a:lnTo>
                    <a:lnTo>
                      <a:pt x="395" y="357"/>
                    </a:lnTo>
                    <a:lnTo>
                      <a:pt x="277" y="268"/>
                    </a:lnTo>
                    <a:lnTo>
                      <a:pt x="287" y="269"/>
                    </a:lnTo>
                    <a:lnTo>
                      <a:pt x="298" y="272"/>
                    </a:lnTo>
                    <a:lnTo>
                      <a:pt x="308" y="277"/>
                    </a:lnTo>
                    <a:lnTo>
                      <a:pt x="319" y="281"/>
                    </a:lnTo>
                    <a:lnTo>
                      <a:pt x="330" y="288"/>
                    </a:lnTo>
                    <a:lnTo>
                      <a:pt x="341" y="292"/>
                    </a:lnTo>
                    <a:lnTo>
                      <a:pt x="352" y="296"/>
                    </a:lnTo>
                    <a:lnTo>
                      <a:pt x="363" y="300"/>
                    </a:lnTo>
                    <a:lnTo>
                      <a:pt x="371" y="301"/>
                    </a:lnTo>
                    <a:lnTo>
                      <a:pt x="382" y="304"/>
                    </a:lnTo>
                    <a:lnTo>
                      <a:pt x="393" y="309"/>
                    </a:lnTo>
                    <a:lnTo>
                      <a:pt x="403" y="315"/>
                    </a:lnTo>
                    <a:lnTo>
                      <a:pt x="415" y="321"/>
                    </a:lnTo>
                    <a:lnTo>
                      <a:pt x="425" y="328"/>
                    </a:lnTo>
                    <a:lnTo>
                      <a:pt x="434" y="336"/>
                    </a:lnTo>
                    <a:lnTo>
                      <a:pt x="440" y="343"/>
                    </a:lnTo>
                    <a:lnTo>
                      <a:pt x="446" y="350"/>
                    </a:lnTo>
                    <a:lnTo>
                      <a:pt x="454" y="357"/>
                    </a:lnTo>
                    <a:lnTo>
                      <a:pt x="462" y="365"/>
                    </a:lnTo>
                    <a:lnTo>
                      <a:pt x="472" y="372"/>
                    </a:lnTo>
                    <a:lnTo>
                      <a:pt x="482" y="378"/>
                    </a:lnTo>
                    <a:lnTo>
                      <a:pt x="493" y="383"/>
                    </a:lnTo>
                    <a:lnTo>
                      <a:pt x="502" y="387"/>
                    </a:lnTo>
                    <a:lnTo>
                      <a:pt x="512" y="390"/>
                    </a:lnTo>
                    <a:lnTo>
                      <a:pt x="520" y="390"/>
                    </a:lnTo>
                    <a:lnTo>
                      <a:pt x="531" y="390"/>
                    </a:lnTo>
                    <a:lnTo>
                      <a:pt x="544" y="387"/>
                    </a:lnTo>
                    <a:lnTo>
                      <a:pt x="557" y="385"/>
                    </a:lnTo>
                    <a:lnTo>
                      <a:pt x="564" y="383"/>
                    </a:lnTo>
                    <a:lnTo>
                      <a:pt x="570" y="381"/>
                    </a:lnTo>
                    <a:lnTo>
                      <a:pt x="574" y="378"/>
                    </a:lnTo>
                    <a:lnTo>
                      <a:pt x="578" y="374"/>
                    </a:lnTo>
                    <a:lnTo>
                      <a:pt x="580" y="371"/>
                    </a:lnTo>
                    <a:lnTo>
                      <a:pt x="582" y="367"/>
                    </a:lnTo>
                    <a:lnTo>
                      <a:pt x="582" y="362"/>
                    </a:lnTo>
                    <a:lnTo>
                      <a:pt x="579" y="356"/>
                    </a:lnTo>
                    <a:lnTo>
                      <a:pt x="571" y="344"/>
                    </a:lnTo>
                    <a:lnTo>
                      <a:pt x="559" y="332"/>
                    </a:lnTo>
                    <a:lnTo>
                      <a:pt x="545" y="318"/>
                    </a:lnTo>
                    <a:lnTo>
                      <a:pt x="530" y="304"/>
                    </a:lnTo>
                    <a:lnTo>
                      <a:pt x="517" y="291"/>
                    </a:lnTo>
                    <a:lnTo>
                      <a:pt x="506" y="278"/>
                    </a:lnTo>
                    <a:lnTo>
                      <a:pt x="501" y="271"/>
                    </a:lnTo>
                    <a:lnTo>
                      <a:pt x="497" y="265"/>
                    </a:lnTo>
                    <a:lnTo>
                      <a:pt x="495" y="259"/>
                    </a:lnTo>
                    <a:lnTo>
                      <a:pt x="494" y="254"/>
                    </a:lnTo>
                    <a:lnTo>
                      <a:pt x="505" y="256"/>
                    </a:lnTo>
                    <a:lnTo>
                      <a:pt x="519" y="262"/>
                    </a:lnTo>
                    <a:lnTo>
                      <a:pt x="537" y="271"/>
                    </a:lnTo>
                    <a:lnTo>
                      <a:pt x="555" y="279"/>
                    </a:lnTo>
                    <a:lnTo>
                      <a:pt x="573" y="286"/>
                    </a:lnTo>
                    <a:lnTo>
                      <a:pt x="589" y="291"/>
                    </a:lnTo>
                    <a:lnTo>
                      <a:pt x="594" y="292"/>
                    </a:lnTo>
                    <a:lnTo>
                      <a:pt x="598" y="292"/>
                    </a:lnTo>
                    <a:lnTo>
                      <a:pt x="601" y="291"/>
                    </a:lnTo>
                    <a:lnTo>
                      <a:pt x="602" y="290"/>
                    </a:lnTo>
                    <a:lnTo>
                      <a:pt x="602" y="289"/>
                    </a:lnTo>
                    <a:lnTo>
                      <a:pt x="602" y="286"/>
                    </a:lnTo>
                    <a:lnTo>
                      <a:pt x="602" y="275"/>
                    </a:lnTo>
                    <a:lnTo>
                      <a:pt x="601" y="261"/>
                    </a:lnTo>
                    <a:lnTo>
                      <a:pt x="597" y="245"/>
                    </a:lnTo>
                    <a:lnTo>
                      <a:pt x="594" y="227"/>
                    </a:lnTo>
                    <a:lnTo>
                      <a:pt x="590" y="212"/>
                    </a:lnTo>
                    <a:lnTo>
                      <a:pt x="584" y="197"/>
                    </a:lnTo>
                    <a:lnTo>
                      <a:pt x="580" y="191"/>
                    </a:lnTo>
                    <a:lnTo>
                      <a:pt x="577" y="186"/>
                    </a:lnTo>
                    <a:lnTo>
                      <a:pt x="573" y="183"/>
                    </a:lnTo>
                    <a:lnTo>
                      <a:pt x="570" y="180"/>
                    </a:lnTo>
                    <a:lnTo>
                      <a:pt x="545" y="171"/>
                    </a:lnTo>
                    <a:lnTo>
                      <a:pt x="515" y="161"/>
                    </a:lnTo>
                    <a:lnTo>
                      <a:pt x="500" y="156"/>
                    </a:lnTo>
                    <a:lnTo>
                      <a:pt x="485" y="153"/>
                    </a:lnTo>
                    <a:lnTo>
                      <a:pt x="472" y="152"/>
                    </a:lnTo>
                    <a:lnTo>
                      <a:pt x="461" y="152"/>
                    </a:lnTo>
                    <a:lnTo>
                      <a:pt x="455" y="144"/>
                    </a:lnTo>
                    <a:lnTo>
                      <a:pt x="449" y="135"/>
                    </a:lnTo>
                    <a:lnTo>
                      <a:pt x="443" y="126"/>
                    </a:lnTo>
                    <a:lnTo>
                      <a:pt x="440" y="118"/>
                    </a:lnTo>
                    <a:lnTo>
                      <a:pt x="438" y="117"/>
                    </a:lnTo>
                    <a:lnTo>
                      <a:pt x="438" y="115"/>
                    </a:lnTo>
                    <a:lnTo>
                      <a:pt x="436" y="114"/>
                    </a:lnTo>
                    <a:lnTo>
                      <a:pt x="434" y="115"/>
                    </a:lnTo>
                    <a:lnTo>
                      <a:pt x="429" y="117"/>
                    </a:lnTo>
                    <a:lnTo>
                      <a:pt x="424" y="120"/>
                    </a:lnTo>
                    <a:lnTo>
                      <a:pt x="419" y="125"/>
                    </a:lnTo>
                    <a:lnTo>
                      <a:pt x="414" y="132"/>
                    </a:lnTo>
                    <a:lnTo>
                      <a:pt x="406" y="146"/>
                    </a:lnTo>
                    <a:lnTo>
                      <a:pt x="401" y="156"/>
                    </a:lnTo>
                    <a:lnTo>
                      <a:pt x="397" y="161"/>
                    </a:lnTo>
                    <a:lnTo>
                      <a:pt x="394" y="166"/>
                    </a:lnTo>
                    <a:lnTo>
                      <a:pt x="390" y="171"/>
                    </a:lnTo>
                    <a:lnTo>
                      <a:pt x="385" y="176"/>
                    </a:lnTo>
                    <a:lnTo>
                      <a:pt x="376" y="184"/>
                    </a:lnTo>
                    <a:lnTo>
                      <a:pt x="366" y="192"/>
                    </a:lnTo>
                    <a:lnTo>
                      <a:pt x="354" y="207"/>
                    </a:lnTo>
                    <a:lnTo>
                      <a:pt x="341" y="220"/>
                    </a:lnTo>
                    <a:lnTo>
                      <a:pt x="334" y="227"/>
                    </a:lnTo>
                    <a:lnTo>
                      <a:pt x="325" y="235"/>
                    </a:lnTo>
                    <a:lnTo>
                      <a:pt x="320" y="237"/>
                    </a:lnTo>
                    <a:lnTo>
                      <a:pt x="316" y="241"/>
                    </a:lnTo>
                    <a:lnTo>
                      <a:pt x="311" y="242"/>
                    </a:lnTo>
                    <a:lnTo>
                      <a:pt x="306" y="243"/>
                    </a:lnTo>
                    <a:lnTo>
                      <a:pt x="302" y="243"/>
                    </a:lnTo>
                    <a:lnTo>
                      <a:pt x="300" y="242"/>
                    </a:lnTo>
                    <a:lnTo>
                      <a:pt x="298" y="241"/>
                    </a:lnTo>
                    <a:lnTo>
                      <a:pt x="295" y="238"/>
                    </a:lnTo>
                    <a:lnTo>
                      <a:pt x="293" y="233"/>
                    </a:lnTo>
                    <a:lnTo>
                      <a:pt x="290" y="229"/>
                    </a:lnTo>
                    <a:lnTo>
                      <a:pt x="289" y="215"/>
                    </a:lnTo>
                    <a:lnTo>
                      <a:pt x="288" y="202"/>
                    </a:lnTo>
                    <a:lnTo>
                      <a:pt x="284" y="190"/>
                    </a:lnTo>
                    <a:lnTo>
                      <a:pt x="282" y="178"/>
                    </a:lnTo>
                    <a:lnTo>
                      <a:pt x="283" y="178"/>
                    </a:lnTo>
                    <a:lnTo>
                      <a:pt x="284" y="176"/>
                    </a:lnTo>
                    <a:lnTo>
                      <a:pt x="294" y="174"/>
                    </a:lnTo>
                    <a:lnTo>
                      <a:pt x="305" y="173"/>
                    </a:lnTo>
                    <a:lnTo>
                      <a:pt x="316" y="171"/>
                    </a:lnTo>
                    <a:lnTo>
                      <a:pt x="325" y="168"/>
                    </a:lnTo>
                    <a:lnTo>
                      <a:pt x="330" y="167"/>
                    </a:lnTo>
                    <a:lnTo>
                      <a:pt x="335" y="166"/>
                    </a:lnTo>
                    <a:lnTo>
                      <a:pt x="338" y="164"/>
                    </a:lnTo>
                    <a:lnTo>
                      <a:pt x="343" y="161"/>
                    </a:lnTo>
                    <a:lnTo>
                      <a:pt x="352" y="153"/>
                    </a:lnTo>
                    <a:lnTo>
                      <a:pt x="360" y="144"/>
                    </a:lnTo>
                    <a:lnTo>
                      <a:pt x="366" y="133"/>
                    </a:lnTo>
                    <a:lnTo>
                      <a:pt x="372" y="124"/>
                    </a:lnTo>
                    <a:lnTo>
                      <a:pt x="376" y="114"/>
                    </a:lnTo>
                    <a:lnTo>
                      <a:pt x="377" y="105"/>
                    </a:lnTo>
                    <a:lnTo>
                      <a:pt x="378" y="99"/>
                    </a:lnTo>
                    <a:lnTo>
                      <a:pt x="377" y="93"/>
                    </a:lnTo>
                    <a:lnTo>
                      <a:pt x="376" y="88"/>
                    </a:lnTo>
                    <a:lnTo>
                      <a:pt x="375" y="84"/>
                    </a:lnTo>
                    <a:lnTo>
                      <a:pt x="370" y="78"/>
                    </a:lnTo>
                    <a:lnTo>
                      <a:pt x="363" y="73"/>
                    </a:lnTo>
                    <a:lnTo>
                      <a:pt x="346" y="65"/>
                    </a:lnTo>
                    <a:lnTo>
                      <a:pt x="329" y="55"/>
                    </a:lnTo>
                    <a:lnTo>
                      <a:pt x="314" y="42"/>
                    </a:lnTo>
                    <a:lnTo>
                      <a:pt x="300" y="28"/>
                    </a:lnTo>
                    <a:lnTo>
                      <a:pt x="285" y="13"/>
                    </a:lnTo>
                    <a:lnTo>
                      <a:pt x="270" y="1"/>
                    </a:lnTo>
                    <a:lnTo>
                      <a:pt x="267" y="0"/>
                    </a:lnTo>
                    <a:lnTo>
                      <a:pt x="264" y="1"/>
                    </a:lnTo>
                    <a:lnTo>
                      <a:pt x="259" y="5"/>
                    </a:lnTo>
                    <a:lnTo>
                      <a:pt x="254" y="8"/>
                    </a:lnTo>
                    <a:lnTo>
                      <a:pt x="242" y="19"/>
                    </a:lnTo>
                    <a:lnTo>
                      <a:pt x="229" y="34"/>
                    </a:lnTo>
                    <a:lnTo>
                      <a:pt x="216" y="49"/>
                    </a:lnTo>
                    <a:lnTo>
                      <a:pt x="204" y="62"/>
                    </a:lnTo>
                    <a:lnTo>
                      <a:pt x="193" y="73"/>
                    </a:lnTo>
                    <a:lnTo>
                      <a:pt x="184" y="81"/>
                    </a:lnTo>
                    <a:lnTo>
                      <a:pt x="182" y="81"/>
                    </a:lnTo>
                    <a:lnTo>
                      <a:pt x="178" y="81"/>
                    </a:lnTo>
                    <a:lnTo>
                      <a:pt x="175" y="78"/>
                    </a:lnTo>
                    <a:lnTo>
                      <a:pt x="171" y="76"/>
                    </a:lnTo>
                    <a:lnTo>
                      <a:pt x="163" y="68"/>
                    </a:lnTo>
                    <a:lnTo>
                      <a:pt x="153" y="60"/>
                    </a:lnTo>
                    <a:lnTo>
                      <a:pt x="145" y="53"/>
                    </a:lnTo>
                    <a:lnTo>
                      <a:pt x="137" y="49"/>
                    </a:lnTo>
                    <a:lnTo>
                      <a:pt x="134" y="48"/>
                    </a:lnTo>
                    <a:lnTo>
                      <a:pt x="131" y="48"/>
                    </a:lnTo>
                    <a:lnTo>
                      <a:pt x="130" y="50"/>
                    </a:lnTo>
                    <a:lnTo>
                      <a:pt x="129" y="54"/>
                    </a:lnTo>
                    <a:lnTo>
                      <a:pt x="127" y="67"/>
                    </a:lnTo>
                    <a:lnTo>
                      <a:pt x="122" y="81"/>
                    </a:lnTo>
                    <a:lnTo>
                      <a:pt x="119" y="88"/>
                    </a:lnTo>
                    <a:lnTo>
                      <a:pt x="117" y="95"/>
                    </a:lnTo>
                    <a:lnTo>
                      <a:pt x="116" y="102"/>
                    </a:lnTo>
                    <a:lnTo>
                      <a:pt x="116" y="109"/>
                    </a:lnTo>
                    <a:lnTo>
                      <a:pt x="116" y="148"/>
                    </a:lnTo>
                    <a:lnTo>
                      <a:pt x="116" y="153"/>
                    </a:lnTo>
                    <a:lnTo>
                      <a:pt x="116" y="156"/>
                    </a:lnTo>
                    <a:lnTo>
                      <a:pt x="113" y="159"/>
                    </a:lnTo>
                    <a:lnTo>
                      <a:pt x="112" y="161"/>
                    </a:lnTo>
                    <a:lnTo>
                      <a:pt x="110" y="161"/>
                    </a:lnTo>
                    <a:lnTo>
                      <a:pt x="107" y="161"/>
                    </a:lnTo>
                    <a:lnTo>
                      <a:pt x="105" y="161"/>
                    </a:lnTo>
                    <a:lnTo>
                      <a:pt x="103" y="160"/>
                    </a:lnTo>
                    <a:lnTo>
                      <a:pt x="97" y="155"/>
                    </a:lnTo>
                    <a:lnTo>
                      <a:pt x="92" y="149"/>
                    </a:lnTo>
                    <a:lnTo>
                      <a:pt x="89" y="142"/>
                    </a:lnTo>
                    <a:lnTo>
                      <a:pt x="88" y="133"/>
                    </a:lnTo>
                    <a:lnTo>
                      <a:pt x="87" y="120"/>
                    </a:lnTo>
                    <a:lnTo>
                      <a:pt x="86" y="109"/>
                    </a:lnTo>
                    <a:lnTo>
                      <a:pt x="83" y="100"/>
                    </a:lnTo>
                    <a:lnTo>
                      <a:pt x="80" y="91"/>
                    </a:lnTo>
                    <a:lnTo>
                      <a:pt x="71" y="76"/>
                    </a:lnTo>
                    <a:lnTo>
                      <a:pt x="64" y="56"/>
                    </a:lnTo>
                    <a:lnTo>
                      <a:pt x="63" y="56"/>
                    </a:lnTo>
                    <a:lnTo>
                      <a:pt x="64" y="81"/>
                    </a:lnTo>
                    <a:lnTo>
                      <a:pt x="65" y="117"/>
                    </a:lnTo>
                    <a:lnTo>
                      <a:pt x="64" y="125"/>
                    </a:lnTo>
                    <a:lnTo>
                      <a:pt x="64" y="133"/>
                    </a:lnTo>
                    <a:lnTo>
                      <a:pt x="62" y="139"/>
                    </a:lnTo>
                    <a:lnTo>
                      <a:pt x="59" y="144"/>
                    </a:lnTo>
                    <a:lnTo>
                      <a:pt x="58" y="146"/>
                    </a:lnTo>
                    <a:lnTo>
                      <a:pt x="57" y="147"/>
                    </a:lnTo>
                    <a:lnTo>
                      <a:pt x="54" y="147"/>
                    </a:lnTo>
                    <a:lnTo>
                      <a:pt x="52" y="147"/>
                    </a:lnTo>
                    <a:lnTo>
                      <a:pt x="47" y="146"/>
                    </a:lnTo>
                    <a:lnTo>
                      <a:pt x="41" y="139"/>
                    </a:lnTo>
                    <a:lnTo>
                      <a:pt x="33" y="132"/>
                    </a:lnTo>
                    <a:lnTo>
                      <a:pt x="18" y="121"/>
                    </a:lnTo>
                    <a:lnTo>
                      <a:pt x="11" y="118"/>
                    </a:lnTo>
                    <a:lnTo>
                      <a:pt x="5" y="117"/>
                    </a:lnTo>
                    <a:lnTo>
                      <a:pt x="3" y="118"/>
                    </a:lnTo>
                    <a:lnTo>
                      <a:pt x="1" y="119"/>
                    </a:lnTo>
                    <a:lnTo>
                      <a:pt x="0" y="123"/>
                    </a:lnTo>
                    <a:lnTo>
                      <a:pt x="0" y="127"/>
                    </a:lnTo>
                    <a:lnTo>
                      <a:pt x="1" y="135"/>
                    </a:lnTo>
                    <a:lnTo>
                      <a:pt x="4" y="141"/>
                    </a:lnTo>
                    <a:lnTo>
                      <a:pt x="6" y="148"/>
                    </a:lnTo>
                    <a:lnTo>
                      <a:pt x="10" y="154"/>
                    </a:lnTo>
                    <a:lnTo>
                      <a:pt x="18" y="166"/>
                    </a:lnTo>
                    <a:lnTo>
                      <a:pt x="27" y="177"/>
                    </a:lnTo>
                    <a:lnTo>
                      <a:pt x="38" y="188"/>
                    </a:lnTo>
                    <a:lnTo>
                      <a:pt x="47" y="198"/>
                    </a:lnTo>
                    <a:lnTo>
                      <a:pt x="57" y="209"/>
                    </a:lnTo>
                    <a:lnTo>
                      <a:pt x="64" y="220"/>
                    </a:lnTo>
                    <a:lnTo>
                      <a:pt x="77" y="238"/>
                    </a:lnTo>
                    <a:lnTo>
                      <a:pt x="94" y="261"/>
                    </a:lnTo>
                    <a:lnTo>
                      <a:pt x="103" y="273"/>
                    </a:lnTo>
                    <a:lnTo>
                      <a:pt x="110" y="284"/>
                    </a:lnTo>
                    <a:lnTo>
                      <a:pt x="115" y="294"/>
                    </a:lnTo>
                    <a:lnTo>
                      <a:pt x="116" y="302"/>
                    </a:lnTo>
                    <a:lnTo>
                      <a:pt x="110" y="298"/>
                    </a:lnTo>
                    <a:lnTo>
                      <a:pt x="101" y="292"/>
                    </a:lnTo>
                    <a:lnTo>
                      <a:pt x="92" y="283"/>
                    </a:lnTo>
                    <a:lnTo>
                      <a:pt x="82" y="272"/>
                    </a:lnTo>
                    <a:lnTo>
                      <a:pt x="63" y="250"/>
                    </a:lnTo>
                    <a:lnTo>
                      <a:pt x="46" y="235"/>
                    </a:lnTo>
                    <a:lnTo>
                      <a:pt x="42" y="232"/>
                    </a:lnTo>
                    <a:lnTo>
                      <a:pt x="35" y="227"/>
                    </a:lnTo>
                    <a:lnTo>
                      <a:pt x="32" y="226"/>
                    </a:lnTo>
                    <a:lnTo>
                      <a:pt x="28" y="226"/>
                    </a:lnTo>
                    <a:lnTo>
                      <a:pt x="27" y="226"/>
                    </a:lnTo>
                    <a:lnTo>
                      <a:pt x="27" y="229"/>
                    </a:lnTo>
                    <a:lnTo>
                      <a:pt x="33" y="243"/>
                    </a:lnTo>
                    <a:lnTo>
                      <a:pt x="36" y="253"/>
                    </a:lnTo>
                    <a:lnTo>
                      <a:pt x="38" y="261"/>
                    </a:lnTo>
                    <a:lnTo>
                      <a:pt x="39" y="268"/>
                    </a:lnTo>
                    <a:lnTo>
                      <a:pt x="38" y="275"/>
                    </a:lnTo>
                    <a:lnTo>
                      <a:pt x="35" y="283"/>
                    </a:lnTo>
                    <a:lnTo>
                      <a:pt x="30" y="292"/>
                    </a:lnTo>
                    <a:lnTo>
                      <a:pt x="24" y="304"/>
                    </a:lnTo>
                    <a:lnTo>
                      <a:pt x="18" y="319"/>
                    </a:lnTo>
                    <a:lnTo>
                      <a:pt x="15" y="330"/>
                    </a:lnTo>
                    <a:lnTo>
                      <a:pt x="14" y="334"/>
                    </a:lnTo>
                    <a:lnTo>
                      <a:pt x="14" y="339"/>
                    </a:lnTo>
                    <a:lnTo>
                      <a:pt x="14" y="343"/>
                    </a:lnTo>
                    <a:lnTo>
                      <a:pt x="15" y="348"/>
                    </a:lnTo>
                    <a:lnTo>
                      <a:pt x="17" y="350"/>
                    </a:lnTo>
                    <a:lnTo>
                      <a:pt x="20" y="354"/>
                    </a:lnTo>
                    <a:lnTo>
                      <a:pt x="23" y="357"/>
                    </a:lnTo>
                    <a:lnTo>
                      <a:pt x="28" y="360"/>
                    </a:lnTo>
                    <a:lnTo>
                      <a:pt x="38" y="365"/>
                    </a:lnTo>
                    <a:lnTo>
                      <a:pt x="52" y="371"/>
                    </a:lnTo>
                    <a:lnTo>
                      <a:pt x="63" y="374"/>
                    </a:lnTo>
                    <a:lnTo>
                      <a:pt x="70" y="379"/>
                    </a:lnTo>
                    <a:lnTo>
                      <a:pt x="77" y="384"/>
                    </a:lnTo>
                    <a:lnTo>
                      <a:pt x="81" y="389"/>
                    </a:lnTo>
                    <a:lnTo>
                      <a:pt x="85" y="395"/>
                    </a:lnTo>
                    <a:lnTo>
                      <a:pt x="88" y="402"/>
                    </a:lnTo>
                    <a:lnTo>
                      <a:pt x="89" y="410"/>
                    </a:lnTo>
                    <a:lnTo>
                      <a:pt x="92" y="421"/>
                    </a:lnTo>
                    <a:lnTo>
                      <a:pt x="94" y="430"/>
                    </a:lnTo>
                    <a:lnTo>
                      <a:pt x="97" y="437"/>
                    </a:lnTo>
                    <a:lnTo>
                      <a:pt x="100" y="443"/>
                    </a:lnTo>
                    <a:lnTo>
                      <a:pt x="105" y="449"/>
                    </a:lnTo>
                    <a:lnTo>
                      <a:pt x="115" y="460"/>
                    </a:lnTo>
                    <a:lnTo>
                      <a:pt x="127" y="469"/>
                    </a:lnTo>
                    <a:lnTo>
                      <a:pt x="139" y="478"/>
                    </a:lnTo>
                    <a:lnTo>
                      <a:pt x="151" y="486"/>
                    </a:lnTo>
                    <a:lnTo>
                      <a:pt x="164" y="496"/>
                    </a:lnTo>
                    <a:lnTo>
                      <a:pt x="175" y="507"/>
                    </a:lnTo>
                    <a:lnTo>
                      <a:pt x="181" y="515"/>
                    </a:lnTo>
                    <a:lnTo>
                      <a:pt x="190" y="528"/>
                    </a:lnTo>
                    <a:lnTo>
                      <a:pt x="194" y="535"/>
                    </a:lnTo>
                    <a:lnTo>
                      <a:pt x="196" y="541"/>
                    </a:lnTo>
                    <a:lnTo>
                      <a:pt x="196" y="544"/>
                    </a:lnTo>
                    <a:lnTo>
                      <a:pt x="196" y="545"/>
                    </a:lnTo>
                    <a:lnTo>
                      <a:pt x="195" y="546"/>
                    </a:lnTo>
                    <a:lnTo>
                      <a:pt x="194" y="547"/>
                    </a:lnTo>
                    <a:lnTo>
                      <a:pt x="180" y="549"/>
                    </a:lnTo>
                    <a:lnTo>
                      <a:pt x="175" y="550"/>
                    </a:lnTo>
                    <a:lnTo>
                      <a:pt x="177" y="555"/>
                    </a:lnTo>
                    <a:lnTo>
                      <a:pt x="186" y="565"/>
                    </a:lnTo>
                    <a:lnTo>
                      <a:pt x="193" y="569"/>
                    </a:lnTo>
                    <a:lnTo>
                      <a:pt x="198" y="572"/>
                    </a:lnTo>
                    <a:lnTo>
                      <a:pt x="201" y="575"/>
                    </a:lnTo>
                    <a:lnTo>
                      <a:pt x="206" y="580"/>
                    </a:lnTo>
                    <a:lnTo>
                      <a:pt x="210" y="587"/>
                    </a:lnTo>
                    <a:lnTo>
                      <a:pt x="214" y="593"/>
                    </a:lnTo>
                    <a:lnTo>
                      <a:pt x="222" y="605"/>
                    </a:lnTo>
                    <a:lnTo>
                      <a:pt x="230" y="616"/>
                    </a:lnTo>
                    <a:lnTo>
                      <a:pt x="235" y="624"/>
                    </a:lnTo>
                    <a:lnTo>
                      <a:pt x="239" y="632"/>
                    </a:lnTo>
                    <a:lnTo>
                      <a:pt x="240" y="635"/>
                    </a:lnTo>
                    <a:lnTo>
                      <a:pt x="240" y="639"/>
                    </a:lnTo>
                    <a:lnTo>
                      <a:pt x="240" y="643"/>
                    </a:lnTo>
                    <a:lnTo>
                      <a:pt x="239" y="646"/>
                    </a:lnTo>
                    <a:lnTo>
                      <a:pt x="235" y="645"/>
                    </a:lnTo>
                    <a:lnTo>
                      <a:pt x="230" y="641"/>
                    </a:lnTo>
                    <a:lnTo>
                      <a:pt x="227" y="638"/>
                    </a:lnTo>
                    <a:lnTo>
                      <a:pt x="223" y="634"/>
                    </a:lnTo>
                    <a:lnTo>
                      <a:pt x="216" y="626"/>
                    </a:lnTo>
                    <a:lnTo>
                      <a:pt x="208" y="618"/>
                    </a:lnTo>
                    <a:lnTo>
                      <a:pt x="202" y="612"/>
                    </a:lnTo>
                    <a:lnTo>
                      <a:pt x="195" y="608"/>
                    </a:lnTo>
                    <a:lnTo>
                      <a:pt x="193" y="605"/>
                    </a:lnTo>
                    <a:lnTo>
                      <a:pt x="189" y="604"/>
                    </a:lnTo>
                    <a:lnTo>
                      <a:pt x="184" y="603"/>
                    </a:lnTo>
                    <a:lnTo>
                      <a:pt x="180" y="603"/>
                    </a:lnTo>
                    <a:lnTo>
                      <a:pt x="180" y="604"/>
                    </a:lnTo>
                    <a:lnTo>
                      <a:pt x="180" y="609"/>
                    </a:lnTo>
                    <a:lnTo>
                      <a:pt x="183" y="614"/>
                    </a:lnTo>
                    <a:lnTo>
                      <a:pt x="188" y="620"/>
                    </a:lnTo>
                    <a:lnTo>
                      <a:pt x="193" y="626"/>
                    </a:lnTo>
                    <a:lnTo>
                      <a:pt x="204" y="639"/>
                    </a:lnTo>
                    <a:lnTo>
                      <a:pt x="212" y="650"/>
                    </a:lnTo>
                    <a:lnTo>
                      <a:pt x="227" y="665"/>
                    </a:lnTo>
                    <a:lnTo>
                      <a:pt x="243" y="681"/>
                    </a:lnTo>
                    <a:lnTo>
                      <a:pt x="255" y="692"/>
                    </a:lnTo>
                    <a:lnTo>
                      <a:pt x="269" y="703"/>
                    </a:lnTo>
                    <a:lnTo>
                      <a:pt x="273" y="706"/>
                    </a:lnTo>
                    <a:lnTo>
                      <a:pt x="277" y="709"/>
                    </a:lnTo>
                    <a:lnTo>
                      <a:pt x="282" y="709"/>
                    </a:lnTo>
                    <a:lnTo>
                      <a:pt x="287" y="708"/>
                    </a:lnTo>
                    <a:lnTo>
                      <a:pt x="295" y="704"/>
                    </a:lnTo>
                    <a:lnTo>
                      <a:pt x="305" y="697"/>
                    </a:lnTo>
                    <a:lnTo>
                      <a:pt x="311" y="689"/>
                    </a:lnTo>
                    <a:lnTo>
                      <a:pt x="318" y="680"/>
                    </a:lnTo>
                    <a:lnTo>
                      <a:pt x="322" y="675"/>
                    </a:lnTo>
                    <a:lnTo>
                      <a:pt x="325" y="670"/>
                    </a:lnTo>
                    <a:lnTo>
                      <a:pt x="329" y="668"/>
                    </a:lnTo>
                    <a:lnTo>
                      <a:pt x="332" y="667"/>
                    </a:lnTo>
                    <a:lnTo>
                      <a:pt x="332" y="664"/>
                    </a:lnTo>
                    <a:lnTo>
                      <a:pt x="334" y="664"/>
                    </a:lnTo>
                    <a:lnTo>
                      <a:pt x="335" y="663"/>
                    </a:lnTo>
                    <a:lnTo>
                      <a:pt x="336" y="662"/>
                    </a:lnTo>
                    <a:lnTo>
                      <a:pt x="341" y="651"/>
                    </a:lnTo>
                    <a:lnTo>
                      <a:pt x="347" y="640"/>
                    </a:lnTo>
                    <a:lnTo>
                      <a:pt x="353" y="60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46"/>
              <p:cNvSpPr>
                <a:spLocks/>
              </p:cNvSpPr>
              <p:nvPr/>
            </p:nvSpPr>
            <p:spPr bwMode="auto">
              <a:xfrm>
                <a:off x="6362701" y="7054850"/>
                <a:ext cx="22225" cy="60325"/>
              </a:xfrm>
              <a:custGeom>
                <a:avLst/>
                <a:gdLst>
                  <a:gd name="T0" fmla="*/ 57 w 57"/>
                  <a:gd name="T1" fmla="*/ 105 h 151"/>
                  <a:gd name="T2" fmla="*/ 53 w 57"/>
                  <a:gd name="T3" fmla="*/ 97 h 151"/>
                  <a:gd name="T4" fmla="*/ 52 w 57"/>
                  <a:gd name="T5" fmla="*/ 88 h 151"/>
                  <a:gd name="T6" fmla="*/ 51 w 57"/>
                  <a:gd name="T7" fmla="*/ 79 h 151"/>
                  <a:gd name="T8" fmla="*/ 52 w 57"/>
                  <a:gd name="T9" fmla="*/ 70 h 151"/>
                  <a:gd name="T10" fmla="*/ 53 w 57"/>
                  <a:gd name="T11" fmla="*/ 62 h 151"/>
                  <a:gd name="T12" fmla="*/ 53 w 57"/>
                  <a:gd name="T13" fmla="*/ 53 h 151"/>
                  <a:gd name="T14" fmla="*/ 56 w 57"/>
                  <a:gd name="T15" fmla="*/ 47 h 151"/>
                  <a:gd name="T16" fmla="*/ 57 w 57"/>
                  <a:gd name="T17" fmla="*/ 40 h 151"/>
                  <a:gd name="T18" fmla="*/ 52 w 57"/>
                  <a:gd name="T19" fmla="*/ 39 h 151"/>
                  <a:gd name="T20" fmla="*/ 47 w 57"/>
                  <a:gd name="T21" fmla="*/ 35 h 151"/>
                  <a:gd name="T22" fmla="*/ 42 w 57"/>
                  <a:gd name="T23" fmla="*/ 33 h 151"/>
                  <a:gd name="T24" fmla="*/ 37 w 57"/>
                  <a:gd name="T25" fmla="*/ 28 h 151"/>
                  <a:gd name="T26" fmla="*/ 29 w 57"/>
                  <a:gd name="T27" fmla="*/ 20 h 151"/>
                  <a:gd name="T28" fmla="*/ 22 w 57"/>
                  <a:gd name="T29" fmla="*/ 11 h 151"/>
                  <a:gd name="T30" fmla="*/ 15 w 57"/>
                  <a:gd name="T31" fmla="*/ 5 h 151"/>
                  <a:gd name="T32" fmla="*/ 9 w 57"/>
                  <a:gd name="T33" fmla="*/ 2 h 151"/>
                  <a:gd name="T34" fmla="*/ 5 w 57"/>
                  <a:gd name="T35" fmla="*/ 0 h 151"/>
                  <a:gd name="T36" fmla="*/ 3 w 57"/>
                  <a:gd name="T37" fmla="*/ 3 h 151"/>
                  <a:gd name="T38" fmla="*/ 1 w 57"/>
                  <a:gd name="T39" fmla="*/ 5 h 151"/>
                  <a:gd name="T40" fmla="*/ 0 w 57"/>
                  <a:gd name="T41" fmla="*/ 11 h 151"/>
                  <a:gd name="T42" fmla="*/ 3 w 57"/>
                  <a:gd name="T43" fmla="*/ 28 h 151"/>
                  <a:gd name="T44" fmla="*/ 5 w 57"/>
                  <a:gd name="T45" fmla="*/ 45 h 151"/>
                  <a:gd name="T46" fmla="*/ 4 w 57"/>
                  <a:gd name="T47" fmla="*/ 61 h 151"/>
                  <a:gd name="T48" fmla="*/ 3 w 57"/>
                  <a:gd name="T49" fmla="*/ 77 h 151"/>
                  <a:gd name="T50" fmla="*/ 3 w 57"/>
                  <a:gd name="T51" fmla="*/ 87 h 151"/>
                  <a:gd name="T52" fmla="*/ 3 w 57"/>
                  <a:gd name="T53" fmla="*/ 97 h 151"/>
                  <a:gd name="T54" fmla="*/ 3 w 57"/>
                  <a:gd name="T55" fmla="*/ 106 h 151"/>
                  <a:gd name="T56" fmla="*/ 5 w 57"/>
                  <a:gd name="T57" fmla="*/ 116 h 151"/>
                  <a:gd name="T58" fmla="*/ 10 w 57"/>
                  <a:gd name="T59" fmla="*/ 129 h 151"/>
                  <a:gd name="T60" fmla="*/ 15 w 57"/>
                  <a:gd name="T61" fmla="*/ 141 h 151"/>
                  <a:gd name="T62" fmla="*/ 16 w 57"/>
                  <a:gd name="T63" fmla="*/ 142 h 151"/>
                  <a:gd name="T64" fmla="*/ 17 w 57"/>
                  <a:gd name="T65" fmla="*/ 146 h 151"/>
                  <a:gd name="T66" fmla="*/ 18 w 57"/>
                  <a:gd name="T67" fmla="*/ 147 h 151"/>
                  <a:gd name="T68" fmla="*/ 21 w 57"/>
                  <a:gd name="T69" fmla="*/ 148 h 151"/>
                  <a:gd name="T70" fmla="*/ 22 w 57"/>
                  <a:gd name="T71" fmla="*/ 150 h 151"/>
                  <a:gd name="T72" fmla="*/ 22 w 57"/>
                  <a:gd name="T73" fmla="*/ 151 h 151"/>
                  <a:gd name="T74" fmla="*/ 23 w 57"/>
                  <a:gd name="T75" fmla="*/ 151 h 151"/>
                  <a:gd name="T76" fmla="*/ 24 w 57"/>
                  <a:gd name="T77" fmla="*/ 151 h 151"/>
                  <a:gd name="T78" fmla="*/ 28 w 57"/>
                  <a:gd name="T79" fmla="*/ 150 h 151"/>
                  <a:gd name="T80" fmla="*/ 30 w 57"/>
                  <a:gd name="T81" fmla="*/ 146 h 151"/>
                  <a:gd name="T82" fmla="*/ 36 w 57"/>
                  <a:gd name="T83" fmla="*/ 139 h 151"/>
                  <a:gd name="T84" fmla="*/ 40 w 57"/>
                  <a:gd name="T85" fmla="*/ 135 h 151"/>
                  <a:gd name="T86" fmla="*/ 57 w 57"/>
                  <a:gd name="T87" fmla="*/ 10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7" h="151">
                    <a:moveTo>
                      <a:pt x="57" y="105"/>
                    </a:moveTo>
                    <a:lnTo>
                      <a:pt x="53" y="97"/>
                    </a:lnTo>
                    <a:lnTo>
                      <a:pt x="52" y="88"/>
                    </a:lnTo>
                    <a:lnTo>
                      <a:pt x="51" y="79"/>
                    </a:lnTo>
                    <a:lnTo>
                      <a:pt x="52" y="70"/>
                    </a:lnTo>
                    <a:lnTo>
                      <a:pt x="53" y="62"/>
                    </a:lnTo>
                    <a:lnTo>
                      <a:pt x="53" y="53"/>
                    </a:lnTo>
                    <a:lnTo>
                      <a:pt x="56" y="47"/>
                    </a:lnTo>
                    <a:lnTo>
                      <a:pt x="57" y="40"/>
                    </a:lnTo>
                    <a:lnTo>
                      <a:pt x="52" y="39"/>
                    </a:lnTo>
                    <a:lnTo>
                      <a:pt x="47" y="35"/>
                    </a:lnTo>
                    <a:lnTo>
                      <a:pt x="42" y="33"/>
                    </a:lnTo>
                    <a:lnTo>
                      <a:pt x="37" y="28"/>
                    </a:lnTo>
                    <a:lnTo>
                      <a:pt x="29" y="20"/>
                    </a:lnTo>
                    <a:lnTo>
                      <a:pt x="22" y="11"/>
                    </a:lnTo>
                    <a:lnTo>
                      <a:pt x="15" y="5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11"/>
                    </a:lnTo>
                    <a:lnTo>
                      <a:pt x="3" y="28"/>
                    </a:lnTo>
                    <a:lnTo>
                      <a:pt x="5" y="45"/>
                    </a:lnTo>
                    <a:lnTo>
                      <a:pt x="4" y="61"/>
                    </a:lnTo>
                    <a:lnTo>
                      <a:pt x="3" y="77"/>
                    </a:lnTo>
                    <a:lnTo>
                      <a:pt x="3" y="87"/>
                    </a:lnTo>
                    <a:lnTo>
                      <a:pt x="3" y="97"/>
                    </a:lnTo>
                    <a:lnTo>
                      <a:pt x="3" y="106"/>
                    </a:lnTo>
                    <a:lnTo>
                      <a:pt x="5" y="116"/>
                    </a:lnTo>
                    <a:lnTo>
                      <a:pt x="10" y="129"/>
                    </a:lnTo>
                    <a:lnTo>
                      <a:pt x="15" y="141"/>
                    </a:lnTo>
                    <a:lnTo>
                      <a:pt x="16" y="142"/>
                    </a:lnTo>
                    <a:lnTo>
                      <a:pt x="17" y="146"/>
                    </a:lnTo>
                    <a:lnTo>
                      <a:pt x="18" y="147"/>
                    </a:lnTo>
                    <a:lnTo>
                      <a:pt x="21" y="148"/>
                    </a:lnTo>
                    <a:lnTo>
                      <a:pt x="22" y="150"/>
                    </a:lnTo>
                    <a:lnTo>
                      <a:pt x="22" y="151"/>
                    </a:lnTo>
                    <a:lnTo>
                      <a:pt x="23" y="151"/>
                    </a:lnTo>
                    <a:lnTo>
                      <a:pt x="24" y="151"/>
                    </a:lnTo>
                    <a:lnTo>
                      <a:pt x="28" y="150"/>
                    </a:lnTo>
                    <a:lnTo>
                      <a:pt x="30" y="146"/>
                    </a:lnTo>
                    <a:lnTo>
                      <a:pt x="36" y="139"/>
                    </a:lnTo>
                    <a:lnTo>
                      <a:pt x="40" y="135"/>
                    </a:lnTo>
                    <a:lnTo>
                      <a:pt x="57" y="10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47"/>
              <p:cNvSpPr>
                <a:spLocks/>
              </p:cNvSpPr>
              <p:nvPr/>
            </p:nvSpPr>
            <p:spPr bwMode="auto">
              <a:xfrm>
                <a:off x="6616701" y="6958013"/>
                <a:ext cx="185738" cy="420688"/>
              </a:xfrm>
              <a:custGeom>
                <a:avLst/>
                <a:gdLst>
                  <a:gd name="T0" fmla="*/ 424 w 466"/>
                  <a:gd name="T1" fmla="*/ 739 h 1060"/>
                  <a:gd name="T2" fmla="*/ 394 w 466"/>
                  <a:gd name="T3" fmla="*/ 721 h 1060"/>
                  <a:gd name="T4" fmla="*/ 395 w 466"/>
                  <a:gd name="T5" fmla="*/ 711 h 1060"/>
                  <a:gd name="T6" fmla="*/ 423 w 466"/>
                  <a:gd name="T7" fmla="*/ 705 h 1060"/>
                  <a:gd name="T8" fmla="*/ 430 w 466"/>
                  <a:gd name="T9" fmla="*/ 668 h 1060"/>
                  <a:gd name="T10" fmla="*/ 382 w 466"/>
                  <a:gd name="T11" fmla="*/ 551 h 1060"/>
                  <a:gd name="T12" fmla="*/ 360 w 466"/>
                  <a:gd name="T13" fmla="*/ 492 h 1060"/>
                  <a:gd name="T14" fmla="*/ 377 w 466"/>
                  <a:gd name="T15" fmla="*/ 499 h 1060"/>
                  <a:gd name="T16" fmla="*/ 419 w 466"/>
                  <a:gd name="T17" fmla="*/ 545 h 1060"/>
                  <a:gd name="T18" fmla="*/ 446 w 466"/>
                  <a:gd name="T19" fmla="*/ 573 h 1060"/>
                  <a:gd name="T20" fmla="*/ 461 w 466"/>
                  <a:gd name="T21" fmla="*/ 575 h 1060"/>
                  <a:gd name="T22" fmla="*/ 465 w 466"/>
                  <a:gd name="T23" fmla="*/ 562 h 1060"/>
                  <a:gd name="T24" fmla="*/ 446 w 466"/>
                  <a:gd name="T25" fmla="*/ 510 h 1060"/>
                  <a:gd name="T26" fmla="*/ 416 w 466"/>
                  <a:gd name="T27" fmla="*/ 452 h 1060"/>
                  <a:gd name="T28" fmla="*/ 386 w 466"/>
                  <a:gd name="T29" fmla="*/ 355 h 1060"/>
                  <a:gd name="T30" fmla="*/ 347 w 466"/>
                  <a:gd name="T31" fmla="*/ 267 h 1060"/>
                  <a:gd name="T32" fmla="*/ 315 w 466"/>
                  <a:gd name="T33" fmla="*/ 224 h 1060"/>
                  <a:gd name="T34" fmla="*/ 276 w 466"/>
                  <a:gd name="T35" fmla="*/ 198 h 1060"/>
                  <a:gd name="T36" fmla="*/ 221 w 466"/>
                  <a:gd name="T37" fmla="*/ 189 h 1060"/>
                  <a:gd name="T38" fmla="*/ 138 w 466"/>
                  <a:gd name="T39" fmla="*/ 178 h 1060"/>
                  <a:gd name="T40" fmla="*/ 117 w 466"/>
                  <a:gd name="T41" fmla="*/ 162 h 1060"/>
                  <a:gd name="T42" fmla="*/ 108 w 466"/>
                  <a:gd name="T43" fmla="*/ 111 h 1060"/>
                  <a:gd name="T44" fmla="*/ 86 w 466"/>
                  <a:gd name="T45" fmla="*/ 71 h 1060"/>
                  <a:gd name="T46" fmla="*/ 41 w 466"/>
                  <a:gd name="T47" fmla="*/ 20 h 1060"/>
                  <a:gd name="T48" fmla="*/ 10 w 466"/>
                  <a:gd name="T49" fmla="*/ 0 h 1060"/>
                  <a:gd name="T50" fmla="*/ 2 w 466"/>
                  <a:gd name="T51" fmla="*/ 25 h 1060"/>
                  <a:gd name="T52" fmla="*/ 21 w 466"/>
                  <a:gd name="T53" fmla="*/ 102 h 1060"/>
                  <a:gd name="T54" fmla="*/ 56 w 466"/>
                  <a:gd name="T55" fmla="*/ 201 h 1060"/>
                  <a:gd name="T56" fmla="*/ 92 w 466"/>
                  <a:gd name="T57" fmla="*/ 326 h 1060"/>
                  <a:gd name="T58" fmla="*/ 109 w 466"/>
                  <a:gd name="T59" fmla="*/ 455 h 1060"/>
                  <a:gd name="T60" fmla="*/ 105 w 466"/>
                  <a:gd name="T61" fmla="*/ 547 h 1060"/>
                  <a:gd name="T62" fmla="*/ 135 w 466"/>
                  <a:gd name="T63" fmla="*/ 634 h 1060"/>
                  <a:gd name="T64" fmla="*/ 147 w 466"/>
                  <a:gd name="T65" fmla="*/ 692 h 1060"/>
                  <a:gd name="T66" fmla="*/ 186 w 466"/>
                  <a:gd name="T67" fmla="*/ 757 h 1060"/>
                  <a:gd name="T68" fmla="*/ 179 w 466"/>
                  <a:gd name="T69" fmla="*/ 778 h 1060"/>
                  <a:gd name="T70" fmla="*/ 164 w 466"/>
                  <a:gd name="T71" fmla="*/ 786 h 1060"/>
                  <a:gd name="T72" fmla="*/ 174 w 466"/>
                  <a:gd name="T73" fmla="*/ 825 h 1060"/>
                  <a:gd name="T74" fmla="*/ 174 w 466"/>
                  <a:gd name="T75" fmla="*/ 842 h 1060"/>
                  <a:gd name="T76" fmla="*/ 154 w 466"/>
                  <a:gd name="T77" fmla="*/ 874 h 1060"/>
                  <a:gd name="T78" fmla="*/ 148 w 466"/>
                  <a:gd name="T79" fmla="*/ 893 h 1060"/>
                  <a:gd name="T80" fmla="*/ 139 w 466"/>
                  <a:gd name="T81" fmla="*/ 1005 h 1060"/>
                  <a:gd name="T82" fmla="*/ 147 w 466"/>
                  <a:gd name="T83" fmla="*/ 1043 h 1060"/>
                  <a:gd name="T84" fmla="*/ 166 w 466"/>
                  <a:gd name="T85" fmla="*/ 1060 h 1060"/>
                  <a:gd name="T86" fmla="*/ 193 w 466"/>
                  <a:gd name="T87" fmla="*/ 1049 h 1060"/>
                  <a:gd name="T88" fmla="*/ 242 w 466"/>
                  <a:gd name="T89" fmla="*/ 1007 h 1060"/>
                  <a:gd name="T90" fmla="*/ 345 w 466"/>
                  <a:gd name="T91" fmla="*/ 905 h 1060"/>
                  <a:gd name="T92" fmla="*/ 346 w 466"/>
                  <a:gd name="T93" fmla="*/ 865 h 1060"/>
                  <a:gd name="T94" fmla="*/ 351 w 466"/>
                  <a:gd name="T95" fmla="*/ 845 h 1060"/>
                  <a:gd name="T96" fmla="*/ 407 w 466"/>
                  <a:gd name="T97" fmla="*/ 852 h 1060"/>
                  <a:gd name="T98" fmla="*/ 430 w 466"/>
                  <a:gd name="T99" fmla="*/ 842 h 1060"/>
                  <a:gd name="T100" fmla="*/ 446 w 466"/>
                  <a:gd name="T101" fmla="*/ 816 h 1060"/>
                  <a:gd name="T102" fmla="*/ 434 w 466"/>
                  <a:gd name="T103" fmla="*/ 752 h 1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6" h="1060">
                    <a:moveTo>
                      <a:pt x="434" y="752"/>
                    </a:moveTo>
                    <a:lnTo>
                      <a:pt x="432" y="748"/>
                    </a:lnTo>
                    <a:lnTo>
                      <a:pt x="429" y="744"/>
                    </a:lnTo>
                    <a:lnTo>
                      <a:pt x="424" y="739"/>
                    </a:lnTo>
                    <a:lnTo>
                      <a:pt x="418" y="735"/>
                    </a:lnTo>
                    <a:lnTo>
                      <a:pt x="405" y="728"/>
                    </a:lnTo>
                    <a:lnTo>
                      <a:pt x="395" y="723"/>
                    </a:lnTo>
                    <a:lnTo>
                      <a:pt x="394" y="721"/>
                    </a:lnTo>
                    <a:lnTo>
                      <a:pt x="392" y="719"/>
                    </a:lnTo>
                    <a:lnTo>
                      <a:pt x="393" y="716"/>
                    </a:lnTo>
                    <a:lnTo>
                      <a:pt x="393" y="713"/>
                    </a:lnTo>
                    <a:lnTo>
                      <a:pt x="395" y="711"/>
                    </a:lnTo>
                    <a:lnTo>
                      <a:pt x="396" y="710"/>
                    </a:lnTo>
                    <a:lnTo>
                      <a:pt x="402" y="707"/>
                    </a:lnTo>
                    <a:lnTo>
                      <a:pt x="408" y="706"/>
                    </a:lnTo>
                    <a:lnTo>
                      <a:pt x="423" y="705"/>
                    </a:lnTo>
                    <a:lnTo>
                      <a:pt x="435" y="703"/>
                    </a:lnTo>
                    <a:lnTo>
                      <a:pt x="435" y="693"/>
                    </a:lnTo>
                    <a:lnTo>
                      <a:pt x="434" y="682"/>
                    </a:lnTo>
                    <a:lnTo>
                      <a:pt x="430" y="668"/>
                    </a:lnTo>
                    <a:lnTo>
                      <a:pt x="425" y="653"/>
                    </a:lnTo>
                    <a:lnTo>
                      <a:pt x="412" y="620"/>
                    </a:lnTo>
                    <a:lnTo>
                      <a:pt x="398" y="585"/>
                    </a:lnTo>
                    <a:lnTo>
                      <a:pt x="382" y="551"/>
                    </a:lnTo>
                    <a:lnTo>
                      <a:pt x="369" y="522"/>
                    </a:lnTo>
                    <a:lnTo>
                      <a:pt x="365" y="510"/>
                    </a:lnTo>
                    <a:lnTo>
                      <a:pt x="361" y="499"/>
                    </a:lnTo>
                    <a:lnTo>
                      <a:pt x="360" y="492"/>
                    </a:lnTo>
                    <a:lnTo>
                      <a:pt x="361" y="487"/>
                    </a:lnTo>
                    <a:lnTo>
                      <a:pt x="366" y="488"/>
                    </a:lnTo>
                    <a:lnTo>
                      <a:pt x="371" y="493"/>
                    </a:lnTo>
                    <a:lnTo>
                      <a:pt x="377" y="499"/>
                    </a:lnTo>
                    <a:lnTo>
                      <a:pt x="383" y="508"/>
                    </a:lnTo>
                    <a:lnTo>
                      <a:pt x="395" y="525"/>
                    </a:lnTo>
                    <a:lnTo>
                      <a:pt x="407" y="537"/>
                    </a:lnTo>
                    <a:lnTo>
                      <a:pt x="419" y="545"/>
                    </a:lnTo>
                    <a:lnTo>
                      <a:pt x="431" y="556"/>
                    </a:lnTo>
                    <a:lnTo>
                      <a:pt x="437" y="561"/>
                    </a:lnTo>
                    <a:lnTo>
                      <a:pt x="442" y="567"/>
                    </a:lnTo>
                    <a:lnTo>
                      <a:pt x="446" y="573"/>
                    </a:lnTo>
                    <a:lnTo>
                      <a:pt x="448" y="579"/>
                    </a:lnTo>
                    <a:lnTo>
                      <a:pt x="453" y="579"/>
                    </a:lnTo>
                    <a:lnTo>
                      <a:pt x="457" y="577"/>
                    </a:lnTo>
                    <a:lnTo>
                      <a:pt x="461" y="575"/>
                    </a:lnTo>
                    <a:lnTo>
                      <a:pt x="463" y="571"/>
                    </a:lnTo>
                    <a:lnTo>
                      <a:pt x="465" y="571"/>
                    </a:lnTo>
                    <a:lnTo>
                      <a:pt x="466" y="570"/>
                    </a:lnTo>
                    <a:lnTo>
                      <a:pt x="465" y="562"/>
                    </a:lnTo>
                    <a:lnTo>
                      <a:pt x="463" y="552"/>
                    </a:lnTo>
                    <a:lnTo>
                      <a:pt x="460" y="541"/>
                    </a:lnTo>
                    <a:lnTo>
                      <a:pt x="455" y="531"/>
                    </a:lnTo>
                    <a:lnTo>
                      <a:pt x="446" y="510"/>
                    </a:lnTo>
                    <a:lnTo>
                      <a:pt x="435" y="493"/>
                    </a:lnTo>
                    <a:lnTo>
                      <a:pt x="428" y="480"/>
                    </a:lnTo>
                    <a:lnTo>
                      <a:pt x="422" y="466"/>
                    </a:lnTo>
                    <a:lnTo>
                      <a:pt x="416" y="452"/>
                    </a:lnTo>
                    <a:lnTo>
                      <a:pt x="411" y="438"/>
                    </a:lnTo>
                    <a:lnTo>
                      <a:pt x="402" y="409"/>
                    </a:lnTo>
                    <a:lnTo>
                      <a:pt x="394" y="380"/>
                    </a:lnTo>
                    <a:lnTo>
                      <a:pt x="386" y="355"/>
                    </a:lnTo>
                    <a:lnTo>
                      <a:pt x="377" y="330"/>
                    </a:lnTo>
                    <a:lnTo>
                      <a:pt x="366" y="303"/>
                    </a:lnTo>
                    <a:lnTo>
                      <a:pt x="354" y="279"/>
                    </a:lnTo>
                    <a:lnTo>
                      <a:pt x="347" y="267"/>
                    </a:lnTo>
                    <a:lnTo>
                      <a:pt x="340" y="255"/>
                    </a:lnTo>
                    <a:lnTo>
                      <a:pt x="331" y="244"/>
                    </a:lnTo>
                    <a:lnTo>
                      <a:pt x="323" y="233"/>
                    </a:lnTo>
                    <a:lnTo>
                      <a:pt x="315" y="224"/>
                    </a:lnTo>
                    <a:lnTo>
                      <a:pt x="304" y="215"/>
                    </a:lnTo>
                    <a:lnTo>
                      <a:pt x="294" y="208"/>
                    </a:lnTo>
                    <a:lnTo>
                      <a:pt x="282" y="201"/>
                    </a:lnTo>
                    <a:lnTo>
                      <a:pt x="276" y="198"/>
                    </a:lnTo>
                    <a:lnTo>
                      <a:pt x="268" y="196"/>
                    </a:lnTo>
                    <a:lnTo>
                      <a:pt x="257" y="194"/>
                    </a:lnTo>
                    <a:lnTo>
                      <a:pt x="246" y="192"/>
                    </a:lnTo>
                    <a:lnTo>
                      <a:pt x="221" y="189"/>
                    </a:lnTo>
                    <a:lnTo>
                      <a:pt x="194" y="186"/>
                    </a:lnTo>
                    <a:lnTo>
                      <a:pt x="169" y="184"/>
                    </a:lnTo>
                    <a:lnTo>
                      <a:pt x="146" y="180"/>
                    </a:lnTo>
                    <a:lnTo>
                      <a:pt x="138" y="178"/>
                    </a:lnTo>
                    <a:lnTo>
                      <a:pt x="129" y="176"/>
                    </a:lnTo>
                    <a:lnTo>
                      <a:pt x="123" y="172"/>
                    </a:lnTo>
                    <a:lnTo>
                      <a:pt x="121" y="168"/>
                    </a:lnTo>
                    <a:lnTo>
                      <a:pt x="117" y="162"/>
                    </a:lnTo>
                    <a:lnTo>
                      <a:pt x="115" y="153"/>
                    </a:lnTo>
                    <a:lnTo>
                      <a:pt x="112" y="143"/>
                    </a:lnTo>
                    <a:lnTo>
                      <a:pt x="111" y="132"/>
                    </a:lnTo>
                    <a:lnTo>
                      <a:pt x="108" y="111"/>
                    </a:lnTo>
                    <a:lnTo>
                      <a:pt x="103" y="92"/>
                    </a:lnTo>
                    <a:lnTo>
                      <a:pt x="98" y="86"/>
                    </a:lnTo>
                    <a:lnTo>
                      <a:pt x="95" y="79"/>
                    </a:lnTo>
                    <a:lnTo>
                      <a:pt x="86" y="71"/>
                    </a:lnTo>
                    <a:lnTo>
                      <a:pt x="75" y="59"/>
                    </a:lnTo>
                    <a:lnTo>
                      <a:pt x="64" y="46"/>
                    </a:lnTo>
                    <a:lnTo>
                      <a:pt x="52" y="32"/>
                    </a:lnTo>
                    <a:lnTo>
                      <a:pt x="41" y="20"/>
                    </a:lnTo>
                    <a:lnTo>
                      <a:pt x="29" y="9"/>
                    </a:lnTo>
                    <a:lnTo>
                      <a:pt x="23" y="6"/>
                    </a:lnTo>
                    <a:lnTo>
                      <a:pt x="16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14"/>
                    </a:lnTo>
                    <a:lnTo>
                      <a:pt x="2" y="25"/>
                    </a:lnTo>
                    <a:lnTo>
                      <a:pt x="4" y="37"/>
                    </a:lnTo>
                    <a:lnTo>
                      <a:pt x="6" y="50"/>
                    </a:lnTo>
                    <a:lnTo>
                      <a:pt x="12" y="76"/>
                    </a:lnTo>
                    <a:lnTo>
                      <a:pt x="21" y="102"/>
                    </a:lnTo>
                    <a:lnTo>
                      <a:pt x="30" y="129"/>
                    </a:lnTo>
                    <a:lnTo>
                      <a:pt x="39" y="155"/>
                    </a:lnTo>
                    <a:lnTo>
                      <a:pt x="47" y="179"/>
                    </a:lnTo>
                    <a:lnTo>
                      <a:pt x="56" y="201"/>
                    </a:lnTo>
                    <a:lnTo>
                      <a:pt x="65" y="232"/>
                    </a:lnTo>
                    <a:lnTo>
                      <a:pt x="75" y="263"/>
                    </a:lnTo>
                    <a:lnTo>
                      <a:pt x="83" y="295"/>
                    </a:lnTo>
                    <a:lnTo>
                      <a:pt x="92" y="326"/>
                    </a:lnTo>
                    <a:lnTo>
                      <a:pt x="99" y="357"/>
                    </a:lnTo>
                    <a:lnTo>
                      <a:pt x="104" y="390"/>
                    </a:lnTo>
                    <a:lnTo>
                      <a:pt x="108" y="422"/>
                    </a:lnTo>
                    <a:lnTo>
                      <a:pt x="109" y="455"/>
                    </a:lnTo>
                    <a:lnTo>
                      <a:pt x="108" y="486"/>
                    </a:lnTo>
                    <a:lnTo>
                      <a:pt x="105" y="517"/>
                    </a:lnTo>
                    <a:lnTo>
                      <a:pt x="104" y="533"/>
                    </a:lnTo>
                    <a:lnTo>
                      <a:pt x="105" y="547"/>
                    </a:lnTo>
                    <a:lnTo>
                      <a:pt x="108" y="563"/>
                    </a:lnTo>
                    <a:lnTo>
                      <a:pt x="112" y="577"/>
                    </a:lnTo>
                    <a:lnTo>
                      <a:pt x="123" y="605"/>
                    </a:lnTo>
                    <a:lnTo>
                      <a:pt x="135" y="634"/>
                    </a:lnTo>
                    <a:lnTo>
                      <a:pt x="140" y="648"/>
                    </a:lnTo>
                    <a:lnTo>
                      <a:pt x="144" y="664"/>
                    </a:lnTo>
                    <a:lnTo>
                      <a:pt x="146" y="677"/>
                    </a:lnTo>
                    <a:lnTo>
                      <a:pt x="147" y="692"/>
                    </a:lnTo>
                    <a:lnTo>
                      <a:pt x="158" y="713"/>
                    </a:lnTo>
                    <a:lnTo>
                      <a:pt x="173" y="735"/>
                    </a:lnTo>
                    <a:lnTo>
                      <a:pt x="180" y="746"/>
                    </a:lnTo>
                    <a:lnTo>
                      <a:pt x="186" y="757"/>
                    </a:lnTo>
                    <a:lnTo>
                      <a:pt x="191" y="768"/>
                    </a:lnTo>
                    <a:lnTo>
                      <a:pt x="194" y="777"/>
                    </a:lnTo>
                    <a:lnTo>
                      <a:pt x="186" y="777"/>
                    </a:lnTo>
                    <a:lnTo>
                      <a:pt x="179" y="778"/>
                    </a:lnTo>
                    <a:lnTo>
                      <a:pt x="174" y="780"/>
                    </a:lnTo>
                    <a:lnTo>
                      <a:pt x="169" y="781"/>
                    </a:lnTo>
                    <a:lnTo>
                      <a:pt x="165" y="783"/>
                    </a:lnTo>
                    <a:lnTo>
                      <a:pt x="164" y="786"/>
                    </a:lnTo>
                    <a:lnTo>
                      <a:pt x="163" y="788"/>
                    </a:lnTo>
                    <a:lnTo>
                      <a:pt x="162" y="792"/>
                    </a:lnTo>
                    <a:lnTo>
                      <a:pt x="166" y="806"/>
                    </a:lnTo>
                    <a:lnTo>
                      <a:pt x="174" y="825"/>
                    </a:lnTo>
                    <a:lnTo>
                      <a:pt x="175" y="830"/>
                    </a:lnTo>
                    <a:lnTo>
                      <a:pt x="176" y="834"/>
                    </a:lnTo>
                    <a:lnTo>
                      <a:pt x="175" y="839"/>
                    </a:lnTo>
                    <a:lnTo>
                      <a:pt x="174" y="842"/>
                    </a:lnTo>
                    <a:lnTo>
                      <a:pt x="170" y="851"/>
                    </a:lnTo>
                    <a:lnTo>
                      <a:pt x="165" y="858"/>
                    </a:lnTo>
                    <a:lnTo>
                      <a:pt x="159" y="865"/>
                    </a:lnTo>
                    <a:lnTo>
                      <a:pt x="154" y="874"/>
                    </a:lnTo>
                    <a:lnTo>
                      <a:pt x="152" y="878"/>
                    </a:lnTo>
                    <a:lnTo>
                      <a:pt x="151" y="883"/>
                    </a:lnTo>
                    <a:lnTo>
                      <a:pt x="150" y="888"/>
                    </a:lnTo>
                    <a:lnTo>
                      <a:pt x="148" y="893"/>
                    </a:lnTo>
                    <a:lnTo>
                      <a:pt x="146" y="930"/>
                    </a:lnTo>
                    <a:lnTo>
                      <a:pt x="141" y="967"/>
                    </a:lnTo>
                    <a:lnTo>
                      <a:pt x="139" y="985"/>
                    </a:lnTo>
                    <a:lnTo>
                      <a:pt x="139" y="1005"/>
                    </a:lnTo>
                    <a:lnTo>
                      <a:pt x="140" y="1014"/>
                    </a:lnTo>
                    <a:lnTo>
                      <a:pt x="141" y="1024"/>
                    </a:lnTo>
                    <a:lnTo>
                      <a:pt x="144" y="1034"/>
                    </a:lnTo>
                    <a:lnTo>
                      <a:pt x="147" y="1043"/>
                    </a:lnTo>
                    <a:lnTo>
                      <a:pt x="151" y="1050"/>
                    </a:lnTo>
                    <a:lnTo>
                      <a:pt x="154" y="1055"/>
                    </a:lnTo>
                    <a:lnTo>
                      <a:pt x="160" y="1059"/>
                    </a:lnTo>
                    <a:lnTo>
                      <a:pt x="166" y="1060"/>
                    </a:lnTo>
                    <a:lnTo>
                      <a:pt x="173" y="1059"/>
                    </a:lnTo>
                    <a:lnTo>
                      <a:pt x="180" y="1058"/>
                    </a:lnTo>
                    <a:lnTo>
                      <a:pt x="186" y="1054"/>
                    </a:lnTo>
                    <a:lnTo>
                      <a:pt x="193" y="1049"/>
                    </a:lnTo>
                    <a:lnTo>
                      <a:pt x="207" y="1038"/>
                    </a:lnTo>
                    <a:lnTo>
                      <a:pt x="222" y="1026"/>
                    </a:lnTo>
                    <a:lnTo>
                      <a:pt x="233" y="1016"/>
                    </a:lnTo>
                    <a:lnTo>
                      <a:pt x="242" y="1007"/>
                    </a:lnTo>
                    <a:lnTo>
                      <a:pt x="321" y="932"/>
                    </a:lnTo>
                    <a:lnTo>
                      <a:pt x="330" y="923"/>
                    </a:lnTo>
                    <a:lnTo>
                      <a:pt x="340" y="911"/>
                    </a:lnTo>
                    <a:lnTo>
                      <a:pt x="345" y="905"/>
                    </a:lnTo>
                    <a:lnTo>
                      <a:pt x="347" y="898"/>
                    </a:lnTo>
                    <a:lnTo>
                      <a:pt x="348" y="892"/>
                    </a:lnTo>
                    <a:lnTo>
                      <a:pt x="348" y="884"/>
                    </a:lnTo>
                    <a:lnTo>
                      <a:pt x="346" y="865"/>
                    </a:lnTo>
                    <a:lnTo>
                      <a:pt x="346" y="853"/>
                    </a:lnTo>
                    <a:lnTo>
                      <a:pt x="347" y="848"/>
                    </a:lnTo>
                    <a:lnTo>
                      <a:pt x="348" y="846"/>
                    </a:lnTo>
                    <a:lnTo>
                      <a:pt x="351" y="845"/>
                    </a:lnTo>
                    <a:lnTo>
                      <a:pt x="354" y="845"/>
                    </a:lnTo>
                    <a:lnTo>
                      <a:pt x="372" y="848"/>
                    </a:lnTo>
                    <a:lnTo>
                      <a:pt x="399" y="853"/>
                    </a:lnTo>
                    <a:lnTo>
                      <a:pt x="407" y="852"/>
                    </a:lnTo>
                    <a:lnTo>
                      <a:pt x="414" y="851"/>
                    </a:lnTo>
                    <a:lnTo>
                      <a:pt x="420" y="848"/>
                    </a:lnTo>
                    <a:lnTo>
                      <a:pt x="425" y="846"/>
                    </a:lnTo>
                    <a:lnTo>
                      <a:pt x="430" y="842"/>
                    </a:lnTo>
                    <a:lnTo>
                      <a:pt x="435" y="837"/>
                    </a:lnTo>
                    <a:lnTo>
                      <a:pt x="438" y="833"/>
                    </a:lnTo>
                    <a:lnTo>
                      <a:pt x="441" y="828"/>
                    </a:lnTo>
                    <a:lnTo>
                      <a:pt x="446" y="816"/>
                    </a:lnTo>
                    <a:lnTo>
                      <a:pt x="448" y="803"/>
                    </a:lnTo>
                    <a:lnTo>
                      <a:pt x="449" y="790"/>
                    </a:lnTo>
                    <a:lnTo>
                      <a:pt x="449" y="777"/>
                    </a:lnTo>
                    <a:lnTo>
                      <a:pt x="434" y="7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48"/>
              <p:cNvSpPr>
                <a:spLocks/>
              </p:cNvSpPr>
              <p:nvPr/>
            </p:nvSpPr>
            <p:spPr bwMode="auto">
              <a:xfrm>
                <a:off x="6475413" y="7292975"/>
                <a:ext cx="41275" cy="96838"/>
              </a:xfrm>
              <a:custGeom>
                <a:avLst/>
                <a:gdLst>
                  <a:gd name="T0" fmla="*/ 93 w 103"/>
                  <a:gd name="T1" fmla="*/ 108 h 243"/>
                  <a:gd name="T2" fmla="*/ 94 w 103"/>
                  <a:gd name="T3" fmla="*/ 95 h 243"/>
                  <a:gd name="T4" fmla="*/ 90 w 103"/>
                  <a:gd name="T5" fmla="*/ 75 h 243"/>
                  <a:gd name="T6" fmla="*/ 87 w 103"/>
                  <a:gd name="T7" fmla="*/ 62 h 243"/>
                  <a:gd name="T8" fmla="*/ 76 w 103"/>
                  <a:gd name="T9" fmla="*/ 54 h 243"/>
                  <a:gd name="T10" fmla="*/ 69 w 103"/>
                  <a:gd name="T11" fmla="*/ 42 h 243"/>
                  <a:gd name="T12" fmla="*/ 64 w 103"/>
                  <a:gd name="T13" fmla="*/ 23 h 243"/>
                  <a:gd name="T14" fmla="*/ 60 w 103"/>
                  <a:gd name="T15" fmla="*/ 3 h 243"/>
                  <a:gd name="T16" fmla="*/ 48 w 103"/>
                  <a:gd name="T17" fmla="*/ 1 h 243"/>
                  <a:gd name="T18" fmla="*/ 23 w 103"/>
                  <a:gd name="T19" fmla="*/ 0 h 243"/>
                  <a:gd name="T20" fmla="*/ 11 w 103"/>
                  <a:gd name="T21" fmla="*/ 2 h 243"/>
                  <a:gd name="T22" fmla="*/ 6 w 103"/>
                  <a:gd name="T23" fmla="*/ 9 h 243"/>
                  <a:gd name="T24" fmla="*/ 7 w 103"/>
                  <a:gd name="T25" fmla="*/ 21 h 243"/>
                  <a:gd name="T26" fmla="*/ 14 w 103"/>
                  <a:gd name="T27" fmla="*/ 44 h 243"/>
                  <a:gd name="T28" fmla="*/ 22 w 103"/>
                  <a:gd name="T29" fmla="*/ 66 h 243"/>
                  <a:gd name="T30" fmla="*/ 28 w 103"/>
                  <a:gd name="T31" fmla="*/ 90 h 243"/>
                  <a:gd name="T32" fmla="*/ 37 w 103"/>
                  <a:gd name="T33" fmla="*/ 116 h 243"/>
                  <a:gd name="T34" fmla="*/ 43 w 103"/>
                  <a:gd name="T35" fmla="*/ 138 h 243"/>
                  <a:gd name="T36" fmla="*/ 42 w 103"/>
                  <a:gd name="T37" fmla="*/ 154 h 243"/>
                  <a:gd name="T38" fmla="*/ 36 w 103"/>
                  <a:gd name="T39" fmla="*/ 167 h 243"/>
                  <a:gd name="T40" fmla="*/ 25 w 103"/>
                  <a:gd name="T41" fmla="*/ 174 h 243"/>
                  <a:gd name="T42" fmla="*/ 12 w 103"/>
                  <a:gd name="T43" fmla="*/ 178 h 243"/>
                  <a:gd name="T44" fmla="*/ 2 w 103"/>
                  <a:gd name="T45" fmla="*/ 181 h 243"/>
                  <a:gd name="T46" fmla="*/ 0 w 103"/>
                  <a:gd name="T47" fmla="*/ 191 h 243"/>
                  <a:gd name="T48" fmla="*/ 2 w 103"/>
                  <a:gd name="T49" fmla="*/ 223 h 243"/>
                  <a:gd name="T50" fmla="*/ 5 w 103"/>
                  <a:gd name="T51" fmla="*/ 239 h 243"/>
                  <a:gd name="T52" fmla="*/ 11 w 103"/>
                  <a:gd name="T53" fmla="*/ 243 h 243"/>
                  <a:gd name="T54" fmla="*/ 25 w 103"/>
                  <a:gd name="T55" fmla="*/ 237 h 243"/>
                  <a:gd name="T56" fmla="*/ 43 w 103"/>
                  <a:gd name="T57" fmla="*/ 228 h 243"/>
                  <a:gd name="T58" fmla="*/ 61 w 103"/>
                  <a:gd name="T59" fmla="*/ 222 h 243"/>
                  <a:gd name="T60" fmla="*/ 81 w 103"/>
                  <a:gd name="T61" fmla="*/ 217 h 243"/>
                  <a:gd name="T62" fmla="*/ 94 w 103"/>
                  <a:gd name="T63" fmla="*/ 215 h 243"/>
                  <a:gd name="T64" fmla="*/ 101 w 103"/>
                  <a:gd name="T65" fmla="*/ 209 h 243"/>
                  <a:gd name="T66" fmla="*/ 103 w 103"/>
                  <a:gd name="T67" fmla="*/ 197 h 243"/>
                  <a:gd name="T68" fmla="*/ 100 w 103"/>
                  <a:gd name="T69" fmla="*/ 184 h 243"/>
                  <a:gd name="T70" fmla="*/ 96 w 103"/>
                  <a:gd name="T71" fmla="*/ 168 h 243"/>
                  <a:gd name="T72" fmla="*/ 96 w 103"/>
                  <a:gd name="T73" fmla="*/ 151 h 243"/>
                  <a:gd name="T74" fmla="*/ 97 w 103"/>
                  <a:gd name="T75" fmla="*/ 14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3" h="243">
                    <a:moveTo>
                      <a:pt x="91" y="115"/>
                    </a:moveTo>
                    <a:lnTo>
                      <a:pt x="93" y="108"/>
                    </a:lnTo>
                    <a:lnTo>
                      <a:pt x="94" y="101"/>
                    </a:lnTo>
                    <a:lnTo>
                      <a:pt x="94" y="95"/>
                    </a:lnTo>
                    <a:lnTo>
                      <a:pt x="93" y="89"/>
                    </a:lnTo>
                    <a:lnTo>
                      <a:pt x="90" y="75"/>
                    </a:lnTo>
                    <a:lnTo>
                      <a:pt x="88" y="63"/>
                    </a:lnTo>
                    <a:lnTo>
                      <a:pt x="87" y="62"/>
                    </a:lnTo>
                    <a:lnTo>
                      <a:pt x="81" y="59"/>
                    </a:lnTo>
                    <a:lnTo>
                      <a:pt x="76" y="54"/>
                    </a:lnTo>
                    <a:lnTo>
                      <a:pt x="71" y="48"/>
                    </a:lnTo>
                    <a:lnTo>
                      <a:pt x="69" y="42"/>
                    </a:lnTo>
                    <a:lnTo>
                      <a:pt x="66" y="32"/>
                    </a:lnTo>
                    <a:lnTo>
                      <a:pt x="64" y="23"/>
                    </a:lnTo>
                    <a:lnTo>
                      <a:pt x="61" y="12"/>
                    </a:lnTo>
                    <a:lnTo>
                      <a:pt x="60" y="3"/>
                    </a:lnTo>
                    <a:lnTo>
                      <a:pt x="59" y="2"/>
                    </a:lnTo>
                    <a:lnTo>
                      <a:pt x="48" y="1"/>
                    </a:lnTo>
                    <a:lnTo>
                      <a:pt x="31" y="0"/>
                    </a:lnTo>
                    <a:lnTo>
                      <a:pt x="23" y="0"/>
                    </a:lnTo>
                    <a:lnTo>
                      <a:pt x="16" y="1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6" y="9"/>
                    </a:lnTo>
                    <a:lnTo>
                      <a:pt x="6" y="14"/>
                    </a:lnTo>
                    <a:lnTo>
                      <a:pt x="7" y="21"/>
                    </a:lnTo>
                    <a:lnTo>
                      <a:pt x="10" y="30"/>
                    </a:lnTo>
                    <a:lnTo>
                      <a:pt x="14" y="44"/>
                    </a:lnTo>
                    <a:lnTo>
                      <a:pt x="18" y="55"/>
                    </a:lnTo>
                    <a:lnTo>
                      <a:pt x="22" y="66"/>
                    </a:lnTo>
                    <a:lnTo>
                      <a:pt x="24" y="78"/>
                    </a:lnTo>
                    <a:lnTo>
                      <a:pt x="28" y="90"/>
                    </a:lnTo>
                    <a:lnTo>
                      <a:pt x="31" y="101"/>
                    </a:lnTo>
                    <a:lnTo>
                      <a:pt x="37" y="116"/>
                    </a:lnTo>
                    <a:lnTo>
                      <a:pt x="42" y="131"/>
                    </a:lnTo>
                    <a:lnTo>
                      <a:pt x="43" y="138"/>
                    </a:lnTo>
                    <a:lnTo>
                      <a:pt x="43" y="146"/>
                    </a:lnTo>
                    <a:lnTo>
                      <a:pt x="42" y="154"/>
                    </a:lnTo>
                    <a:lnTo>
                      <a:pt x="40" y="162"/>
                    </a:lnTo>
                    <a:lnTo>
                      <a:pt x="36" y="167"/>
                    </a:lnTo>
                    <a:lnTo>
                      <a:pt x="31" y="172"/>
                    </a:lnTo>
                    <a:lnTo>
                      <a:pt x="25" y="174"/>
                    </a:lnTo>
                    <a:lnTo>
                      <a:pt x="18" y="177"/>
                    </a:lnTo>
                    <a:lnTo>
                      <a:pt x="12" y="178"/>
                    </a:lnTo>
                    <a:lnTo>
                      <a:pt x="7" y="179"/>
                    </a:lnTo>
                    <a:lnTo>
                      <a:pt x="2" y="181"/>
                    </a:lnTo>
                    <a:lnTo>
                      <a:pt x="1" y="184"/>
                    </a:lnTo>
                    <a:lnTo>
                      <a:pt x="0" y="191"/>
                    </a:lnTo>
                    <a:lnTo>
                      <a:pt x="1" y="207"/>
                    </a:lnTo>
                    <a:lnTo>
                      <a:pt x="2" y="223"/>
                    </a:lnTo>
                    <a:lnTo>
                      <a:pt x="4" y="234"/>
                    </a:lnTo>
                    <a:lnTo>
                      <a:pt x="5" y="239"/>
                    </a:lnTo>
                    <a:lnTo>
                      <a:pt x="7" y="242"/>
                    </a:lnTo>
                    <a:lnTo>
                      <a:pt x="11" y="243"/>
                    </a:lnTo>
                    <a:lnTo>
                      <a:pt x="16" y="242"/>
                    </a:lnTo>
                    <a:lnTo>
                      <a:pt x="25" y="237"/>
                    </a:lnTo>
                    <a:lnTo>
                      <a:pt x="34" y="233"/>
                    </a:lnTo>
                    <a:lnTo>
                      <a:pt x="43" y="228"/>
                    </a:lnTo>
                    <a:lnTo>
                      <a:pt x="52" y="225"/>
                    </a:lnTo>
                    <a:lnTo>
                      <a:pt x="61" y="222"/>
                    </a:lnTo>
                    <a:lnTo>
                      <a:pt x="71" y="219"/>
                    </a:lnTo>
                    <a:lnTo>
                      <a:pt x="81" y="217"/>
                    </a:lnTo>
                    <a:lnTo>
                      <a:pt x="90" y="216"/>
                    </a:lnTo>
                    <a:lnTo>
                      <a:pt x="94" y="215"/>
                    </a:lnTo>
                    <a:lnTo>
                      <a:pt x="99" y="213"/>
                    </a:lnTo>
                    <a:lnTo>
                      <a:pt x="101" y="209"/>
                    </a:lnTo>
                    <a:lnTo>
                      <a:pt x="103" y="203"/>
                    </a:lnTo>
                    <a:lnTo>
                      <a:pt x="103" y="197"/>
                    </a:lnTo>
                    <a:lnTo>
                      <a:pt x="102" y="190"/>
                    </a:lnTo>
                    <a:lnTo>
                      <a:pt x="100" y="184"/>
                    </a:lnTo>
                    <a:lnTo>
                      <a:pt x="99" y="178"/>
                    </a:lnTo>
                    <a:lnTo>
                      <a:pt x="96" y="168"/>
                    </a:lnTo>
                    <a:lnTo>
                      <a:pt x="95" y="160"/>
                    </a:lnTo>
                    <a:lnTo>
                      <a:pt x="96" y="151"/>
                    </a:lnTo>
                    <a:lnTo>
                      <a:pt x="96" y="143"/>
                    </a:lnTo>
                    <a:lnTo>
                      <a:pt x="97" y="142"/>
                    </a:lnTo>
                    <a:lnTo>
                      <a:pt x="91" y="1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49"/>
              <p:cNvSpPr>
                <a:spLocks/>
              </p:cNvSpPr>
              <p:nvPr/>
            </p:nvSpPr>
            <p:spPr bwMode="auto">
              <a:xfrm>
                <a:off x="6507163" y="7218363"/>
                <a:ext cx="166688" cy="406400"/>
              </a:xfrm>
              <a:custGeom>
                <a:avLst/>
                <a:gdLst>
                  <a:gd name="T0" fmla="*/ 397 w 418"/>
                  <a:gd name="T1" fmla="*/ 609 h 1023"/>
                  <a:gd name="T2" fmla="*/ 380 w 418"/>
                  <a:gd name="T3" fmla="*/ 544 h 1023"/>
                  <a:gd name="T4" fmla="*/ 380 w 418"/>
                  <a:gd name="T5" fmla="*/ 529 h 1023"/>
                  <a:gd name="T6" fmla="*/ 373 w 418"/>
                  <a:gd name="T7" fmla="*/ 498 h 1023"/>
                  <a:gd name="T8" fmla="*/ 361 w 418"/>
                  <a:gd name="T9" fmla="*/ 433 h 1023"/>
                  <a:gd name="T10" fmla="*/ 343 w 418"/>
                  <a:gd name="T11" fmla="*/ 339 h 1023"/>
                  <a:gd name="T12" fmla="*/ 332 w 418"/>
                  <a:gd name="T13" fmla="*/ 253 h 1023"/>
                  <a:gd name="T14" fmla="*/ 309 w 418"/>
                  <a:gd name="T15" fmla="*/ 235 h 1023"/>
                  <a:gd name="T16" fmla="*/ 276 w 418"/>
                  <a:gd name="T17" fmla="*/ 229 h 1023"/>
                  <a:gd name="T18" fmla="*/ 270 w 418"/>
                  <a:gd name="T19" fmla="*/ 185 h 1023"/>
                  <a:gd name="T20" fmla="*/ 261 w 418"/>
                  <a:gd name="T21" fmla="*/ 168 h 1023"/>
                  <a:gd name="T22" fmla="*/ 274 w 418"/>
                  <a:gd name="T23" fmla="*/ 164 h 1023"/>
                  <a:gd name="T24" fmla="*/ 279 w 418"/>
                  <a:gd name="T25" fmla="*/ 154 h 1023"/>
                  <a:gd name="T26" fmla="*/ 260 w 418"/>
                  <a:gd name="T27" fmla="*/ 126 h 1023"/>
                  <a:gd name="T28" fmla="*/ 193 w 418"/>
                  <a:gd name="T29" fmla="*/ 71 h 1023"/>
                  <a:gd name="T30" fmla="*/ 118 w 418"/>
                  <a:gd name="T31" fmla="*/ 87 h 1023"/>
                  <a:gd name="T32" fmla="*/ 114 w 418"/>
                  <a:gd name="T33" fmla="*/ 75 h 1023"/>
                  <a:gd name="T34" fmla="*/ 132 w 418"/>
                  <a:gd name="T35" fmla="*/ 30 h 1023"/>
                  <a:gd name="T36" fmla="*/ 126 w 418"/>
                  <a:gd name="T37" fmla="*/ 8 h 1023"/>
                  <a:gd name="T38" fmla="*/ 102 w 418"/>
                  <a:gd name="T39" fmla="*/ 0 h 1023"/>
                  <a:gd name="T40" fmla="*/ 85 w 418"/>
                  <a:gd name="T41" fmla="*/ 17 h 1023"/>
                  <a:gd name="T42" fmla="*/ 47 w 418"/>
                  <a:gd name="T43" fmla="*/ 85 h 1023"/>
                  <a:gd name="T44" fmla="*/ 45 w 418"/>
                  <a:gd name="T45" fmla="*/ 140 h 1023"/>
                  <a:gd name="T46" fmla="*/ 35 w 418"/>
                  <a:gd name="T47" fmla="*/ 149 h 1023"/>
                  <a:gd name="T48" fmla="*/ 0 w 418"/>
                  <a:gd name="T49" fmla="*/ 156 h 1023"/>
                  <a:gd name="T50" fmla="*/ 18 w 418"/>
                  <a:gd name="T51" fmla="*/ 182 h 1023"/>
                  <a:gd name="T52" fmla="*/ 42 w 418"/>
                  <a:gd name="T53" fmla="*/ 213 h 1023"/>
                  <a:gd name="T54" fmla="*/ 60 w 418"/>
                  <a:gd name="T55" fmla="*/ 243 h 1023"/>
                  <a:gd name="T56" fmla="*/ 109 w 418"/>
                  <a:gd name="T57" fmla="*/ 243 h 1023"/>
                  <a:gd name="T58" fmla="*/ 124 w 418"/>
                  <a:gd name="T59" fmla="*/ 250 h 1023"/>
                  <a:gd name="T60" fmla="*/ 114 w 418"/>
                  <a:gd name="T61" fmla="*/ 324 h 1023"/>
                  <a:gd name="T62" fmla="*/ 121 w 418"/>
                  <a:gd name="T63" fmla="*/ 375 h 1023"/>
                  <a:gd name="T64" fmla="*/ 177 w 418"/>
                  <a:gd name="T65" fmla="*/ 410 h 1023"/>
                  <a:gd name="T66" fmla="*/ 157 w 418"/>
                  <a:gd name="T67" fmla="*/ 433 h 1023"/>
                  <a:gd name="T68" fmla="*/ 128 w 418"/>
                  <a:gd name="T69" fmla="*/ 454 h 1023"/>
                  <a:gd name="T70" fmla="*/ 126 w 418"/>
                  <a:gd name="T71" fmla="*/ 486 h 1023"/>
                  <a:gd name="T72" fmla="*/ 140 w 418"/>
                  <a:gd name="T73" fmla="*/ 527 h 1023"/>
                  <a:gd name="T74" fmla="*/ 132 w 418"/>
                  <a:gd name="T75" fmla="*/ 557 h 1023"/>
                  <a:gd name="T76" fmla="*/ 138 w 418"/>
                  <a:gd name="T77" fmla="*/ 578 h 1023"/>
                  <a:gd name="T78" fmla="*/ 184 w 418"/>
                  <a:gd name="T79" fmla="*/ 561 h 1023"/>
                  <a:gd name="T80" fmla="*/ 208 w 418"/>
                  <a:gd name="T81" fmla="*/ 558 h 1023"/>
                  <a:gd name="T82" fmla="*/ 214 w 418"/>
                  <a:gd name="T83" fmla="*/ 592 h 1023"/>
                  <a:gd name="T84" fmla="*/ 191 w 418"/>
                  <a:gd name="T85" fmla="*/ 650 h 1023"/>
                  <a:gd name="T86" fmla="*/ 187 w 418"/>
                  <a:gd name="T87" fmla="*/ 675 h 1023"/>
                  <a:gd name="T88" fmla="*/ 213 w 418"/>
                  <a:gd name="T89" fmla="*/ 674 h 1023"/>
                  <a:gd name="T90" fmla="*/ 242 w 418"/>
                  <a:gd name="T91" fmla="*/ 724 h 1023"/>
                  <a:gd name="T92" fmla="*/ 288 w 418"/>
                  <a:gd name="T93" fmla="*/ 689 h 1023"/>
                  <a:gd name="T94" fmla="*/ 310 w 418"/>
                  <a:gd name="T95" fmla="*/ 665 h 1023"/>
                  <a:gd name="T96" fmla="*/ 276 w 418"/>
                  <a:gd name="T97" fmla="*/ 747 h 1023"/>
                  <a:gd name="T98" fmla="*/ 292 w 418"/>
                  <a:gd name="T99" fmla="*/ 825 h 1023"/>
                  <a:gd name="T100" fmla="*/ 309 w 418"/>
                  <a:gd name="T101" fmla="*/ 880 h 1023"/>
                  <a:gd name="T102" fmla="*/ 335 w 418"/>
                  <a:gd name="T103" fmla="*/ 901 h 1023"/>
                  <a:gd name="T104" fmla="*/ 347 w 418"/>
                  <a:gd name="T105" fmla="*/ 963 h 1023"/>
                  <a:gd name="T106" fmla="*/ 397 w 418"/>
                  <a:gd name="T107" fmla="*/ 1019 h 1023"/>
                  <a:gd name="T108" fmla="*/ 405 w 418"/>
                  <a:gd name="T109" fmla="*/ 963 h 1023"/>
                  <a:gd name="T110" fmla="*/ 400 w 418"/>
                  <a:gd name="T111" fmla="*/ 797 h 1023"/>
                  <a:gd name="T112" fmla="*/ 398 w 418"/>
                  <a:gd name="T113" fmla="*/ 752 h 1023"/>
                  <a:gd name="T114" fmla="*/ 418 w 418"/>
                  <a:gd name="T115" fmla="*/ 710 h 1023"/>
                  <a:gd name="T116" fmla="*/ 410 w 418"/>
                  <a:gd name="T117" fmla="*/ 671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8" h="1023">
                    <a:moveTo>
                      <a:pt x="404" y="650"/>
                    </a:moveTo>
                    <a:lnTo>
                      <a:pt x="403" y="639"/>
                    </a:lnTo>
                    <a:lnTo>
                      <a:pt x="400" y="629"/>
                    </a:lnTo>
                    <a:lnTo>
                      <a:pt x="397" y="618"/>
                    </a:lnTo>
                    <a:lnTo>
                      <a:pt x="397" y="609"/>
                    </a:lnTo>
                    <a:lnTo>
                      <a:pt x="400" y="593"/>
                    </a:lnTo>
                    <a:lnTo>
                      <a:pt x="402" y="578"/>
                    </a:lnTo>
                    <a:lnTo>
                      <a:pt x="394" y="568"/>
                    </a:lnTo>
                    <a:lnTo>
                      <a:pt x="385" y="552"/>
                    </a:lnTo>
                    <a:lnTo>
                      <a:pt x="380" y="544"/>
                    </a:lnTo>
                    <a:lnTo>
                      <a:pt x="376" y="537"/>
                    </a:lnTo>
                    <a:lnTo>
                      <a:pt x="376" y="534"/>
                    </a:lnTo>
                    <a:lnTo>
                      <a:pt x="376" y="532"/>
                    </a:lnTo>
                    <a:lnTo>
                      <a:pt x="378" y="531"/>
                    </a:lnTo>
                    <a:lnTo>
                      <a:pt x="380" y="529"/>
                    </a:lnTo>
                    <a:lnTo>
                      <a:pt x="381" y="525"/>
                    </a:lnTo>
                    <a:lnTo>
                      <a:pt x="380" y="520"/>
                    </a:lnTo>
                    <a:lnTo>
                      <a:pt x="379" y="515"/>
                    </a:lnTo>
                    <a:lnTo>
                      <a:pt x="378" y="509"/>
                    </a:lnTo>
                    <a:lnTo>
                      <a:pt x="373" y="498"/>
                    </a:lnTo>
                    <a:lnTo>
                      <a:pt x="369" y="488"/>
                    </a:lnTo>
                    <a:lnTo>
                      <a:pt x="365" y="475"/>
                    </a:lnTo>
                    <a:lnTo>
                      <a:pt x="363" y="461"/>
                    </a:lnTo>
                    <a:lnTo>
                      <a:pt x="363" y="446"/>
                    </a:lnTo>
                    <a:lnTo>
                      <a:pt x="361" y="433"/>
                    </a:lnTo>
                    <a:lnTo>
                      <a:pt x="356" y="407"/>
                    </a:lnTo>
                    <a:lnTo>
                      <a:pt x="350" y="380"/>
                    </a:lnTo>
                    <a:lnTo>
                      <a:pt x="346" y="366"/>
                    </a:lnTo>
                    <a:lnTo>
                      <a:pt x="344" y="353"/>
                    </a:lnTo>
                    <a:lnTo>
                      <a:pt x="343" y="339"/>
                    </a:lnTo>
                    <a:lnTo>
                      <a:pt x="343" y="327"/>
                    </a:lnTo>
                    <a:lnTo>
                      <a:pt x="341" y="309"/>
                    </a:lnTo>
                    <a:lnTo>
                      <a:pt x="339" y="289"/>
                    </a:lnTo>
                    <a:lnTo>
                      <a:pt x="335" y="271"/>
                    </a:lnTo>
                    <a:lnTo>
                      <a:pt x="332" y="253"/>
                    </a:lnTo>
                    <a:lnTo>
                      <a:pt x="329" y="245"/>
                    </a:lnTo>
                    <a:lnTo>
                      <a:pt x="327" y="242"/>
                    </a:lnTo>
                    <a:lnTo>
                      <a:pt x="323" y="238"/>
                    </a:lnTo>
                    <a:lnTo>
                      <a:pt x="319" y="236"/>
                    </a:lnTo>
                    <a:lnTo>
                      <a:pt x="309" y="235"/>
                    </a:lnTo>
                    <a:lnTo>
                      <a:pt x="299" y="235"/>
                    </a:lnTo>
                    <a:lnTo>
                      <a:pt x="290" y="236"/>
                    </a:lnTo>
                    <a:lnTo>
                      <a:pt x="281" y="233"/>
                    </a:lnTo>
                    <a:lnTo>
                      <a:pt x="279" y="232"/>
                    </a:lnTo>
                    <a:lnTo>
                      <a:pt x="276" y="229"/>
                    </a:lnTo>
                    <a:lnTo>
                      <a:pt x="275" y="224"/>
                    </a:lnTo>
                    <a:lnTo>
                      <a:pt x="274" y="217"/>
                    </a:lnTo>
                    <a:lnTo>
                      <a:pt x="274" y="206"/>
                    </a:lnTo>
                    <a:lnTo>
                      <a:pt x="272" y="192"/>
                    </a:lnTo>
                    <a:lnTo>
                      <a:pt x="270" y="185"/>
                    </a:lnTo>
                    <a:lnTo>
                      <a:pt x="268" y="179"/>
                    </a:lnTo>
                    <a:lnTo>
                      <a:pt x="264" y="174"/>
                    </a:lnTo>
                    <a:lnTo>
                      <a:pt x="261" y="172"/>
                    </a:lnTo>
                    <a:lnTo>
                      <a:pt x="260" y="171"/>
                    </a:lnTo>
                    <a:lnTo>
                      <a:pt x="261" y="168"/>
                    </a:lnTo>
                    <a:lnTo>
                      <a:pt x="261" y="167"/>
                    </a:lnTo>
                    <a:lnTo>
                      <a:pt x="262" y="166"/>
                    </a:lnTo>
                    <a:lnTo>
                      <a:pt x="266" y="165"/>
                    </a:lnTo>
                    <a:lnTo>
                      <a:pt x="270" y="165"/>
                    </a:lnTo>
                    <a:lnTo>
                      <a:pt x="274" y="164"/>
                    </a:lnTo>
                    <a:lnTo>
                      <a:pt x="278" y="162"/>
                    </a:lnTo>
                    <a:lnTo>
                      <a:pt x="279" y="161"/>
                    </a:lnTo>
                    <a:lnTo>
                      <a:pt x="279" y="159"/>
                    </a:lnTo>
                    <a:lnTo>
                      <a:pt x="279" y="156"/>
                    </a:lnTo>
                    <a:lnTo>
                      <a:pt x="279" y="154"/>
                    </a:lnTo>
                    <a:lnTo>
                      <a:pt x="276" y="148"/>
                    </a:lnTo>
                    <a:lnTo>
                      <a:pt x="274" y="143"/>
                    </a:lnTo>
                    <a:lnTo>
                      <a:pt x="270" y="138"/>
                    </a:lnTo>
                    <a:lnTo>
                      <a:pt x="267" y="135"/>
                    </a:lnTo>
                    <a:lnTo>
                      <a:pt x="260" y="126"/>
                    </a:lnTo>
                    <a:lnTo>
                      <a:pt x="251" y="118"/>
                    </a:lnTo>
                    <a:lnTo>
                      <a:pt x="233" y="102"/>
                    </a:lnTo>
                    <a:lnTo>
                      <a:pt x="214" y="85"/>
                    </a:lnTo>
                    <a:lnTo>
                      <a:pt x="203" y="78"/>
                    </a:lnTo>
                    <a:lnTo>
                      <a:pt x="193" y="71"/>
                    </a:lnTo>
                    <a:lnTo>
                      <a:pt x="183" y="64"/>
                    </a:lnTo>
                    <a:lnTo>
                      <a:pt x="172" y="59"/>
                    </a:lnTo>
                    <a:lnTo>
                      <a:pt x="145" y="71"/>
                    </a:lnTo>
                    <a:lnTo>
                      <a:pt x="121" y="84"/>
                    </a:lnTo>
                    <a:lnTo>
                      <a:pt x="118" y="87"/>
                    </a:lnTo>
                    <a:lnTo>
                      <a:pt x="114" y="87"/>
                    </a:lnTo>
                    <a:lnTo>
                      <a:pt x="112" y="87"/>
                    </a:lnTo>
                    <a:lnTo>
                      <a:pt x="110" y="84"/>
                    </a:lnTo>
                    <a:lnTo>
                      <a:pt x="112" y="81"/>
                    </a:lnTo>
                    <a:lnTo>
                      <a:pt x="114" y="75"/>
                    </a:lnTo>
                    <a:lnTo>
                      <a:pt x="118" y="66"/>
                    </a:lnTo>
                    <a:lnTo>
                      <a:pt x="124" y="55"/>
                    </a:lnTo>
                    <a:lnTo>
                      <a:pt x="128" y="46"/>
                    </a:lnTo>
                    <a:lnTo>
                      <a:pt x="131" y="35"/>
                    </a:lnTo>
                    <a:lnTo>
                      <a:pt x="132" y="30"/>
                    </a:lnTo>
                    <a:lnTo>
                      <a:pt x="132" y="25"/>
                    </a:lnTo>
                    <a:lnTo>
                      <a:pt x="131" y="20"/>
                    </a:lnTo>
                    <a:lnTo>
                      <a:pt x="130" y="17"/>
                    </a:lnTo>
                    <a:lnTo>
                      <a:pt x="128" y="12"/>
                    </a:lnTo>
                    <a:lnTo>
                      <a:pt x="126" y="8"/>
                    </a:lnTo>
                    <a:lnTo>
                      <a:pt x="122" y="6"/>
                    </a:lnTo>
                    <a:lnTo>
                      <a:pt x="119" y="4"/>
                    </a:lnTo>
                    <a:lnTo>
                      <a:pt x="114" y="1"/>
                    </a:lnTo>
                    <a:lnTo>
                      <a:pt x="108" y="0"/>
                    </a:lnTo>
                    <a:lnTo>
                      <a:pt x="102" y="0"/>
                    </a:lnTo>
                    <a:lnTo>
                      <a:pt x="95" y="0"/>
                    </a:lnTo>
                    <a:lnTo>
                      <a:pt x="92" y="1"/>
                    </a:lnTo>
                    <a:lnTo>
                      <a:pt x="90" y="5"/>
                    </a:lnTo>
                    <a:lnTo>
                      <a:pt x="87" y="11"/>
                    </a:lnTo>
                    <a:lnTo>
                      <a:pt x="85" y="17"/>
                    </a:lnTo>
                    <a:lnTo>
                      <a:pt x="81" y="29"/>
                    </a:lnTo>
                    <a:lnTo>
                      <a:pt x="79" y="37"/>
                    </a:lnTo>
                    <a:lnTo>
                      <a:pt x="68" y="56"/>
                    </a:lnTo>
                    <a:lnTo>
                      <a:pt x="54" y="76"/>
                    </a:lnTo>
                    <a:lnTo>
                      <a:pt x="47" y="85"/>
                    </a:lnTo>
                    <a:lnTo>
                      <a:pt x="42" y="96"/>
                    </a:lnTo>
                    <a:lnTo>
                      <a:pt x="38" y="105"/>
                    </a:lnTo>
                    <a:lnTo>
                      <a:pt x="37" y="114"/>
                    </a:lnTo>
                    <a:lnTo>
                      <a:pt x="41" y="127"/>
                    </a:lnTo>
                    <a:lnTo>
                      <a:pt x="45" y="140"/>
                    </a:lnTo>
                    <a:lnTo>
                      <a:pt x="47" y="142"/>
                    </a:lnTo>
                    <a:lnTo>
                      <a:pt x="47" y="144"/>
                    </a:lnTo>
                    <a:lnTo>
                      <a:pt x="45" y="146"/>
                    </a:lnTo>
                    <a:lnTo>
                      <a:pt x="43" y="147"/>
                    </a:lnTo>
                    <a:lnTo>
                      <a:pt x="35" y="149"/>
                    </a:lnTo>
                    <a:lnTo>
                      <a:pt x="21" y="150"/>
                    </a:lnTo>
                    <a:lnTo>
                      <a:pt x="13" y="150"/>
                    </a:lnTo>
                    <a:lnTo>
                      <a:pt x="6" y="152"/>
                    </a:lnTo>
                    <a:lnTo>
                      <a:pt x="2" y="154"/>
                    </a:lnTo>
                    <a:lnTo>
                      <a:pt x="0" y="156"/>
                    </a:lnTo>
                    <a:lnTo>
                      <a:pt x="0" y="160"/>
                    </a:lnTo>
                    <a:lnTo>
                      <a:pt x="1" y="164"/>
                    </a:lnTo>
                    <a:lnTo>
                      <a:pt x="4" y="167"/>
                    </a:lnTo>
                    <a:lnTo>
                      <a:pt x="8" y="172"/>
                    </a:lnTo>
                    <a:lnTo>
                      <a:pt x="18" y="182"/>
                    </a:lnTo>
                    <a:lnTo>
                      <a:pt x="27" y="192"/>
                    </a:lnTo>
                    <a:lnTo>
                      <a:pt x="32" y="197"/>
                    </a:lnTo>
                    <a:lnTo>
                      <a:pt x="37" y="203"/>
                    </a:lnTo>
                    <a:lnTo>
                      <a:pt x="39" y="208"/>
                    </a:lnTo>
                    <a:lnTo>
                      <a:pt x="42" y="213"/>
                    </a:lnTo>
                    <a:lnTo>
                      <a:pt x="45" y="226"/>
                    </a:lnTo>
                    <a:lnTo>
                      <a:pt x="50" y="236"/>
                    </a:lnTo>
                    <a:lnTo>
                      <a:pt x="54" y="238"/>
                    </a:lnTo>
                    <a:lnTo>
                      <a:pt x="56" y="241"/>
                    </a:lnTo>
                    <a:lnTo>
                      <a:pt x="60" y="243"/>
                    </a:lnTo>
                    <a:lnTo>
                      <a:pt x="63" y="244"/>
                    </a:lnTo>
                    <a:lnTo>
                      <a:pt x="72" y="245"/>
                    </a:lnTo>
                    <a:lnTo>
                      <a:pt x="81" y="244"/>
                    </a:lnTo>
                    <a:lnTo>
                      <a:pt x="93" y="244"/>
                    </a:lnTo>
                    <a:lnTo>
                      <a:pt x="109" y="243"/>
                    </a:lnTo>
                    <a:lnTo>
                      <a:pt x="113" y="243"/>
                    </a:lnTo>
                    <a:lnTo>
                      <a:pt x="116" y="243"/>
                    </a:lnTo>
                    <a:lnTo>
                      <a:pt x="119" y="244"/>
                    </a:lnTo>
                    <a:lnTo>
                      <a:pt x="121" y="245"/>
                    </a:lnTo>
                    <a:lnTo>
                      <a:pt x="124" y="250"/>
                    </a:lnTo>
                    <a:lnTo>
                      <a:pt x="124" y="256"/>
                    </a:lnTo>
                    <a:lnTo>
                      <a:pt x="121" y="269"/>
                    </a:lnTo>
                    <a:lnTo>
                      <a:pt x="118" y="284"/>
                    </a:lnTo>
                    <a:lnTo>
                      <a:pt x="115" y="302"/>
                    </a:lnTo>
                    <a:lnTo>
                      <a:pt x="114" y="324"/>
                    </a:lnTo>
                    <a:lnTo>
                      <a:pt x="115" y="345"/>
                    </a:lnTo>
                    <a:lnTo>
                      <a:pt x="115" y="363"/>
                    </a:lnTo>
                    <a:lnTo>
                      <a:pt x="115" y="368"/>
                    </a:lnTo>
                    <a:lnTo>
                      <a:pt x="118" y="372"/>
                    </a:lnTo>
                    <a:lnTo>
                      <a:pt x="121" y="375"/>
                    </a:lnTo>
                    <a:lnTo>
                      <a:pt x="126" y="380"/>
                    </a:lnTo>
                    <a:lnTo>
                      <a:pt x="137" y="387"/>
                    </a:lnTo>
                    <a:lnTo>
                      <a:pt x="150" y="396"/>
                    </a:lnTo>
                    <a:lnTo>
                      <a:pt x="164" y="403"/>
                    </a:lnTo>
                    <a:lnTo>
                      <a:pt x="177" y="410"/>
                    </a:lnTo>
                    <a:lnTo>
                      <a:pt x="189" y="417"/>
                    </a:lnTo>
                    <a:lnTo>
                      <a:pt x="196" y="425"/>
                    </a:lnTo>
                    <a:lnTo>
                      <a:pt x="180" y="426"/>
                    </a:lnTo>
                    <a:lnTo>
                      <a:pt x="164" y="430"/>
                    </a:lnTo>
                    <a:lnTo>
                      <a:pt x="157" y="433"/>
                    </a:lnTo>
                    <a:lnTo>
                      <a:pt x="150" y="436"/>
                    </a:lnTo>
                    <a:lnTo>
                      <a:pt x="143" y="440"/>
                    </a:lnTo>
                    <a:lnTo>
                      <a:pt x="137" y="444"/>
                    </a:lnTo>
                    <a:lnTo>
                      <a:pt x="132" y="449"/>
                    </a:lnTo>
                    <a:lnTo>
                      <a:pt x="128" y="454"/>
                    </a:lnTo>
                    <a:lnTo>
                      <a:pt x="125" y="460"/>
                    </a:lnTo>
                    <a:lnTo>
                      <a:pt x="122" y="466"/>
                    </a:lnTo>
                    <a:lnTo>
                      <a:pt x="122" y="473"/>
                    </a:lnTo>
                    <a:lnTo>
                      <a:pt x="124" y="479"/>
                    </a:lnTo>
                    <a:lnTo>
                      <a:pt x="126" y="486"/>
                    </a:lnTo>
                    <a:lnTo>
                      <a:pt x="131" y="495"/>
                    </a:lnTo>
                    <a:lnTo>
                      <a:pt x="138" y="507"/>
                    </a:lnTo>
                    <a:lnTo>
                      <a:pt x="142" y="515"/>
                    </a:lnTo>
                    <a:lnTo>
                      <a:pt x="142" y="521"/>
                    </a:lnTo>
                    <a:lnTo>
                      <a:pt x="140" y="527"/>
                    </a:lnTo>
                    <a:lnTo>
                      <a:pt x="137" y="532"/>
                    </a:lnTo>
                    <a:lnTo>
                      <a:pt x="134" y="540"/>
                    </a:lnTo>
                    <a:lnTo>
                      <a:pt x="133" y="545"/>
                    </a:lnTo>
                    <a:lnTo>
                      <a:pt x="132" y="550"/>
                    </a:lnTo>
                    <a:lnTo>
                      <a:pt x="132" y="557"/>
                    </a:lnTo>
                    <a:lnTo>
                      <a:pt x="133" y="566"/>
                    </a:lnTo>
                    <a:lnTo>
                      <a:pt x="133" y="569"/>
                    </a:lnTo>
                    <a:lnTo>
                      <a:pt x="134" y="573"/>
                    </a:lnTo>
                    <a:lnTo>
                      <a:pt x="137" y="575"/>
                    </a:lnTo>
                    <a:lnTo>
                      <a:pt x="138" y="578"/>
                    </a:lnTo>
                    <a:lnTo>
                      <a:pt x="143" y="579"/>
                    </a:lnTo>
                    <a:lnTo>
                      <a:pt x="148" y="579"/>
                    </a:lnTo>
                    <a:lnTo>
                      <a:pt x="161" y="573"/>
                    </a:lnTo>
                    <a:lnTo>
                      <a:pt x="177" y="564"/>
                    </a:lnTo>
                    <a:lnTo>
                      <a:pt x="184" y="561"/>
                    </a:lnTo>
                    <a:lnTo>
                      <a:pt x="190" y="557"/>
                    </a:lnTo>
                    <a:lnTo>
                      <a:pt x="197" y="556"/>
                    </a:lnTo>
                    <a:lnTo>
                      <a:pt x="203" y="556"/>
                    </a:lnTo>
                    <a:lnTo>
                      <a:pt x="205" y="557"/>
                    </a:lnTo>
                    <a:lnTo>
                      <a:pt x="208" y="558"/>
                    </a:lnTo>
                    <a:lnTo>
                      <a:pt x="210" y="561"/>
                    </a:lnTo>
                    <a:lnTo>
                      <a:pt x="211" y="563"/>
                    </a:lnTo>
                    <a:lnTo>
                      <a:pt x="214" y="572"/>
                    </a:lnTo>
                    <a:lnTo>
                      <a:pt x="215" y="585"/>
                    </a:lnTo>
                    <a:lnTo>
                      <a:pt x="214" y="592"/>
                    </a:lnTo>
                    <a:lnTo>
                      <a:pt x="213" y="600"/>
                    </a:lnTo>
                    <a:lnTo>
                      <a:pt x="210" y="610"/>
                    </a:lnTo>
                    <a:lnTo>
                      <a:pt x="207" y="618"/>
                    </a:lnTo>
                    <a:lnTo>
                      <a:pt x="199" y="634"/>
                    </a:lnTo>
                    <a:lnTo>
                      <a:pt x="191" y="650"/>
                    </a:lnTo>
                    <a:lnTo>
                      <a:pt x="190" y="656"/>
                    </a:lnTo>
                    <a:lnTo>
                      <a:pt x="187" y="664"/>
                    </a:lnTo>
                    <a:lnTo>
                      <a:pt x="187" y="669"/>
                    </a:lnTo>
                    <a:lnTo>
                      <a:pt x="187" y="673"/>
                    </a:lnTo>
                    <a:lnTo>
                      <a:pt x="187" y="675"/>
                    </a:lnTo>
                    <a:lnTo>
                      <a:pt x="190" y="675"/>
                    </a:lnTo>
                    <a:lnTo>
                      <a:pt x="201" y="663"/>
                    </a:lnTo>
                    <a:lnTo>
                      <a:pt x="210" y="653"/>
                    </a:lnTo>
                    <a:lnTo>
                      <a:pt x="211" y="663"/>
                    </a:lnTo>
                    <a:lnTo>
                      <a:pt x="213" y="674"/>
                    </a:lnTo>
                    <a:lnTo>
                      <a:pt x="214" y="686"/>
                    </a:lnTo>
                    <a:lnTo>
                      <a:pt x="215" y="698"/>
                    </a:lnTo>
                    <a:lnTo>
                      <a:pt x="229" y="716"/>
                    </a:lnTo>
                    <a:lnTo>
                      <a:pt x="238" y="724"/>
                    </a:lnTo>
                    <a:lnTo>
                      <a:pt x="242" y="724"/>
                    </a:lnTo>
                    <a:lnTo>
                      <a:pt x="248" y="722"/>
                    </a:lnTo>
                    <a:lnTo>
                      <a:pt x="255" y="717"/>
                    </a:lnTo>
                    <a:lnTo>
                      <a:pt x="266" y="711"/>
                    </a:lnTo>
                    <a:lnTo>
                      <a:pt x="275" y="703"/>
                    </a:lnTo>
                    <a:lnTo>
                      <a:pt x="288" y="689"/>
                    </a:lnTo>
                    <a:lnTo>
                      <a:pt x="296" y="682"/>
                    </a:lnTo>
                    <a:lnTo>
                      <a:pt x="302" y="676"/>
                    </a:lnTo>
                    <a:lnTo>
                      <a:pt x="305" y="670"/>
                    </a:lnTo>
                    <a:lnTo>
                      <a:pt x="308" y="665"/>
                    </a:lnTo>
                    <a:lnTo>
                      <a:pt x="310" y="665"/>
                    </a:lnTo>
                    <a:lnTo>
                      <a:pt x="309" y="681"/>
                    </a:lnTo>
                    <a:lnTo>
                      <a:pt x="306" y="698"/>
                    </a:lnTo>
                    <a:lnTo>
                      <a:pt x="303" y="714"/>
                    </a:lnTo>
                    <a:lnTo>
                      <a:pt x="297" y="729"/>
                    </a:lnTo>
                    <a:lnTo>
                      <a:pt x="276" y="747"/>
                    </a:lnTo>
                    <a:lnTo>
                      <a:pt x="262" y="764"/>
                    </a:lnTo>
                    <a:lnTo>
                      <a:pt x="272" y="781"/>
                    </a:lnTo>
                    <a:lnTo>
                      <a:pt x="281" y="799"/>
                    </a:lnTo>
                    <a:lnTo>
                      <a:pt x="287" y="811"/>
                    </a:lnTo>
                    <a:lnTo>
                      <a:pt x="292" y="825"/>
                    </a:lnTo>
                    <a:lnTo>
                      <a:pt x="296" y="841"/>
                    </a:lnTo>
                    <a:lnTo>
                      <a:pt x="300" y="857"/>
                    </a:lnTo>
                    <a:lnTo>
                      <a:pt x="303" y="865"/>
                    </a:lnTo>
                    <a:lnTo>
                      <a:pt x="305" y="872"/>
                    </a:lnTo>
                    <a:lnTo>
                      <a:pt x="309" y="880"/>
                    </a:lnTo>
                    <a:lnTo>
                      <a:pt x="313" y="886"/>
                    </a:lnTo>
                    <a:lnTo>
                      <a:pt x="317" y="890"/>
                    </a:lnTo>
                    <a:lnTo>
                      <a:pt x="322" y="895"/>
                    </a:lnTo>
                    <a:lnTo>
                      <a:pt x="328" y="899"/>
                    </a:lnTo>
                    <a:lnTo>
                      <a:pt x="335" y="901"/>
                    </a:lnTo>
                    <a:lnTo>
                      <a:pt x="338" y="918"/>
                    </a:lnTo>
                    <a:lnTo>
                      <a:pt x="340" y="937"/>
                    </a:lnTo>
                    <a:lnTo>
                      <a:pt x="341" y="947"/>
                    </a:lnTo>
                    <a:lnTo>
                      <a:pt x="345" y="955"/>
                    </a:lnTo>
                    <a:lnTo>
                      <a:pt x="347" y="963"/>
                    </a:lnTo>
                    <a:lnTo>
                      <a:pt x="352" y="967"/>
                    </a:lnTo>
                    <a:lnTo>
                      <a:pt x="367" y="978"/>
                    </a:lnTo>
                    <a:lnTo>
                      <a:pt x="380" y="990"/>
                    </a:lnTo>
                    <a:lnTo>
                      <a:pt x="388" y="1007"/>
                    </a:lnTo>
                    <a:lnTo>
                      <a:pt x="397" y="1019"/>
                    </a:lnTo>
                    <a:lnTo>
                      <a:pt x="398" y="1022"/>
                    </a:lnTo>
                    <a:lnTo>
                      <a:pt x="400" y="1023"/>
                    </a:lnTo>
                    <a:lnTo>
                      <a:pt x="402" y="1022"/>
                    </a:lnTo>
                    <a:lnTo>
                      <a:pt x="403" y="992"/>
                    </a:lnTo>
                    <a:lnTo>
                      <a:pt x="405" y="963"/>
                    </a:lnTo>
                    <a:lnTo>
                      <a:pt x="408" y="933"/>
                    </a:lnTo>
                    <a:lnTo>
                      <a:pt x="408" y="902"/>
                    </a:lnTo>
                    <a:lnTo>
                      <a:pt x="405" y="818"/>
                    </a:lnTo>
                    <a:lnTo>
                      <a:pt x="404" y="806"/>
                    </a:lnTo>
                    <a:lnTo>
                      <a:pt x="400" y="797"/>
                    </a:lnTo>
                    <a:lnTo>
                      <a:pt x="397" y="787"/>
                    </a:lnTo>
                    <a:lnTo>
                      <a:pt x="393" y="776"/>
                    </a:lnTo>
                    <a:lnTo>
                      <a:pt x="393" y="769"/>
                    </a:lnTo>
                    <a:lnTo>
                      <a:pt x="394" y="760"/>
                    </a:lnTo>
                    <a:lnTo>
                      <a:pt x="398" y="752"/>
                    </a:lnTo>
                    <a:lnTo>
                      <a:pt x="403" y="744"/>
                    </a:lnTo>
                    <a:lnTo>
                      <a:pt x="408" y="735"/>
                    </a:lnTo>
                    <a:lnTo>
                      <a:pt x="412" y="727"/>
                    </a:lnTo>
                    <a:lnTo>
                      <a:pt x="416" y="718"/>
                    </a:lnTo>
                    <a:lnTo>
                      <a:pt x="418" y="710"/>
                    </a:lnTo>
                    <a:lnTo>
                      <a:pt x="417" y="700"/>
                    </a:lnTo>
                    <a:lnTo>
                      <a:pt x="414" y="687"/>
                    </a:lnTo>
                    <a:lnTo>
                      <a:pt x="411" y="681"/>
                    </a:lnTo>
                    <a:lnTo>
                      <a:pt x="410" y="675"/>
                    </a:lnTo>
                    <a:lnTo>
                      <a:pt x="410" y="671"/>
                    </a:lnTo>
                    <a:lnTo>
                      <a:pt x="411" y="669"/>
                    </a:lnTo>
                    <a:lnTo>
                      <a:pt x="404" y="6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50"/>
              <p:cNvSpPr>
                <a:spLocks/>
              </p:cNvSpPr>
              <p:nvPr/>
            </p:nvSpPr>
            <p:spPr bwMode="auto">
              <a:xfrm>
                <a:off x="6953251" y="7446963"/>
                <a:ext cx="61913" cy="87313"/>
              </a:xfrm>
              <a:custGeom>
                <a:avLst/>
                <a:gdLst>
                  <a:gd name="T0" fmla="*/ 151 w 156"/>
                  <a:gd name="T1" fmla="*/ 152 h 221"/>
                  <a:gd name="T2" fmla="*/ 140 w 156"/>
                  <a:gd name="T3" fmla="*/ 144 h 221"/>
                  <a:gd name="T4" fmla="*/ 125 w 156"/>
                  <a:gd name="T5" fmla="*/ 127 h 221"/>
                  <a:gd name="T6" fmla="*/ 98 w 156"/>
                  <a:gd name="T7" fmla="*/ 83 h 221"/>
                  <a:gd name="T8" fmla="*/ 79 w 156"/>
                  <a:gd name="T9" fmla="*/ 48 h 221"/>
                  <a:gd name="T10" fmla="*/ 69 w 156"/>
                  <a:gd name="T11" fmla="*/ 29 h 221"/>
                  <a:gd name="T12" fmla="*/ 61 w 156"/>
                  <a:gd name="T13" fmla="*/ 21 h 221"/>
                  <a:gd name="T14" fmla="*/ 48 w 156"/>
                  <a:gd name="T15" fmla="*/ 17 h 221"/>
                  <a:gd name="T16" fmla="*/ 35 w 156"/>
                  <a:gd name="T17" fmla="*/ 12 h 221"/>
                  <a:gd name="T18" fmla="*/ 21 w 156"/>
                  <a:gd name="T19" fmla="*/ 5 h 221"/>
                  <a:gd name="T20" fmla="*/ 8 w 156"/>
                  <a:gd name="T21" fmla="*/ 0 h 221"/>
                  <a:gd name="T22" fmla="*/ 2 w 156"/>
                  <a:gd name="T23" fmla="*/ 11 h 221"/>
                  <a:gd name="T24" fmla="*/ 4 w 156"/>
                  <a:gd name="T25" fmla="*/ 33 h 221"/>
                  <a:gd name="T26" fmla="*/ 3 w 156"/>
                  <a:gd name="T27" fmla="*/ 58 h 221"/>
                  <a:gd name="T28" fmla="*/ 0 w 156"/>
                  <a:gd name="T29" fmla="*/ 85 h 221"/>
                  <a:gd name="T30" fmla="*/ 1 w 156"/>
                  <a:gd name="T31" fmla="*/ 100 h 221"/>
                  <a:gd name="T32" fmla="*/ 13 w 156"/>
                  <a:gd name="T33" fmla="*/ 113 h 221"/>
                  <a:gd name="T34" fmla="*/ 35 w 156"/>
                  <a:gd name="T35" fmla="*/ 129 h 221"/>
                  <a:gd name="T36" fmla="*/ 47 w 156"/>
                  <a:gd name="T37" fmla="*/ 139 h 221"/>
                  <a:gd name="T38" fmla="*/ 35 w 156"/>
                  <a:gd name="T39" fmla="*/ 138 h 221"/>
                  <a:gd name="T40" fmla="*/ 19 w 156"/>
                  <a:gd name="T41" fmla="*/ 132 h 221"/>
                  <a:gd name="T42" fmla="*/ 17 w 156"/>
                  <a:gd name="T43" fmla="*/ 134 h 221"/>
                  <a:gd name="T44" fmla="*/ 13 w 156"/>
                  <a:gd name="T45" fmla="*/ 144 h 221"/>
                  <a:gd name="T46" fmla="*/ 12 w 156"/>
                  <a:gd name="T47" fmla="*/ 170 h 221"/>
                  <a:gd name="T48" fmla="*/ 9 w 156"/>
                  <a:gd name="T49" fmla="*/ 197 h 221"/>
                  <a:gd name="T50" fmla="*/ 8 w 156"/>
                  <a:gd name="T51" fmla="*/ 213 h 221"/>
                  <a:gd name="T52" fmla="*/ 17 w 156"/>
                  <a:gd name="T53" fmla="*/ 218 h 221"/>
                  <a:gd name="T54" fmla="*/ 37 w 156"/>
                  <a:gd name="T55" fmla="*/ 217 h 221"/>
                  <a:gd name="T56" fmla="*/ 56 w 156"/>
                  <a:gd name="T57" fmla="*/ 221 h 221"/>
                  <a:gd name="T58" fmla="*/ 66 w 156"/>
                  <a:gd name="T59" fmla="*/ 221 h 221"/>
                  <a:gd name="T60" fmla="*/ 72 w 156"/>
                  <a:gd name="T61" fmla="*/ 217 h 221"/>
                  <a:gd name="T62" fmla="*/ 75 w 156"/>
                  <a:gd name="T63" fmla="*/ 211 h 221"/>
                  <a:gd name="T64" fmla="*/ 78 w 156"/>
                  <a:gd name="T65" fmla="*/ 199 h 221"/>
                  <a:gd name="T66" fmla="*/ 80 w 156"/>
                  <a:gd name="T67" fmla="*/ 189 h 221"/>
                  <a:gd name="T68" fmla="*/ 89 w 156"/>
                  <a:gd name="T69" fmla="*/ 189 h 221"/>
                  <a:gd name="T70" fmla="*/ 106 w 156"/>
                  <a:gd name="T71" fmla="*/ 192 h 221"/>
                  <a:gd name="T72" fmla="*/ 119 w 156"/>
                  <a:gd name="T73" fmla="*/ 193 h 221"/>
                  <a:gd name="T74" fmla="*/ 128 w 156"/>
                  <a:gd name="T75" fmla="*/ 186 h 221"/>
                  <a:gd name="T76" fmla="*/ 136 w 156"/>
                  <a:gd name="T77" fmla="*/ 176 h 221"/>
                  <a:gd name="T78" fmla="*/ 143 w 156"/>
                  <a:gd name="T79" fmla="*/ 168 h 221"/>
                  <a:gd name="T80" fmla="*/ 156 w 156"/>
                  <a:gd name="T81" fmla="*/ 153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1">
                    <a:moveTo>
                      <a:pt x="156" y="153"/>
                    </a:moveTo>
                    <a:lnTo>
                      <a:pt x="151" y="152"/>
                    </a:lnTo>
                    <a:lnTo>
                      <a:pt x="145" y="148"/>
                    </a:lnTo>
                    <a:lnTo>
                      <a:pt x="140" y="144"/>
                    </a:lnTo>
                    <a:lnTo>
                      <a:pt x="134" y="139"/>
                    </a:lnTo>
                    <a:lnTo>
                      <a:pt x="125" y="127"/>
                    </a:lnTo>
                    <a:lnTo>
                      <a:pt x="115" y="112"/>
                    </a:lnTo>
                    <a:lnTo>
                      <a:pt x="98" y="83"/>
                    </a:lnTo>
                    <a:lnTo>
                      <a:pt x="84" y="59"/>
                    </a:lnTo>
                    <a:lnTo>
                      <a:pt x="79" y="48"/>
                    </a:lnTo>
                    <a:lnTo>
                      <a:pt x="73" y="35"/>
                    </a:lnTo>
                    <a:lnTo>
                      <a:pt x="69" y="29"/>
                    </a:lnTo>
                    <a:lnTo>
                      <a:pt x="66" y="24"/>
                    </a:lnTo>
                    <a:lnTo>
                      <a:pt x="61" y="21"/>
                    </a:lnTo>
                    <a:lnTo>
                      <a:pt x="55" y="18"/>
                    </a:lnTo>
                    <a:lnTo>
                      <a:pt x="48" y="17"/>
                    </a:lnTo>
                    <a:lnTo>
                      <a:pt x="42" y="15"/>
                    </a:lnTo>
                    <a:lnTo>
                      <a:pt x="35" y="12"/>
                    </a:lnTo>
                    <a:lnTo>
                      <a:pt x="27" y="9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2" y="11"/>
                    </a:lnTo>
                    <a:lnTo>
                      <a:pt x="3" y="22"/>
                    </a:lnTo>
                    <a:lnTo>
                      <a:pt x="4" y="33"/>
                    </a:lnTo>
                    <a:lnTo>
                      <a:pt x="4" y="45"/>
                    </a:lnTo>
                    <a:lnTo>
                      <a:pt x="3" y="58"/>
                    </a:lnTo>
                    <a:lnTo>
                      <a:pt x="1" y="76"/>
                    </a:lnTo>
                    <a:lnTo>
                      <a:pt x="0" y="85"/>
                    </a:lnTo>
                    <a:lnTo>
                      <a:pt x="0" y="93"/>
                    </a:lnTo>
                    <a:lnTo>
                      <a:pt x="1" y="100"/>
                    </a:lnTo>
                    <a:lnTo>
                      <a:pt x="2" y="105"/>
                    </a:lnTo>
                    <a:lnTo>
                      <a:pt x="13" y="113"/>
                    </a:lnTo>
                    <a:lnTo>
                      <a:pt x="27" y="123"/>
                    </a:lnTo>
                    <a:lnTo>
                      <a:pt x="35" y="129"/>
                    </a:lnTo>
                    <a:lnTo>
                      <a:pt x="42" y="134"/>
                    </a:lnTo>
                    <a:lnTo>
                      <a:pt x="47" y="139"/>
                    </a:lnTo>
                    <a:lnTo>
                      <a:pt x="49" y="144"/>
                    </a:lnTo>
                    <a:lnTo>
                      <a:pt x="35" y="138"/>
                    </a:lnTo>
                    <a:lnTo>
                      <a:pt x="20" y="132"/>
                    </a:lnTo>
                    <a:lnTo>
                      <a:pt x="19" y="132"/>
                    </a:lnTo>
                    <a:lnTo>
                      <a:pt x="18" y="133"/>
                    </a:lnTo>
                    <a:lnTo>
                      <a:pt x="17" y="134"/>
                    </a:lnTo>
                    <a:lnTo>
                      <a:pt x="15" y="136"/>
                    </a:lnTo>
                    <a:lnTo>
                      <a:pt x="13" y="144"/>
                    </a:lnTo>
                    <a:lnTo>
                      <a:pt x="12" y="152"/>
                    </a:lnTo>
                    <a:lnTo>
                      <a:pt x="12" y="170"/>
                    </a:lnTo>
                    <a:lnTo>
                      <a:pt x="11" y="182"/>
                    </a:lnTo>
                    <a:lnTo>
                      <a:pt x="9" y="197"/>
                    </a:lnTo>
                    <a:lnTo>
                      <a:pt x="7" y="209"/>
                    </a:lnTo>
                    <a:lnTo>
                      <a:pt x="8" y="213"/>
                    </a:lnTo>
                    <a:lnTo>
                      <a:pt x="12" y="217"/>
                    </a:lnTo>
                    <a:lnTo>
                      <a:pt x="17" y="218"/>
                    </a:lnTo>
                    <a:lnTo>
                      <a:pt x="26" y="217"/>
                    </a:lnTo>
                    <a:lnTo>
                      <a:pt x="37" y="217"/>
                    </a:lnTo>
                    <a:lnTo>
                      <a:pt x="49" y="219"/>
                    </a:lnTo>
                    <a:lnTo>
                      <a:pt x="56" y="221"/>
                    </a:lnTo>
                    <a:lnTo>
                      <a:pt x="61" y="221"/>
                    </a:lnTo>
                    <a:lnTo>
                      <a:pt x="66" y="221"/>
                    </a:lnTo>
                    <a:lnTo>
                      <a:pt x="69" y="219"/>
                    </a:lnTo>
                    <a:lnTo>
                      <a:pt x="72" y="217"/>
                    </a:lnTo>
                    <a:lnTo>
                      <a:pt x="74" y="213"/>
                    </a:lnTo>
                    <a:lnTo>
                      <a:pt x="75" y="211"/>
                    </a:lnTo>
                    <a:lnTo>
                      <a:pt x="77" y="206"/>
                    </a:lnTo>
                    <a:lnTo>
                      <a:pt x="78" y="199"/>
                    </a:lnTo>
                    <a:lnTo>
                      <a:pt x="79" y="190"/>
                    </a:lnTo>
                    <a:lnTo>
                      <a:pt x="80" y="189"/>
                    </a:lnTo>
                    <a:lnTo>
                      <a:pt x="84" y="188"/>
                    </a:lnTo>
                    <a:lnTo>
                      <a:pt x="89" y="189"/>
                    </a:lnTo>
                    <a:lnTo>
                      <a:pt x="95" y="189"/>
                    </a:lnTo>
                    <a:lnTo>
                      <a:pt x="106" y="192"/>
                    </a:lnTo>
                    <a:lnTo>
                      <a:pt x="113" y="193"/>
                    </a:lnTo>
                    <a:lnTo>
                      <a:pt x="119" y="193"/>
                    </a:lnTo>
                    <a:lnTo>
                      <a:pt x="124" y="189"/>
                    </a:lnTo>
                    <a:lnTo>
                      <a:pt x="128" y="186"/>
                    </a:lnTo>
                    <a:lnTo>
                      <a:pt x="132" y="181"/>
                    </a:lnTo>
                    <a:lnTo>
                      <a:pt x="136" y="176"/>
                    </a:lnTo>
                    <a:lnTo>
                      <a:pt x="139" y="171"/>
                    </a:lnTo>
                    <a:lnTo>
                      <a:pt x="143" y="168"/>
                    </a:lnTo>
                    <a:lnTo>
                      <a:pt x="148" y="165"/>
                    </a:lnTo>
                    <a:lnTo>
                      <a:pt x="156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51"/>
              <p:cNvSpPr>
                <a:spLocks/>
              </p:cNvSpPr>
              <p:nvPr/>
            </p:nvSpPr>
            <p:spPr bwMode="auto">
              <a:xfrm>
                <a:off x="6780213" y="7353300"/>
                <a:ext cx="168275" cy="198438"/>
              </a:xfrm>
              <a:custGeom>
                <a:avLst/>
                <a:gdLst>
                  <a:gd name="T0" fmla="*/ 410 w 422"/>
                  <a:gd name="T1" fmla="*/ 270 h 501"/>
                  <a:gd name="T2" fmla="*/ 409 w 422"/>
                  <a:gd name="T3" fmla="*/ 229 h 501"/>
                  <a:gd name="T4" fmla="*/ 422 w 422"/>
                  <a:gd name="T5" fmla="*/ 191 h 501"/>
                  <a:gd name="T6" fmla="*/ 419 w 422"/>
                  <a:gd name="T7" fmla="*/ 141 h 501"/>
                  <a:gd name="T8" fmla="*/ 408 w 422"/>
                  <a:gd name="T9" fmla="*/ 120 h 501"/>
                  <a:gd name="T10" fmla="*/ 342 w 422"/>
                  <a:gd name="T11" fmla="*/ 102 h 501"/>
                  <a:gd name="T12" fmla="*/ 309 w 422"/>
                  <a:gd name="T13" fmla="*/ 116 h 501"/>
                  <a:gd name="T14" fmla="*/ 306 w 422"/>
                  <a:gd name="T15" fmla="*/ 152 h 501"/>
                  <a:gd name="T16" fmla="*/ 298 w 422"/>
                  <a:gd name="T17" fmla="*/ 145 h 501"/>
                  <a:gd name="T18" fmla="*/ 283 w 422"/>
                  <a:gd name="T19" fmla="*/ 116 h 501"/>
                  <a:gd name="T20" fmla="*/ 258 w 422"/>
                  <a:gd name="T21" fmla="*/ 93 h 501"/>
                  <a:gd name="T22" fmla="*/ 195 w 422"/>
                  <a:gd name="T23" fmla="*/ 67 h 501"/>
                  <a:gd name="T24" fmla="*/ 78 w 422"/>
                  <a:gd name="T25" fmla="*/ 28 h 501"/>
                  <a:gd name="T26" fmla="*/ 42 w 422"/>
                  <a:gd name="T27" fmla="*/ 5 h 501"/>
                  <a:gd name="T28" fmla="*/ 5 w 422"/>
                  <a:gd name="T29" fmla="*/ 62 h 501"/>
                  <a:gd name="T30" fmla="*/ 0 w 422"/>
                  <a:gd name="T31" fmla="*/ 68 h 501"/>
                  <a:gd name="T32" fmla="*/ 7 w 422"/>
                  <a:gd name="T33" fmla="*/ 85 h 501"/>
                  <a:gd name="T34" fmla="*/ 58 w 422"/>
                  <a:gd name="T35" fmla="*/ 134 h 501"/>
                  <a:gd name="T36" fmla="*/ 72 w 422"/>
                  <a:gd name="T37" fmla="*/ 145 h 501"/>
                  <a:gd name="T38" fmla="*/ 96 w 422"/>
                  <a:gd name="T39" fmla="*/ 151 h 501"/>
                  <a:gd name="T40" fmla="*/ 107 w 422"/>
                  <a:gd name="T41" fmla="*/ 163 h 501"/>
                  <a:gd name="T42" fmla="*/ 90 w 422"/>
                  <a:gd name="T43" fmla="*/ 177 h 501"/>
                  <a:gd name="T44" fmla="*/ 79 w 422"/>
                  <a:gd name="T45" fmla="*/ 189 h 501"/>
                  <a:gd name="T46" fmla="*/ 87 w 422"/>
                  <a:gd name="T47" fmla="*/ 207 h 501"/>
                  <a:gd name="T48" fmla="*/ 120 w 422"/>
                  <a:gd name="T49" fmla="*/ 212 h 501"/>
                  <a:gd name="T50" fmla="*/ 128 w 422"/>
                  <a:gd name="T51" fmla="*/ 228 h 501"/>
                  <a:gd name="T52" fmla="*/ 130 w 422"/>
                  <a:gd name="T53" fmla="*/ 331 h 501"/>
                  <a:gd name="T54" fmla="*/ 146 w 422"/>
                  <a:gd name="T55" fmla="*/ 396 h 501"/>
                  <a:gd name="T56" fmla="*/ 156 w 422"/>
                  <a:gd name="T57" fmla="*/ 497 h 501"/>
                  <a:gd name="T58" fmla="*/ 195 w 422"/>
                  <a:gd name="T59" fmla="*/ 501 h 501"/>
                  <a:gd name="T60" fmla="*/ 211 w 422"/>
                  <a:gd name="T61" fmla="*/ 496 h 501"/>
                  <a:gd name="T62" fmla="*/ 227 w 422"/>
                  <a:gd name="T63" fmla="*/ 476 h 501"/>
                  <a:gd name="T64" fmla="*/ 248 w 422"/>
                  <a:gd name="T65" fmla="*/ 478 h 501"/>
                  <a:gd name="T66" fmla="*/ 330 w 422"/>
                  <a:gd name="T67" fmla="*/ 490 h 501"/>
                  <a:gd name="T68" fmla="*/ 353 w 422"/>
                  <a:gd name="T69" fmla="*/ 493 h 501"/>
                  <a:gd name="T70" fmla="*/ 355 w 422"/>
                  <a:gd name="T71" fmla="*/ 473 h 501"/>
                  <a:gd name="T72" fmla="*/ 361 w 422"/>
                  <a:gd name="T73" fmla="*/ 439 h 501"/>
                  <a:gd name="T74" fmla="*/ 363 w 422"/>
                  <a:gd name="T75" fmla="*/ 401 h 501"/>
                  <a:gd name="T76" fmla="*/ 339 w 422"/>
                  <a:gd name="T77" fmla="*/ 380 h 501"/>
                  <a:gd name="T78" fmla="*/ 315 w 422"/>
                  <a:gd name="T79" fmla="*/ 319 h 501"/>
                  <a:gd name="T80" fmla="*/ 292 w 422"/>
                  <a:gd name="T81" fmla="*/ 286 h 501"/>
                  <a:gd name="T82" fmla="*/ 274 w 422"/>
                  <a:gd name="T83" fmla="*/ 260 h 501"/>
                  <a:gd name="T84" fmla="*/ 278 w 422"/>
                  <a:gd name="T85" fmla="*/ 242 h 501"/>
                  <a:gd name="T86" fmla="*/ 294 w 422"/>
                  <a:gd name="T87" fmla="*/ 213 h 501"/>
                  <a:gd name="T88" fmla="*/ 298 w 422"/>
                  <a:gd name="T89" fmla="*/ 199 h 501"/>
                  <a:gd name="T90" fmla="*/ 323 w 422"/>
                  <a:gd name="T91" fmla="*/ 271 h 501"/>
                  <a:gd name="T92" fmla="*/ 359 w 422"/>
                  <a:gd name="T93" fmla="*/ 327 h 501"/>
                  <a:gd name="T94" fmla="*/ 383 w 422"/>
                  <a:gd name="T95" fmla="*/ 357 h 501"/>
                  <a:gd name="T96" fmla="*/ 390 w 422"/>
                  <a:gd name="T97" fmla="*/ 363 h 501"/>
                  <a:gd name="T98" fmla="*/ 406 w 422"/>
                  <a:gd name="T99" fmla="*/ 371 h 501"/>
                  <a:gd name="T100" fmla="*/ 413 w 422"/>
                  <a:gd name="T101" fmla="*/ 371 h 501"/>
                  <a:gd name="T102" fmla="*/ 421 w 422"/>
                  <a:gd name="T103" fmla="*/ 358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22" h="501">
                    <a:moveTo>
                      <a:pt x="421" y="327"/>
                    </a:moveTo>
                    <a:lnTo>
                      <a:pt x="416" y="311"/>
                    </a:lnTo>
                    <a:lnTo>
                      <a:pt x="413" y="291"/>
                    </a:lnTo>
                    <a:lnTo>
                      <a:pt x="410" y="270"/>
                    </a:lnTo>
                    <a:lnTo>
                      <a:pt x="408" y="253"/>
                    </a:lnTo>
                    <a:lnTo>
                      <a:pt x="407" y="244"/>
                    </a:lnTo>
                    <a:lnTo>
                      <a:pt x="408" y="235"/>
                    </a:lnTo>
                    <a:lnTo>
                      <a:pt x="409" y="229"/>
                    </a:lnTo>
                    <a:lnTo>
                      <a:pt x="412" y="223"/>
                    </a:lnTo>
                    <a:lnTo>
                      <a:pt x="418" y="211"/>
                    </a:lnTo>
                    <a:lnTo>
                      <a:pt x="421" y="199"/>
                    </a:lnTo>
                    <a:lnTo>
                      <a:pt x="422" y="191"/>
                    </a:lnTo>
                    <a:lnTo>
                      <a:pt x="422" y="180"/>
                    </a:lnTo>
                    <a:lnTo>
                      <a:pt x="421" y="167"/>
                    </a:lnTo>
                    <a:lnTo>
                      <a:pt x="420" y="155"/>
                    </a:lnTo>
                    <a:lnTo>
                      <a:pt x="419" y="141"/>
                    </a:lnTo>
                    <a:lnTo>
                      <a:pt x="415" y="130"/>
                    </a:lnTo>
                    <a:lnTo>
                      <a:pt x="413" y="127"/>
                    </a:lnTo>
                    <a:lnTo>
                      <a:pt x="412" y="122"/>
                    </a:lnTo>
                    <a:lnTo>
                      <a:pt x="408" y="120"/>
                    </a:lnTo>
                    <a:lnTo>
                      <a:pt x="406" y="118"/>
                    </a:lnTo>
                    <a:lnTo>
                      <a:pt x="386" y="112"/>
                    </a:lnTo>
                    <a:lnTo>
                      <a:pt x="357" y="105"/>
                    </a:lnTo>
                    <a:lnTo>
                      <a:pt x="342" y="102"/>
                    </a:lnTo>
                    <a:lnTo>
                      <a:pt x="327" y="99"/>
                    </a:lnTo>
                    <a:lnTo>
                      <a:pt x="317" y="98"/>
                    </a:lnTo>
                    <a:lnTo>
                      <a:pt x="309" y="98"/>
                    </a:lnTo>
                    <a:lnTo>
                      <a:pt x="309" y="116"/>
                    </a:lnTo>
                    <a:lnTo>
                      <a:pt x="308" y="140"/>
                    </a:lnTo>
                    <a:lnTo>
                      <a:pt x="308" y="145"/>
                    </a:lnTo>
                    <a:lnTo>
                      <a:pt x="307" y="148"/>
                    </a:lnTo>
                    <a:lnTo>
                      <a:pt x="306" y="152"/>
                    </a:lnTo>
                    <a:lnTo>
                      <a:pt x="304" y="153"/>
                    </a:lnTo>
                    <a:lnTo>
                      <a:pt x="303" y="152"/>
                    </a:lnTo>
                    <a:lnTo>
                      <a:pt x="301" y="150"/>
                    </a:lnTo>
                    <a:lnTo>
                      <a:pt x="298" y="145"/>
                    </a:lnTo>
                    <a:lnTo>
                      <a:pt x="295" y="138"/>
                    </a:lnTo>
                    <a:lnTo>
                      <a:pt x="291" y="129"/>
                    </a:lnTo>
                    <a:lnTo>
                      <a:pt x="288" y="122"/>
                    </a:lnTo>
                    <a:lnTo>
                      <a:pt x="283" y="116"/>
                    </a:lnTo>
                    <a:lnTo>
                      <a:pt x="277" y="109"/>
                    </a:lnTo>
                    <a:lnTo>
                      <a:pt x="271" y="104"/>
                    </a:lnTo>
                    <a:lnTo>
                      <a:pt x="265" y="98"/>
                    </a:lnTo>
                    <a:lnTo>
                      <a:pt x="258" y="93"/>
                    </a:lnTo>
                    <a:lnTo>
                      <a:pt x="249" y="88"/>
                    </a:lnTo>
                    <a:lnTo>
                      <a:pt x="232" y="80"/>
                    </a:lnTo>
                    <a:lnTo>
                      <a:pt x="214" y="73"/>
                    </a:lnTo>
                    <a:lnTo>
                      <a:pt x="195" y="67"/>
                    </a:lnTo>
                    <a:lnTo>
                      <a:pt x="176" y="59"/>
                    </a:lnTo>
                    <a:lnTo>
                      <a:pt x="135" y="49"/>
                    </a:lnTo>
                    <a:lnTo>
                      <a:pt x="96" y="35"/>
                    </a:lnTo>
                    <a:lnTo>
                      <a:pt x="78" y="28"/>
                    </a:lnTo>
                    <a:lnTo>
                      <a:pt x="63" y="21"/>
                    </a:lnTo>
                    <a:lnTo>
                      <a:pt x="55" y="16"/>
                    </a:lnTo>
                    <a:lnTo>
                      <a:pt x="49" y="11"/>
                    </a:lnTo>
                    <a:lnTo>
                      <a:pt x="42" y="5"/>
                    </a:lnTo>
                    <a:lnTo>
                      <a:pt x="37" y="0"/>
                    </a:lnTo>
                    <a:lnTo>
                      <a:pt x="14" y="38"/>
                    </a:lnTo>
                    <a:lnTo>
                      <a:pt x="8" y="51"/>
                    </a:lnTo>
                    <a:lnTo>
                      <a:pt x="5" y="62"/>
                    </a:lnTo>
                    <a:lnTo>
                      <a:pt x="4" y="64"/>
                    </a:lnTo>
                    <a:lnTo>
                      <a:pt x="2" y="65"/>
                    </a:lnTo>
                    <a:lnTo>
                      <a:pt x="2" y="67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2" y="76"/>
                    </a:lnTo>
                    <a:lnTo>
                      <a:pt x="4" y="80"/>
                    </a:lnTo>
                    <a:lnTo>
                      <a:pt x="7" y="85"/>
                    </a:lnTo>
                    <a:lnTo>
                      <a:pt x="14" y="93"/>
                    </a:lnTo>
                    <a:lnTo>
                      <a:pt x="23" y="102"/>
                    </a:lnTo>
                    <a:lnTo>
                      <a:pt x="42" y="117"/>
                    </a:lnTo>
                    <a:lnTo>
                      <a:pt x="58" y="134"/>
                    </a:lnTo>
                    <a:lnTo>
                      <a:pt x="61" y="138"/>
                    </a:lnTo>
                    <a:lnTo>
                      <a:pt x="65" y="141"/>
                    </a:lnTo>
                    <a:lnTo>
                      <a:pt x="69" y="142"/>
                    </a:lnTo>
                    <a:lnTo>
                      <a:pt x="72" y="145"/>
                    </a:lnTo>
                    <a:lnTo>
                      <a:pt x="81" y="147"/>
                    </a:lnTo>
                    <a:lnTo>
                      <a:pt x="89" y="148"/>
                    </a:lnTo>
                    <a:lnTo>
                      <a:pt x="93" y="150"/>
                    </a:lnTo>
                    <a:lnTo>
                      <a:pt x="96" y="151"/>
                    </a:lnTo>
                    <a:lnTo>
                      <a:pt x="100" y="153"/>
                    </a:lnTo>
                    <a:lnTo>
                      <a:pt x="102" y="156"/>
                    </a:lnTo>
                    <a:lnTo>
                      <a:pt x="105" y="158"/>
                    </a:lnTo>
                    <a:lnTo>
                      <a:pt x="107" y="163"/>
                    </a:lnTo>
                    <a:lnTo>
                      <a:pt x="108" y="169"/>
                    </a:lnTo>
                    <a:lnTo>
                      <a:pt x="108" y="175"/>
                    </a:lnTo>
                    <a:lnTo>
                      <a:pt x="99" y="176"/>
                    </a:lnTo>
                    <a:lnTo>
                      <a:pt x="90" y="177"/>
                    </a:lnTo>
                    <a:lnTo>
                      <a:pt x="85" y="179"/>
                    </a:lnTo>
                    <a:lnTo>
                      <a:pt x="83" y="180"/>
                    </a:lnTo>
                    <a:lnTo>
                      <a:pt x="81" y="183"/>
                    </a:lnTo>
                    <a:lnTo>
                      <a:pt x="79" y="189"/>
                    </a:lnTo>
                    <a:lnTo>
                      <a:pt x="81" y="197"/>
                    </a:lnTo>
                    <a:lnTo>
                      <a:pt x="82" y="201"/>
                    </a:lnTo>
                    <a:lnTo>
                      <a:pt x="84" y="205"/>
                    </a:lnTo>
                    <a:lnTo>
                      <a:pt x="87" y="207"/>
                    </a:lnTo>
                    <a:lnTo>
                      <a:pt x="95" y="211"/>
                    </a:lnTo>
                    <a:lnTo>
                      <a:pt x="104" y="211"/>
                    </a:lnTo>
                    <a:lnTo>
                      <a:pt x="112" y="211"/>
                    </a:lnTo>
                    <a:lnTo>
                      <a:pt x="120" y="212"/>
                    </a:lnTo>
                    <a:lnTo>
                      <a:pt x="123" y="215"/>
                    </a:lnTo>
                    <a:lnTo>
                      <a:pt x="125" y="217"/>
                    </a:lnTo>
                    <a:lnTo>
                      <a:pt x="126" y="222"/>
                    </a:lnTo>
                    <a:lnTo>
                      <a:pt x="128" y="228"/>
                    </a:lnTo>
                    <a:lnTo>
                      <a:pt x="126" y="260"/>
                    </a:lnTo>
                    <a:lnTo>
                      <a:pt x="126" y="295"/>
                    </a:lnTo>
                    <a:lnTo>
                      <a:pt x="128" y="313"/>
                    </a:lnTo>
                    <a:lnTo>
                      <a:pt x="130" y="331"/>
                    </a:lnTo>
                    <a:lnTo>
                      <a:pt x="132" y="347"/>
                    </a:lnTo>
                    <a:lnTo>
                      <a:pt x="137" y="363"/>
                    </a:lnTo>
                    <a:lnTo>
                      <a:pt x="142" y="380"/>
                    </a:lnTo>
                    <a:lnTo>
                      <a:pt x="146" y="396"/>
                    </a:lnTo>
                    <a:lnTo>
                      <a:pt x="148" y="413"/>
                    </a:lnTo>
                    <a:lnTo>
                      <a:pt x="149" y="430"/>
                    </a:lnTo>
                    <a:lnTo>
                      <a:pt x="152" y="464"/>
                    </a:lnTo>
                    <a:lnTo>
                      <a:pt x="156" y="497"/>
                    </a:lnTo>
                    <a:lnTo>
                      <a:pt x="165" y="499"/>
                    </a:lnTo>
                    <a:lnTo>
                      <a:pt x="175" y="500"/>
                    </a:lnTo>
                    <a:lnTo>
                      <a:pt x="185" y="501"/>
                    </a:lnTo>
                    <a:lnTo>
                      <a:pt x="195" y="501"/>
                    </a:lnTo>
                    <a:lnTo>
                      <a:pt x="201" y="501"/>
                    </a:lnTo>
                    <a:lnTo>
                      <a:pt x="205" y="500"/>
                    </a:lnTo>
                    <a:lnTo>
                      <a:pt x="208" y="497"/>
                    </a:lnTo>
                    <a:lnTo>
                      <a:pt x="211" y="496"/>
                    </a:lnTo>
                    <a:lnTo>
                      <a:pt x="215" y="490"/>
                    </a:lnTo>
                    <a:lnTo>
                      <a:pt x="218" y="485"/>
                    </a:lnTo>
                    <a:lnTo>
                      <a:pt x="223" y="479"/>
                    </a:lnTo>
                    <a:lnTo>
                      <a:pt x="227" y="476"/>
                    </a:lnTo>
                    <a:lnTo>
                      <a:pt x="231" y="476"/>
                    </a:lnTo>
                    <a:lnTo>
                      <a:pt x="236" y="476"/>
                    </a:lnTo>
                    <a:lnTo>
                      <a:pt x="242" y="476"/>
                    </a:lnTo>
                    <a:lnTo>
                      <a:pt x="248" y="478"/>
                    </a:lnTo>
                    <a:lnTo>
                      <a:pt x="268" y="482"/>
                    </a:lnTo>
                    <a:lnTo>
                      <a:pt x="289" y="484"/>
                    </a:lnTo>
                    <a:lnTo>
                      <a:pt x="309" y="487"/>
                    </a:lnTo>
                    <a:lnTo>
                      <a:pt x="330" y="490"/>
                    </a:lnTo>
                    <a:lnTo>
                      <a:pt x="337" y="493"/>
                    </a:lnTo>
                    <a:lnTo>
                      <a:pt x="343" y="493"/>
                    </a:lnTo>
                    <a:lnTo>
                      <a:pt x="348" y="493"/>
                    </a:lnTo>
                    <a:lnTo>
                      <a:pt x="353" y="493"/>
                    </a:lnTo>
                    <a:lnTo>
                      <a:pt x="355" y="490"/>
                    </a:lnTo>
                    <a:lnTo>
                      <a:pt x="356" y="487"/>
                    </a:lnTo>
                    <a:lnTo>
                      <a:pt x="356" y="481"/>
                    </a:lnTo>
                    <a:lnTo>
                      <a:pt x="355" y="473"/>
                    </a:lnTo>
                    <a:lnTo>
                      <a:pt x="355" y="465"/>
                    </a:lnTo>
                    <a:lnTo>
                      <a:pt x="355" y="455"/>
                    </a:lnTo>
                    <a:lnTo>
                      <a:pt x="357" y="447"/>
                    </a:lnTo>
                    <a:lnTo>
                      <a:pt x="361" y="439"/>
                    </a:lnTo>
                    <a:lnTo>
                      <a:pt x="363" y="429"/>
                    </a:lnTo>
                    <a:lnTo>
                      <a:pt x="365" y="420"/>
                    </a:lnTo>
                    <a:lnTo>
                      <a:pt x="365" y="411"/>
                    </a:lnTo>
                    <a:lnTo>
                      <a:pt x="363" y="401"/>
                    </a:lnTo>
                    <a:lnTo>
                      <a:pt x="360" y="398"/>
                    </a:lnTo>
                    <a:lnTo>
                      <a:pt x="355" y="393"/>
                    </a:lnTo>
                    <a:lnTo>
                      <a:pt x="348" y="387"/>
                    </a:lnTo>
                    <a:lnTo>
                      <a:pt x="339" y="380"/>
                    </a:lnTo>
                    <a:lnTo>
                      <a:pt x="323" y="369"/>
                    </a:lnTo>
                    <a:lnTo>
                      <a:pt x="312" y="363"/>
                    </a:lnTo>
                    <a:lnTo>
                      <a:pt x="314" y="334"/>
                    </a:lnTo>
                    <a:lnTo>
                      <a:pt x="315" y="319"/>
                    </a:lnTo>
                    <a:lnTo>
                      <a:pt x="314" y="312"/>
                    </a:lnTo>
                    <a:lnTo>
                      <a:pt x="311" y="306"/>
                    </a:lnTo>
                    <a:lnTo>
                      <a:pt x="303" y="298"/>
                    </a:lnTo>
                    <a:lnTo>
                      <a:pt x="292" y="286"/>
                    </a:lnTo>
                    <a:lnTo>
                      <a:pt x="285" y="278"/>
                    </a:lnTo>
                    <a:lnTo>
                      <a:pt x="280" y="271"/>
                    </a:lnTo>
                    <a:lnTo>
                      <a:pt x="277" y="265"/>
                    </a:lnTo>
                    <a:lnTo>
                      <a:pt x="274" y="260"/>
                    </a:lnTo>
                    <a:lnTo>
                      <a:pt x="274" y="256"/>
                    </a:lnTo>
                    <a:lnTo>
                      <a:pt x="274" y="251"/>
                    </a:lnTo>
                    <a:lnTo>
                      <a:pt x="276" y="247"/>
                    </a:lnTo>
                    <a:lnTo>
                      <a:pt x="278" y="242"/>
                    </a:lnTo>
                    <a:lnTo>
                      <a:pt x="284" y="234"/>
                    </a:lnTo>
                    <a:lnTo>
                      <a:pt x="290" y="226"/>
                    </a:lnTo>
                    <a:lnTo>
                      <a:pt x="292" y="219"/>
                    </a:lnTo>
                    <a:lnTo>
                      <a:pt x="294" y="213"/>
                    </a:lnTo>
                    <a:lnTo>
                      <a:pt x="296" y="207"/>
                    </a:lnTo>
                    <a:lnTo>
                      <a:pt x="296" y="200"/>
                    </a:lnTo>
                    <a:lnTo>
                      <a:pt x="297" y="199"/>
                    </a:lnTo>
                    <a:lnTo>
                      <a:pt x="298" y="199"/>
                    </a:lnTo>
                    <a:lnTo>
                      <a:pt x="304" y="222"/>
                    </a:lnTo>
                    <a:lnTo>
                      <a:pt x="312" y="247"/>
                    </a:lnTo>
                    <a:lnTo>
                      <a:pt x="317" y="259"/>
                    </a:lnTo>
                    <a:lnTo>
                      <a:pt x="323" y="271"/>
                    </a:lnTo>
                    <a:lnTo>
                      <a:pt x="329" y="281"/>
                    </a:lnTo>
                    <a:lnTo>
                      <a:pt x="336" y="291"/>
                    </a:lnTo>
                    <a:lnTo>
                      <a:pt x="345" y="305"/>
                    </a:lnTo>
                    <a:lnTo>
                      <a:pt x="359" y="327"/>
                    </a:lnTo>
                    <a:lnTo>
                      <a:pt x="366" y="337"/>
                    </a:lnTo>
                    <a:lnTo>
                      <a:pt x="373" y="347"/>
                    </a:lnTo>
                    <a:lnTo>
                      <a:pt x="379" y="354"/>
                    </a:lnTo>
                    <a:lnTo>
                      <a:pt x="383" y="357"/>
                    </a:lnTo>
                    <a:lnTo>
                      <a:pt x="385" y="359"/>
                    </a:lnTo>
                    <a:lnTo>
                      <a:pt x="386" y="362"/>
                    </a:lnTo>
                    <a:lnTo>
                      <a:pt x="388" y="362"/>
                    </a:lnTo>
                    <a:lnTo>
                      <a:pt x="390" y="363"/>
                    </a:lnTo>
                    <a:lnTo>
                      <a:pt x="392" y="365"/>
                    </a:lnTo>
                    <a:lnTo>
                      <a:pt x="396" y="369"/>
                    </a:lnTo>
                    <a:lnTo>
                      <a:pt x="401" y="371"/>
                    </a:lnTo>
                    <a:lnTo>
                      <a:pt x="406" y="371"/>
                    </a:lnTo>
                    <a:lnTo>
                      <a:pt x="408" y="372"/>
                    </a:lnTo>
                    <a:lnTo>
                      <a:pt x="410" y="372"/>
                    </a:lnTo>
                    <a:lnTo>
                      <a:pt x="412" y="371"/>
                    </a:lnTo>
                    <a:lnTo>
                      <a:pt x="413" y="371"/>
                    </a:lnTo>
                    <a:lnTo>
                      <a:pt x="415" y="366"/>
                    </a:lnTo>
                    <a:lnTo>
                      <a:pt x="418" y="363"/>
                    </a:lnTo>
                    <a:lnTo>
                      <a:pt x="420" y="360"/>
                    </a:lnTo>
                    <a:lnTo>
                      <a:pt x="421" y="358"/>
                    </a:lnTo>
                    <a:lnTo>
                      <a:pt x="421" y="3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52"/>
              <p:cNvSpPr>
                <a:spLocks/>
              </p:cNvSpPr>
              <p:nvPr/>
            </p:nvSpPr>
            <p:spPr bwMode="auto">
              <a:xfrm>
                <a:off x="6934201" y="7512050"/>
                <a:ext cx="11113" cy="17463"/>
              </a:xfrm>
              <a:custGeom>
                <a:avLst/>
                <a:gdLst>
                  <a:gd name="T0" fmla="*/ 26 w 26"/>
                  <a:gd name="T1" fmla="*/ 1 h 45"/>
                  <a:gd name="T2" fmla="*/ 20 w 26"/>
                  <a:gd name="T3" fmla="*/ 1 h 45"/>
                  <a:gd name="T4" fmla="*/ 19 w 26"/>
                  <a:gd name="T5" fmla="*/ 0 h 45"/>
                  <a:gd name="T6" fmla="*/ 16 w 26"/>
                  <a:gd name="T7" fmla="*/ 0 h 45"/>
                  <a:gd name="T8" fmla="*/ 12 w 26"/>
                  <a:gd name="T9" fmla="*/ 0 h 45"/>
                  <a:gd name="T10" fmla="*/ 8 w 26"/>
                  <a:gd name="T11" fmla="*/ 0 h 45"/>
                  <a:gd name="T12" fmla="*/ 5 w 26"/>
                  <a:gd name="T13" fmla="*/ 3 h 45"/>
                  <a:gd name="T14" fmla="*/ 1 w 26"/>
                  <a:gd name="T15" fmla="*/ 5 h 45"/>
                  <a:gd name="T16" fmla="*/ 2 w 26"/>
                  <a:gd name="T17" fmla="*/ 6 h 45"/>
                  <a:gd name="T18" fmla="*/ 1 w 26"/>
                  <a:gd name="T19" fmla="*/ 6 h 45"/>
                  <a:gd name="T20" fmla="*/ 1 w 26"/>
                  <a:gd name="T21" fmla="*/ 24 h 45"/>
                  <a:gd name="T22" fmla="*/ 0 w 26"/>
                  <a:gd name="T23" fmla="*/ 27 h 45"/>
                  <a:gd name="T24" fmla="*/ 0 w 26"/>
                  <a:gd name="T25" fmla="*/ 30 h 45"/>
                  <a:gd name="T26" fmla="*/ 0 w 26"/>
                  <a:gd name="T27" fmla="*/ 34 h 45"/>
                  <a:gd name="T28" fmla="*/ 0 w 26"/>
                  <a:gd name="T29" fmla="*/ 39 h 45"/>
                  <a:gd name="T30" fmla="*/ 0 w 26"/>
                  <a:gd name="T31" fmla="*/ 42 h 45"/>
                  <a:gd name="T32" fmla="*/ 1 w 26"/>
                  <a:gd name="T33" fmla="*/ 45 h 45"/>
                  <a:gd name="T34" fmla="*/ 6 w 26"/>
                  <a:gd name="T35" fmla="*/ 45 h 45"/>
                  <a:gd name="T36" fmla="*/ 12 w 26"/>
                  <a:gd name="T37" fmla="*/ 45 h 45"/>
                  <a:gd name="T38" fmla="*/ 16 w 26"/>
                  <a:gd name="T39" fmla="*/ 44 h 45"/>
                  <a:gd name="T40" fmla="*/ 19 w 26"/>
                  <a:gd name="T41" fmla="*/ 42 h 45"/>
                  <a:gd name="T42" fmla="*/ 19 w 26"/>
                  <a:gd name="T43" fmla="*/ 40 h 45"/>
                  <a:gd name="T44" fmla="*/ 20 w 26"/>
                  <a:gd name="T45" fmla="*/ 38 h 45"/>
                  <a:gd name="T46" fmla="*/ 23 w 26"/>
                  <a:gd name="T47" fmla="*/ 35 h 45"/>
                  <a:gd name="T48" fmla="*/ 24 w 26"/>
                  <a:gd name="T49" fmla="*/ 33 h 45"/>
                  <a:gd name="T50" fmla="*/ 26 w 26"/>
                  <a:gd name="T51" fmla="*/ 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6" h="45">
                    <a:moveTo>
                      <a:pt x="26" y="1"/>
                    </a:move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1" y="6"/>
                    </a:lnTo>
                    <a:lnTo>
                      <a:pt x="1" y="24"/>
                    </a:lnTo>
                    <a:lnTo>
                      <a:pt x="0" y="27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0" y="42"/>
                    </a:lnTo>
                    <a:lnTo>
                      <a:pt x="1" y="45"/>
                    </a:lnTo>
                    <a:lnTo>
                      <a:pt x="6" y="45"/>
                    </a:lnTo>
                    <a:lnTo>
                      <a:pt x="12" y="45"/>
                    </a:lnTo>
                    <a:lnTo>
                      <a:pt x="16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20" y="38"/>
                    </a:lnTo>
                    <a:lnTo>
                      <a:pt x="23" y="35"/>
                    </a:lnTo>
                    <a:lnTo>
                      <a:pt x="24" y="33"/>
                    </a:lnTo>
                    <a:lnTo>
                      <a:pt x="26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53"/>
              <p:cNvSpPr>
                <a:spLocks/>
              </p:cNvSpPr>
              <p:nvPr/>
            </p:nvSpPr>
            <p:spPr bwMode="auto">
              <a:xfrm>
                <a:off x="6934201" y="7553325"/>
                <a:ext cx="65088" cy="52388"/>
              </a:xfrm>
              <a:custGeom>
                <a:avLst/>
                <a:gdLst>
                  <a:gd name="T0" fmla="*/ 147 w 164"/>
                  <a:gd name="T1" fmla="*/ 8 h 132"/>
                  <a:gd name="T2" fmla="*/ 141 w 164"/>
                  <a:gd name="T3" fmla="*/ 9 h 132"/>
                  <a:gd name="T4" fmla="*/ 135 w 164"/>
                  <a:gd name="T5" fmla="*/ 10 h 132"/>
                  <a:gd name="T6" fmla="*/ 128 w 164"/>
                  <a:gd name="T7" fmla="*/ 10 h 132"/>
                  <a:gd name="T8" fmla="*/ 120 w 164"/>
                  <a:gd name="T9" fmla="*/ 10 h 132"/>
                  <a:gd name="T10" fmla="*/ 114 w 164"/>
                  <a:gd name="T11" fmla="*/ 7 h 132"/>
                  <a:gd name="T12" fmla="*/ 105 w 164"/>
                  <a:gd name="T13" fmla="*/ 4 h 132"/>
                  <a:gd name="T14" fmla="*/ 94 w 164"/>
                  <a:gd name="T15" fmla="*/ 2 h 132"/>
                  <a:gd name="T16" fmla="*/ 85 w 164"/>
                  <a:gd name="T17" fmla="*/ 1 h 132"/>
                  <a:gd name="T18" fmla="*/ 78 w 164"/>
                  <a:gd name="T19" fmla="*/ 0 h 132"/>
                  <a:gd name="T20" fmla="*/ 70 w 164"/>
                  <a:gd name="T21" fmla="*/ 0 h 132"/>
                  <a:gd name="T22" fmla="*/ 63 w 164"/>
                  <a:gd name="T23" fmla="*/ 0 h 132"/>
                  <a:gd name="T24" fmla="*/ 57 w 164"/>
                  <a:gd name="T25" fmla="*/ 2 h 132"/>
                  <a:gd name="T26" fmla="*/ 50 w 164"/>
                  <a:gd name="T27" fmla="*/ 6 h 132"/>
                  <a:gd name="T28" fmla="*/ 46 w 164"/>
                  <a:gd name="T29" fmla="*/ 10 h 132"/>
                  <a:gd name="T30" fmla="*/ 42 w 164"/>
                  <a:gd name="T31" fmla="*/ 15 h 132"/>
                  <a:gd name="T32" fmla="*/ 38 w 164"/>
                  <a:gd name="T33" fmla="*/ 22 h 132"/>
                  <a:gd name="T34" fmla="*/ 35 w 164"/>
                  <a:gd name="T35" fmla="*/ 32 h 132"/>
                  <a:gd name="T36" fmla="*/ 30 w 164"/>
                  <a:gd name="T37" fmla="*/ 39 h 132"/>
                  <a:gd name="T38" fmla="*/ 23 w 164"/>
                  <a:gd name="T39" fmla="*/ 46 h 132"/>
                  <a:gd name="T40" fmla="*/ 16 w 164"/>
                  <a:gd name="T41" fmla="*/ 54 h 132"/>
                  <a:gd name="T42" fmla="*/ 7 w 164"/>
                  <a:gd name="T43" fmla="*/ 61 h 132"/>
                  <a:gd name="T44" fmla="*/ 1 w 164"/>
                  <a:gd name="T45" fmla="*/ 68 h 132"/>
                  <a:gd name="T46" fmla="*/ 0 w 164"/>
                  <a:gd name="T47" fmla="*/ 72 h 132"/>
                  <a:gd name="T48" fmla="*/ 0 w 164"/>
                  <a:gd name="T49" fmla="*/ 74 h 132"/>
                  <a:gd name="T50" fmla="*/ 1 w 164"/>
                  <a:gd name="T51" fmla="*/ 77 h 132"/>
                  <a:gd name="T52" fmla="*/ 2 w 164"/>
                  <a:gd name="T53" fmla="*/ 79 h 132"/>
                  <a:gd name="T54" fmla="*/ 7 w 164"/>
                  <a:gd name="T55" fmla="*/ 80 h 132"/>
                  <a:gd name="T56" fmla="*/ 12 w 164"/>
                  <a:gd name="T57" fmla="*/ 83 h 132"/>
                  <a:gd name="T58" fmla="*/ 16 w 164"/>
                  <a:gd name="T59" fmla="*/ 86 h 132"/>
                  <a:gd name="T60" fmla="*/ 20 w 164"/>
                  <a:gd name="T61" fmla="*/ 90 h 132"/>
                  <a:gd name="T62" fmla="*/ 29 w 164"/>
                  <a:gd name="T63" fmla="*/ 98 h 132"/>
                  <a:gd name="T64" fmla="*/ 37 w 164"/>
                  <a:gd name="T65" fmla="*/ 104 h 132"/>
                  <a:gd name="T66" fmla="*/ 44 w 164"/>
                  <a:gd name="T67" fmla="*/ 109 h 132"/>
                  <a:gd name="T68" fmla="*/ 53 w 164"/>
                  <a:gd name="T69" fmla="*/ 115 h 132"/>
                  <a:gd name="T70" fmla="*/ 60 w 164"/>
                  <a:gd name="T71" fmla="*/ 123 h 132"/>
                  <a:gd name="T72" fmla="*/ 64 w 164"/>
                  <a:gd name="T73" fmla="*/ 129 h 132"/>
                  <a:gd name="T74" fmla="*/ 65 w 164"/>
                  <a:gd name="T75" fmla="*/ 131 h 132"/>
                  <a:gd name="T76" fmla="*/ 71 w 164"/>
                  <a:gd name="T77" fmla="*/ 132 h 132"/>
                  <a:gd name="T78" fmla="*/ 76 w 164"/>
                  <a:gd name="T79" fmla="*/ 131 h 132"/>
                  <a:gd name="T80" fmla="*/ 81 w 164"/>
                  <a:gd name="T81" fmla="*/ 129 h 132"/>
                  <a:gd name="T82" fmla="*/ 87 w 164"/>
                  <a:gd name="T83" fmla="*/ 128 h 132"/>
                  <a:gd name="T84" fmla="*/ 107 w 164"/>
                  <a:gd name="T85" fmla="*/ 128 h 132"/>
                  <a:gd name="T86" fmla="*/ 129 w 164"/>
                  <a:gd name="T87" fmla="*/ 131 h 132"/>
                  <a:gd name="T88" fmla="*/ 135 w 164"/>
                  <a:gd name="T89" fmla="*/ 129 h 132"/>
                  <a:gd name="T90" fmla="*/ 140 w 164"/>
                  <a:gd name="T91" fmla="*/ 129 h 132"/>
                  <a:gd name="T92" fmla="*/ 143 w 164"/>
                  <a:gd name="T93" fmla="*/ 128 h 132"/>
                  <a:gd name="T94" fmla="*/ 147 w 164"/>
                  <a:gd name="T95" fmla="*/ 126 h 132"/>
                  <a:gd name="T96" fmla="*/ 150 w 164"/>
                  <a:gd name="T97" fmla="*/ 123 h 132"/>
                  <a:gd name="T98" fmla="*/ 153 w 164"/>
                  <a:gd name="T99" fmla="*/ 120 h 132"/>
                  <a:gd name="T100" fmla="*/ 154 w 164"/>
                  <a:gd name="T101" fmla="*/ 115 h 132"/>
                  <a:gd name="T102" fmla="*/ 154 w 164"/>
                  <a:gd name="T103" fmla="*/ 110 h 132"/>
                  <a:gd name="T104" fmla="*/ 154 w 164"/>
                  <a:gd name="T105" fmla="*/ 97 h 132"/>
                  <a:gd name="T106" fmla="*/ 155 w 164"/>
                  <a:gd name="T107" fmla="*/ 85 h 132"/>
                  <a:gd name="T108" fmla="*/ 160 w 164"/>
                  <a:gd name="T109" fmla="*/ 71 h 132"/>
                  <a:gd name="T110" fmla="*/ 162 w 164"/>
                  <a:gd name="T111" fmla="*/ 56 h 132"/>
                  <a:gd name="T112" fmla="*/ 164 w 164"/>
                  <a:gd name="T113" fmla="*/ 42 h 132"/>
                  <a:gd name="T114" fmla="*/ 164 w 164"/>
                  <a:gd name="T115" fmla="*/ 26 h 132"/>
                  <a:gd name="T116" fmla="*/ 147 w 164"/>
                  <a:gd name="T117" fmla="*/ 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4" h="132">
                    <a:moveTo>
                      <a:pt x="147" y="8"/>
                    </a:moveTo>
                    <a:lnTo>
                      <a:pt x="141" y="9"/>
                    </a:lnTo>
                    <a:lnTo>
                      <a:pt x="135" y="10"/>
                    </a:lnTo>
                    <a:lnTo>
                      <a:pt x="128" y="10"/>
                    </a:lnTo>
                    <a:lnTo>
                      <a:pt x="120" y="10"/>
                    </a:lnTo>
                    <a:lnTo>
                      <a:pt x="114" y="7"/>
                    </a:lnTo>
                    <a:lnTo>
                      <a:pt x="105" y="4"/>
                    </a:lnTo>
                    <a:lnTo>
                      <a:pt x="94" y="2"/>
                    </a:lnTo>
                    <a:lnTo>
                      <a:pt x="85" y="1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3" y="0"/>
                    </a:lnTo>
                    <a:lnTo>
                      <a:pt x="57" y="2"/>
                    </a:lnTo>
                    <a:lnTo>
                      <a:pt x="50" y="6"/>
                    </a:lnTo>
                    <a:lnTo>
                      <a:pt x="46" y="10"/>
                    </a:lnTo>
                    <a:lnTo>
                      <a:pt x="42" y="15"/>
                    </a:lnTo>
                    <a:lnTo>
                      <a:pt x="38" y="22"/>
                    </a:lnTo>
                    <a:lnTo>
                      <a:pt x="35" y="32"/>
                    </a:lnTo>
                    <a:lnTo>
                      <a:pt x="30" y="39"/>
                    </a:lnTo>
                    <a:lnTo>
                      <a:pt x="23" y="46"/>
                    </a:lnTo>
                    <a:lnTo>
                      <a:pt x="16" y="54"/>
                    </a:lnTo>
                    <a:lnTo>
                      <a:pt x="7" y="61"/>
                    </a:lnTo>
                    <a:lnTo>
                      <a:pt x="1" y="68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1" y="77"/>
                    </a:lnTo>
                    <a:lnTo>
                      <a:pt x="2" y="79"/>
                    </a:lnTo>
                    <a:lnTo>
                      <a:pt x="7" y="80"/>
                    </a:lnTo>
                    <a:lnTo>
                      <a:pt x="12" y="83"/>
                    </a:lnTo>
                    <a:lnTo>
                      <a:pt x="16" y="86"/>
                    </a:lnTo>
                    <a:lnTo>
                      <a:pt x="20" y="90"/>
                    </a:lnTo>
                    <a:lnTo>
                      <a:pt x="29" y="98"/>
                    </a:lnTo>
                    <a:lnTo>
                      <a:pt x="37" y="104"/>
                    </a:lnTo>
                    <a:lnTo>
                      <a:pt x="44" y="109"/>
                    </a:lnTo>
                    <a:lnTo>
                      <a:pt x="53" y="115"/>
                    </a:lnTo>
                    <a:lnTo>
                      <a:pt x="60" y="123"/>
                    </a:lnTo>
                    <a:lnTo>
                      <a:pt x="64" y="129"/>
                    </a:lnTo>
                    <a:lnTo>
                      <a:pt x="65" y="131"/>
                    </a:lnTo>
                    <a:lnTo>
                      <a:pt x="71" y="132"/>
                    </a:lnTo>
                    <a:lnTo>
                      <a:pt x="76" y="131"/>
                    </a:lnTo>
                    <a:lnTo>
                      <a:pt x="81" y="129"/>
                    </a:lnTo>
                    <a:lnTo>
                      <a:pt x="87" y="128"/>
                    </a:lnTo>
                    <a:lnTo>
                      <a:pt x="107" y="128"/>
                    </a:lnTo>
                    <a:lnTo>
                      <a:pt x="129" y="131"/>
                    </a:lnTo>
                    <a:lnTo>
                      <a:pt x="135" y="129"/>
                    </a:lnTo>
                    <a:lnTo>
                      <a:pt x="140" y="129"/>
                    </a:lnTo>
                    <a:lnTo>
                      <a:pt x="143" y="128"/>
                    </a:lnTo>
                    <a:lnTo>
                      <a:pt x="147" y="126"/>
                    </a:lnTo>
                    <a:lnTo>
                      <a:pt x="150" y="123"/>
                    </a:lnTo>
                    <a:lnTo>
                      <a:pt x="153" y="120"/>
                    </a:lnTo>
                    <a:lnTo>
                      <a:pt x="154" y="115"/>
                    </a:lnTo>
                    <a:lnTo>
                      <a:pt x="154" y="110"/>
                    </a:lnTo>
                    <a:lnTo>
                      <a:pt x="154" y="97"/>
                    </a:lnTo>
                    <a:lnTo>
                      <a:pt x="155" y="85"/>
                    </a:lnTo>
                    <a:lnTo>
                      <a:pt x="160" y="71"/>
                    </a:lnTo>
                    <a:lnTo>
                      <a:pt x="162" y="56"/>
                    </a:lnTo>
                    <a:lnTo>
                      <a:pt x="164" y="42"/>
                    </a:lnTo>
                    <a:lnTo>
                      <a:pt x="164" y="26"/>
                    </a:lnTo>
                    <a:lnTo>
                      <a:pt x="14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54"/>
              <p:cNvSpPr>
                <a:spLocks/>
              </p:cNvSpPr>
              <p:nvPr/>
            </p:nvSpPr>
            <p:spPr bwMode="auto">
              <a:xfrm>
                <a:off x="7021513" y="7562850"/>
                <a:ext cx="17463" cy="11113"/>
              </a:xfrm>
              <a:custGeom>
                <a:avLst/>
                <a:gdLst>
                  <a:gd name="T0" fmla="*/ 41 w 44"/>
                  <a:gd name="T1" fmla="*/ 2 h 29"/>
                  <a:gd name="T2" fmla="*/ 38 w 44"/>
                  <a:gd name="T3" fmla="*/ 2 h 29"/>
                  <a:gd name="T4" fmla="*/ 35 w 44"/>
                  <a:gd name="T5" fmla="*/ 2 h 29"/>
                  <a:gd name="T6" fmla="*/ 35 w 44"/>
                  <a:gd name="T7" fmla="*/ 2 h 29"/>
                  <a:gd name="T8" fmla="*/ 33 w 44"/>
                  <a:gd name="T9" fmla="*/ 0 h 29"/>
                  <a:gd name="T10" fmla="*/ 26 w 44"/>
                  <a:gd name="T11" fmla="*/ 0 h 29"/>
                  <a:gd name="T12" fmla="*/ 18 w 44"/>
                  <a:gd name="T13" fmla="*/ 0 h 29"/>
                  <a:gd name="T14" fmla="*/ 15 w 44"/>
                  <a:gd name="T15" fmla="*/ 0 h 29"/>
                  <a:gd name="T16" fmla="*/ 14 w 44"/>
                  <a:gd name="T17" fmla="*/ 0 h 29"/>
                  <a:gd name="T18" fmla="*/ 12 w 44"/>
                  <a:gd name="T19" fmla="*/ 2 h 29"/>
                  <a:gd name="T20" fmla="*/ 11 w 44"/>
                  <a:gd name="T21" fmla="*/ 4 h 29"/>
                  <a:gd name="T22" fmla="*/ 9 w 44"/>
                  <a:gd name="T23" fmla="*/ 6 h 29"/>
                  <a:gd name="T24" fmla="*/ 8 w 44"/>
                  <a:gd name="T25" fmla="*/ 9 h 29"/>
                  <a:gd name="T26" fmla="*/ 6 w 44"/>
                  <a:gd name="T27" fmla="*/ 14 h 29"/>
                  <a:gd name="T28" fmla="*/ 2 w 44"/>
                  <a:gd name="T29" fmla="*/ 18 h 29"/>
                  <a:gd name="T30" fmla="*/ 1 w 44"/>
                  <a:gd name="T31" fmla="*/ 21 h 29"/>
                  <a:gd name="T32" fmla="*/ 0 w 44"/>
                  <a:gd name="T33" fmla="*/ 23 h 29"/>
                  <a:gd name="T34" fmla="*/ 0 w 44"/>
                  <a:gd name="T35" fmla="*/ 26 h 29"/>
                  <a:gd name="T36" fmla="*/ 0 w 44"/>
                  <a:gd name="T37" fmla="*/ 28 h 29"/>
                  <a:gd name="T38" fmla="*/ 5 w 44"/>
                  <a:gd name="T39" fmla="*/ 29 h 29"/>
                  <a:gd name="T40" fmla="*/ 8 w 44"/>
                  <a:gd name="T41" fmla="*/ 29 h 29"/>
                  <a:gd name="T42" fmla="*/ 12 w 44"/>
                  <a:gd name="T43" fmla="*/ 28 h 29"/>
                  <a:gd name="T44" fmla="*/ 15 w 44"/>
                  <a:gd name="T45" fmla="*/ 27 h 29"/>
                  <a:gd name="T46" fmla="*/ 18 w 44"/>
                  <a:gd name="T47" fmla="*/ 26 h 29"/>
                  <a:gd name="T48" fmla="*/ 21 w 44"/>
                  <a:gd name="T49" fmla="*/ 24 h 29"/>
                  <a:gd name="T50" fmla="*/ 21 w 44"/>
                  <a:gd name="T51" fmla="*/ 23 h 29"/>
                  <a:gd name="T52" fmla="*/ 24 w 44"/>
                  <a:gd name="T53" fmla="*/ 22 h 29"/>
                  <a:gd name="T54" fmla="*/ 27 w 44"/>
                  <a:gd name="T55" fmla="*/ 24 h 29"/>
                  <a:gd name="T56" fmla="*/ 32 w 44"/>
                  <a:gd name="T57" fmla="*/ 24 h 29"/>
                  <a:gd name="T58" fmla="*/ 36 w 44"/>
                  <a:gd name="T59" fmla="*/ 24 h 29"/>
                  <a:gd name="T60" fmla="*/ 38 w 44"/>
                  <a:gd name="T61" fmla="*/ 22 h 29"/>
                  <a:gd name="T62" fmla="*/ 42 w 44"/>
                  <a:gd name="T63" fmla="*/ 20 h 29"/>
                  <a:gd name="T64" fmla="*/ 44 w 44"/>
                  <a:gd name="T65" fmla="*/ 17 h 29"/>
                  <a:gd name="T66" fmla="*/ 41 w 44"/>
                  <a:gd name="T67" fmla="*/ 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4" h="29">
                    <a:moveTo>
                      <a:pt x="41" y="2"/>
                    </a:moveTo>
                    <a:lnTo>
                      <a:pt x="38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3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1" y="4"/>
                    </a:lnTo>
                    <a:lnTo>
                      <a:pt x="9" y="6"/>
                    </a:lnTo>
                    <a:lnTo>
                      <a:pt x="8" y="9"/>
                    </a:lnTo>
                    <a:lnTo>
                      <a:pt x="6" y="14"/>
                    </a:lnTo>
                    <a:lnTo>
                      <a:pt x="2" y="18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5" y="29"/>
                    </a:lnTo>
                    <a:lnTo>
                      <a:pt x="8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1" y="23"/>
                    </a:lnTo>
                    <a:lnTo>
                      <a:pt x="24" y="22"/>
                    </a:lnTo>
                    <a:lnTo>
                      <a:pt x="27" y="24"/>
                    </a:lnTo>
                    <a:lnTo>
                      <a:pt x="32" y="24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42" y="20"/>
                    </a:lnTo>
                    <a:lnTo>
                      <a:pt x="44" y="17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55"/>
              <p:cNvSpPr>
                <a:spLocks/>
              </p:cNvSpPr>
              <p:nvPr/>
            </p:nvSpPr>
            <p:spPr bwMode="auto">
              <a:xfrm>
                <a:off x="6710363" y="7421563"/>
                <a:ext cx="114300" cy="234950"/>
              </a:xfrm>
              <a:custGeom>
                <a:avLst/>
                <a:gdLst>
                  <a:gd name="T0" fmla="*/ 269 w 286"/>
                  <a:gd name="T1" fmla="*/ 108 h 588"/>
                  <a:gd name="T2" fmla="*/ 257 w 286"/>
                  <a:gd name="T3" fmla="*/ 86 h 588"/>
                  <a:gd name="T4" fmla="*/ 244 w 286"/>
                  <a:gd name="T5" fmla="*/ 114 h 588"/>
                  <a:gd name="T6" fmla="*/ 218 w 286"/>
                  <a:gd name="T7" fmla="*/ 156 h 588"/>
                  <a:gd name="T8" fmla="*/ 189 w 286"/>
                  <a:gd name="T9" fmla="*/ 175 h 588"/>
                  <a:gd name="T10" fmla="*/ 189 w 286"/>
                  <a:gd name="T11" fmla="*/ 137 h 588"/>
                  <a:gd name="T12" fmla="*/ 177 w 286"/>
                  <a:gd name="T13" fmla="*/ 44 h 588"/>
                  <a:gd name="T14" fmla="*/ 153 w 286"/>
                  <a:gd name="T15" fmla="*/ 0 h 588"/>
                  <a:gd name="T16" fmla="*/ 140 w 286"/>
                  <a:gd name="T17" fmla="*/ 17 h 588"/>
                  <a:gd name="T18" fmla="*/ 100 w 286"/>
                  <a:gd name="T19" fmla="*/ 19 h 588"/>
                  <a:gd name="T20" fmla="*/ 46 w 286"/>
                  <a:gd name="T21" fmla="*/ 0 h 588"/>
                  <a:gd name="T22" fmla="*/ 59 w 286"/>
                  <a:gd name="T23" fmla="*/ 55 h 588"/>
                  <a:gd name="T24" fmla="*/ 28 w 286"/>
                  <a:gd name="T25" fmla="*/ 43 h 588"/>
                  <a:gd name="T26" fmla="*/ 0 w 286"/>
                  <a:gd name="T27" fmla="*/ 31 h 588"/>
                  <a:gd name="T28" fmla="*/ 25 w 286"/>
                  <a:gd name="T29" fmla="*/ 106 h 588"/>
                  <a:gd name="T30" fmla="*/ 33 w 286"/>
                  <a:gd name="T31" fmla="*/ 138 h 588"/>
                  <a:gd name="T32" fmla="*/ 70 w 286"/>
                  <a:gd name="T33" fmla="*/ 144 h 588"/>
                  <a:gd name="T34" fmla="*/ 69 w 286"/>
                  <a:gd name="T35" fmla="*/ 161 h 588"/>
                  <a:gd name="T36" fmla="*/ 69 w 286"/>
                  <a:gd name="T37" fmla="*/ 180 h 588"/>
                  <a:gd name="T38" fmla="*/ 103 w 286"/>
                  <a:gd name="T39" fmla="*/ 188 h 588"/>
                  <a:gd name="T40" fmla="*/ 134 w 286"/>
                  <a:gd name="T41" fmla="*/ 195 h 588"/>
                  <a:gd name="T42" fmla="*/ 98 w 286"/>
                  <a:gd name="T43" fmla="*/ 206 h 588"/>
                  <a:gd name="T44" fmla="*/ 86 w 286"/>
                  <a:gd name="T45" fmla="*/ 212 h 588"/>
                  <a:gd name="T46" fmla="*/ 106 w 286"/>
                  <a:gd name="T47" fmla="*/ 256 h 588"/>
                  <a:gd name="T48" fmla="*/ 139 w 286"/>
                  <a:gd name="T49" fmla="*/ 255 h 588"/>
                  <a:gd name="T50" fmla="*/ 159 w 286"/>
                  <a:gd name="T51" fmla="*/ 316 h 588"/>
                  <a:gd name="T52" fmla="*/ 155 w 286"/>
                  <a:gd name="T53" fmla="*/ 399 h 588"/>
                  <a:gd name="T54" fmla="*/ 145 w 286"/>
                  <a:gd name="T55" fmla="*/ 397 h 588"/>
                  <a:gd name="T56" fmla="*/ 124 w 286"/>
                  <a:gd name="T57" fmla="*/ 372 h 588"/>
                  <a:gd name="T58" fmla="*/ 59 w 286"/>
                  <a:gd name="T59" fmla="*/ 380 h 588"/>
                  <a:gd name="T60" fmla="*/ 55 w 286"/>
                  <a:gd name="T61" fmla="*/ 393 h 588"/>
                  <a:gd name="T62" fmla="*/ 108 w 286"/>
                  <a:gd name="T63" fmla="*/ 432 h 588"/>
                  <a:gd name="T64" fmla="*/ 109 w 286"/>
                  <a:gd name="T65" fmla="*/ 445 h 588"/>
                  <a:gd name="T66" fmla="*/ 72 w 286"/>
                  <a:gd name="T67" fmla="*/ 463 h 588"/>
                  <a:gd name="T68" fmla="*/ 69 w 286"/>
                  <a:gd name="T69" fmla="*/ 485 h 588"/>
                  <a:gd name="T70" fmla="*/ 93 w 286"/>
                  <a:gd name="T71" fmla="*/ 516 h 588"/>
                  <a:gd name="T72" fmla="*/ 120 w 286"/>
                  <a:gd name="T73" fmla="*/ 521 h 588"/>
                  <a:gd name="T74" fmla="*/ 118 w 286"/>
                  <a:gd name="T75" fmla="*/ 493 h 588"/>
                  <a:gd name="T76" fmla="*/ 140 w 286"/>
                  <a:gd name="T77" fmla="*/ 441 h 588"/>
                  <a:gd name="T78" fmla="*/ 158 w 286"/>
                  <a:gd name="T79" fmla="*/ 481 h 588"/>
                  <a:gd name="T80" fmla="*/ 182 w 286"/>
                  <a:gd name="T81" fmla="*/ 549 h 588"/>
                  <a:gd name="T82" fmla="*/ 195 w 286"/>
                  <a:gd name="T83" fmla="*/ 493 h 588"/>
                  <a:gd name="T84" fmla="*/ 174 w 286"/>
                  <a:gd name="T85" fmla="*/ 426 h 588"/>
                  <a:gd name="T86" fmla="*/ 176 w 286"/>
                  <a:gd name="T87" fmla="*/ 407 h 588"/>
                  <a:gd name="T88" fmla="*/ 214 w 286"/>
                  <a:gd name="T89" fmla="*/ 422 h 588"/>
                  <a:gd name="T90" fmla="*/ 232 w 286"/>
                  <a:gd name="T91" fmla="*/ 427 h 588"/>
                  <a:gd name="T92" fmla="*/ 216 w 286"/>
                  <a:gd name="T93" fmla="*/ 378 h 588"/>
                  <a:gd name="T94" fmla="*/ 205 w 286"/>
                  <a:gd name="T95" fmla="*/ 313 h 588"/>
                  <a:gd name="T96" fmla="*/ 204 w 286"/>
                  <a:gd name="T97" fmla="*/ 263 h 588"/>
                  <a:gd name="T98" fmla="*/ 223 w 286"/>
                  <a:gd name="T99" fmla="*/ 254 h 588"/>
                  <a:gd name="T100" fmla="*/ 228 w 286"/>
                  <a:gd name="T101" fmla="*/ 210 h 588"/>
                  <a:gd name="T102" fmla="*/ 245 w 286"/>
                  <a:gd name="T103" fmla="*/ 215 h 588"/>
                  <a:gd name="T104" fmla="*/ 277 w 286"/>
                  <a:gd name="T105" fmla="*/ 249 h 588"/>
                  <a:gd name="T106" fmla="*/ 286 w 286"/>
                  <a:gd name="T107" fmla="*/ 238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86" h="588">
                    <a:moveTo>
                      <a:pt x="279" y="180"/>
                    </a:moveTo>
                    <a:lnTo>
                      <a:pt x="277" y="168"/>
                    </a:lnTo>
                    <a:lnTo>
                      <a:pt x="275" y="150"/>
                    </a:lnTo>
                    <a:lnTo>
                      <a:pt x="272" y="129"/>
                    </a:lnTo>
                    <a:lnTo>
                      <a:pt x="269" y="108"/>
                    </a:lnTo>
                    <a:lnTo>
                      <a:pt x="266" y="100"/>
                    </a:lnTo>
                    <a:lnTo>
                      <a:pt x="264" y="92"/>
                    </a:lnTo>
                    <a:lnTo>
                      <a:pt x="262" y="88"/>
                    </a:lnTo>
                    <a:lnTo>
                      <a:pt x="258" y="86"/>
                    </a:lnTo>
                    <a:lnTo>
                      <a:pt x="257" y="86"/>
                    </a:lnTo>
                    <a:lnTo>
                      <a:pt x="256" y="86"/>
                    </a:lnTo>
                    <a:lnTo>
                      <a:pt x="253" y="89"/>
                    </a:lnTo>
                    <a:lnTo>
                      <a:pt x="252" y="91"/>
                    </a:lnTo>
                    <a:lnTo>
                      <a:pt x="248" y="101"/>
                    </a:lnTo>
                    <a:lnTo>
                      <a:pt x="244" y="114"/>
                    </a:lnTo>
                    <a:lnTo>
                      <a:pt x="241" y="123"/>
                    </a:lnTo>
                    <a:lnTo>
                      <a:pt x="238" y="130"/>
                    </a:lnTo>
                    <a:lnTo>
                      <a:pt x="234" y="137"/>
                    </a:lnTo>
                    <a:lnTo>
                      <a:pt x="229" y="144"/>
                    </a:lnTo>
                    <a:lnTo>
                      <a:pt x="218" y="156"/>
                    </a:lnTo>
                    <a:lnTo>
                      <a:pt x="206" y="169"/>
                    </a:lnTo>
                    <a:lnTo>
                      <a:pt x="200" y="174"/>
                    </a:lnTo>
                    <a:lnTo>
                      <a:pt x="195" y="177"/>
                    </a:lnTo>
                    <a:lnTo>
                      <a:pt x="192" y="177"/>
                    </a:lnTo>
                    <a:lnTo>
                      <a:pt x="189" y="175"/>
                    </a:lnTo>
                    <a:lnTo>
                      <a:pt x="188" y="172"/>
                    </a:lnTo>
                    <a:lnTo>
                      <a:pt x="187" y="167"/>
                    </a:lnTo>
                    <a:lnTo>
                      <a:pt x="187" y="160"/>
                    </a:lnTo>
                    <a:lnTo>
                      <a:pt x="188" y="153"/>
                    </a:lnTo>
                    <a:lnTo>
                      <a:pt x="189" y="137"/>
                    </a:lnTo>
                    <a:lnTo>
                      <a:pt x="192" y="120"/>
                    </a:lnTo>
                    <a:lnTo>
                      <a:pt x="193" y="104"/>
                    </a:lnTo>
                    <a:lnTo>
                      <a:pt x="192" y="94"/>
                    </a:lnTo>
                    <a:lnTo>
                      <a:pt x="187" y="74"/>
                    </a:lnTo>
                    <a:lnTo>
                      <a:pt x="177" y="44"/>
                    </a:lnTo>
                    <a:lnTo>
                      <a:pt x="171" y="30"/>
                    </a:lnTo>
                    <a:lnTo>
                      <a:pt x="167" y="17"/>
                    </a:lnTo>
                    <a:lnTo>
                      <a:pt x="162" y="7"/>
                    </a:lnTo>
                    <a:lnTo>
                      <a:pt x="157" y="1"/>
                    </a:lnTo>
                    <a:lnTo>
                      <a:pt x="153" y="0"/>
                    </a:lnTo>
                    <a:lnTo>
                      <a:pt x="151" y="2"/>
                    </a:lnTo>
                    <a:lnTo>
                      <a:pt x="147" y="5"/>
                    </a:lnTo>
                    <a:lnTo>
                      <a:pt x="145" y="8"/>
                    </a:lnTo>
                    <a:lnTo>
                      <a:pt x="143" y="13"/>
                    </a:lnTo>
                    <a:lnTo>
                      <a:pt x="140" y="17"/>
                    </a:lnTo>
                    <a:lnTo>
                      <a:pt x="136" y="20"/>
                    </a:lnTo>
                    <a:lnTo>
                      <a:pt x="133" y="21"/>
                    </a:lnTo>
                    <a:lnTo>
                      <a:pt x="121" y="23"/>
                    </a:lnTo>
                    <a:lnTo>
                      <a:pt x="110" y="21"/>
                    </a:lnTo>
                    <a:lnTo>
                      <a:pt x="100" y="19"/>
                    </a:lnTo>
                    <a:lnTo>
                      <a:pt x="90" y="15"/>
                    </a:lnTo>
                    <a:lnTo>
                      <a:pt x="80" y="12"/>
                    </a:lnTo>
                    <a:lnTo>
                      <a:pt x="67" y="6"/>
                    </a:lnTo>
                    <a:lnTo>
                      <a:pt x="53" y="1"/>
                    </a:lnTo>
                    <a:lnTo>
                      <a:pt x="46" y="0"/>
                    </a:lnTo>
                    <a:lnTo>
                      <a:pt x="47" y="8"/>
                    </a:lnTo>
                    <a:lnTo>
                      <a:pt x="52" y="23"/>
                    </a:lnTo>
                    <a:lnTo>
                      <a:pt x="58" y="38"/>
                    </a:lnTo>
                    <a:lnTo>
                      <a:pt x="61" y="49"/>
                    </a:lnTo>
                    <a:lnTo>
                      <a:pt x="59" y="55"/>
                    </a:lnTo>
                    <a:lnTo>
                      <a:pt x="57" y="58"/>
                    </a:lnTo>
                    <a:lnTo>
                      <a:pt x="55" y="59"/>
                    </a:lnTo>
                    <a:lnTo>
                      <a:pt x="50" y="58"/>
                    </a:lnTo>
                    <a:lnTo>
                      <a:pt x="40" y="52"/>
                    </a:lnTo>
                    <a:lnTo>
                      <a:pt x="28" y="43"/>
                    </a:lnTo>
                    <a:lnTo>
                      <a:pt x="16" y="35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9"/>
                    </a:lnTo>
                    <a:lnTo>
                      <a:pt x="0" y="31"/>
                    </a:lnTo>
                    <a:lnTo>
                      <a:pt x="0" y="36"/>
                    </a:lnTo>
                    <a:lnTo>
                      <a:pt x="9" y="61"/>
                    </a:lnTo>
                    <a:lnTo>
                      <a:pt x="17" y="83"/>
                    </a:lnTo>
                    <a:lnTo>
                      <a:pt x="21" y="95"/>
                    </a:lnTo>
                    <a:lnTo>
                      <a:pt x="25" y="106"/>
                    </a:lnTo>
                    <a:lnTo>
                      <a:pt x="27" y="119"/>
                    </a:lnTo>
                    <a:lnTo>
                      <a:pt x="27" y="135"/>
                    </a:lnTo>
                    <a:lnTo>
                      <a:pt x="28" y="136"/>
                    </a:lnTo>
                    <a:lnTo>
                      <a:pt x="29" y="137"/>
                    </a:lnTo>
                    <a:lnTo>
                      <a:pt x="33" y="138"/>
                    </a:lnTo>
                    <a:lnTo>
                      <a:pt x="37" y="138"/>
                    </a:lnTo>
                    <a:lnTo>
                      <a:pt x="45" y="139"/>
                    </a:lnTo>
                    <a:lnTo>
                      <a:pt x="55" y="141"/>
                    </a:lnTo>
                    <a:lnTo>
                      <a:pt x="64" y="142"/>
                    </a:lnTo>
                    <a:lnTo>
                      <a:pt x="70" y="144"/>
                    </a:lnTo>
                    <a:lnTo>
                      <a:pt x="73" y="147"/>
                    </a:lnTo>
                    <a:lnTo>
                      <a:pt x="74" y="149"/>
                    </a:lnTo>
                    <a:lnTo>
                      <a:pt x="74" y="151"/>
                    </a:lnTo>
                    <a:lnTo>
                      <a:pt x="72" y="155"/>
                    </a:lnTo>
                    <a:lnTo>
                      <a:pt x="69" y="161"/>
                    </a:lnTo>
                    <a:lnTo>
                      <a:pt x="67" y="166"/>
                    </a:lnTo>
                    <a:lnTo>
                      <a:pt x="65" y="171"/>
                    </a:lnTo>
                    <a:lnTo>
                      <a:pt x="65" y="174"/>
                    </a:lnTo>
                    <a:lnTo>
                      <a:pt x="67" y="178"/>
                    </a:lnTo>
                    <a:lnTo>
                      <a:pt x="69" y="180"/>
                    </a:lnTo>
                    <a:lnTo>
                      <a:pt x="72" y="183"/>
                    </a:lnTo>
                    <a:lnTo>
                      <a:pt x="75" y="184"/>
                    </a:lnTo>
                    <a:lnTo>
                      <a:pt x="84" y="186"/>
                    </a:lnTo>
                    <a:lnTo>
                      <a:pt x="93" y="186"/>
                    </a:lnTo>
                    <a:lnTo>
                      <a:pt x="103" y="188"/>
                    </a:lnTo>
                    <a:lnTo>
                      <a:pt x="112" y="188"/>
                    </a:lnTo>
                    <a:lnTo>
                      <a:pt x="122" y="188"/>
                    </a:lnTo>
                    <a:lnTo>
                      <a:pt x="129" y="190"/>
                    </a:lnTo>
                    <a:lnTo>
                      <a:pt x="133" y="192"/>
                    </a:lnTo>
                    <a:lnTo>
                      <a:pt x="134" y="195"/>
                    </a:lnTo>
                    <a:lnTo>
                      <a:pt x="132" y="198"/>
                    </a:lnTo>
                    <a:lnTo>
                      <a:pt x="127" y="201"/>
                    </a:lnTo>
                    <a:lnTo>
                      <a:pt x="121" y="203"/>
                    </a:lnTo>
                    <a:lnTo>
                      <a:pt x="111" y="204"/>
                    </a:lnTo>
                    <a:lnTo>
                      <a:pt x="98" y="206"/>
                    </a:lnTo>
                    <a:lnTo>
                      <a:pt x="90" y="207"/>
                    </a:lnTo>
                    <a:lnTo>
                      <a:pt x="87" y="208"/>
                    </a:lnTo>
                    <a:lnTo>
                      <a:pt x="86" y="209"/>
                    </a:lnTo>
                    <a:lnTo>
                      <a:pt x="86" y="210"/>
                    </a:lnTo>
                    <a:lnTo>
                      <a:pt x="86" y="212"/>
                    </a:lnTo>
                    <a:lnTo>
                      <a:pt x="91" y="220"/>
                    </a:lnTo>
                    <a:lnTo>
                      <a:pt x="99" y="234"/>
                    </a:lnTo>
                    <a:lnTo>
                      <a:pt x="102" y="245"/>
                    </a:lnTo>
                    <a:lnTo>
                      <a:pt x="104" y="252"/>
                    </a:lnTo>
                    <a:lnTo>
                      <a:pt x="106" y="256"/>
                    </a:lnTo>
                    <a:lnTo>
                      <a:pt x="109" y="257"/>
                    </a:lnTo>
                    <a:lnTo>
                      <a:pt x="116" y="256"/>
                    </a:lnTo>
                    <a:lnTo>
                      <a:pt x="133" y="252"/>
                    </a:lnTo>
                    <a:lnTo>
                      <a:pt x="135" y="254"/>
                    </a:lnTo>
                    <a:lnTo>
                      <a:pt x="139" y="255"/>
                    </a:lnTo>
                    <a:lnTo>
                      <a:pt x="141" y="259"/>
                    </a:lnTo>
                    <a:lnTo>
                      <a:pt x="145" y="263"/>
                    </a:lnTo>
                    <a:lnTo>
                      <a:pt x="150" y="274"/>
                    </a:lnTo>
                    <a:lnTo>
                      <a:pt x="153" y="287"/>
                    </a:lnTo>
                    <a:lnTo>
                      <a:pt x="159" y="316"/>
                    </a:lnTo>
                    <a:lnTo>
                      <a:pt x="162" y="337"/>
                    </a:lnTo>
                    <a:lnTo>
                      <a:pt x="163" y="351"/>
                    </a:lnTo>
                    <a:lnTo>
                      <a:pt x="161" y="369"/>
                    </a:lnTo>
                    <a:lnTo>
                      <a:pt x="158" y="386"/>
                    </a:lnTo>
                    <a:lnTo>
                      <a:pt x="155" y="399"/>
                    </a:lnTo>
                    <a:lnTo>
                      <a:pt x="153" y="402"/>
                    </a:lnTo>
                    <a:lnTo>
                      <a:pt x="152" y="404"/>
                    </a:lnTo>
                    <a:lnTo>
                      <a:pt x="151" y="403"/>
                    </a:lnTo>
                    <a:lnTo>
                      <a:pt x="149" y="402"/>
                    </a:lnTo>
                    <a:lnTo>
                      <a:pt x="145" y="397"/>
                    </a:lnTo>
                    <a:lnTo>
                      <a:pt x="141" y="390"/>
                    </a:lnTo>
                    <a:lnTo>
                      <a:pt x="136" y="382"/>
                    </a:lnTo>
                    <a:lnTo>
                      <a:pt x="132" y="375"/>
                    </a:lnTo>
                    <a:lnTo>
                      <a:pt x="128" y="373"/>
                    </a:lnTo>
                    <a:lnTo>
                      <a:pt x="124" y="372"/>
                    </a:lnTo>
                    <a:lnTo>
                      <a:pt x="121" y="370"/>
                    </a:lnTo>
                    <a:lnTo>
                      <a:pt x="117" y="372"/>
                    </a:lnTo>
                    <a:lnTo>
                      <a:pt x="99" y="374"/>
                    </a:lnTo>
                    <a:lnTo>
                      <a:pt x="72" y="378"/>
                    </a:lnTo>
                    <a:lnTo>
                      <a:pt x="59" y="380"/>
                    </a:lnTo>
                    <a:lnTo>
                      <a:pt x="51" y="384"/>
                    </a:lnTo>
                    <a:lnTo>
                      <a:pt x="50" y="385"/>
                    </a:lnTo>
                    <a:lnTo>
                      <a:pt x="49" y="387"/>
                    </a:lnTo>
                    <a:lnTo>
                      <a:pt x="50" y="390"/>
                    </a:lnTo>
                    <a:lnTo>
                      <a:pt x="55" y="393"/>
                    </a:lnTo>
                    <a:lnTo>
                      <a:pt x="70" y="402"/>
                    </a:lnTo>
                    <a:lnTo>
                      <a:pt x="86" y="413"/>
                    </a:lnTo>
                    <a:lnTo>
                      <a:pt x="94" y="417"/>
                    </a:lnTo>
                    <a:lnTo>
                      <a:pt x="102" y="425"/>
                    </a:lnTo>
                    <a:lnTo>
                      <a:pt x="108" y="432"/>
                    </a:lnTo>
                    <a:lnTo>
                      <a:pt x="111" y="440"/>
                    </a:lnTo>
                    <a:lnTo>
                      <a:pt x="111" y="441"/>
                    </a:lnTo>
                    <a:lnTo>
                      <a:pt x="111" y="443"/>
                    </a:lnTo>
                    <a:lnTo>
                      <a:pt x="110" y="444"/>
                    </a:lnTo>
                    <a:lnTo>
                      <a:pt x="109" y="445"/>
                    </a:lnTo>
                    <a:lnTo>
                      <a:pt x="104" y="447"/>
                    </a:lnTo>
                    <a:lnTo>
                      <a:pt x="98" y="450"/>
                    </a:lnTo>
                    <a:lnTo>
                      <a:pt x="85" y="453"/>
                    </a:lnTo>
                    <a:lnTo>
                      <a:pt x="75" y="458"/>
                    </a:lnTo>
                    <a:lnTo>
                      <a:pt x="72" y="463"/>
                    </a:lnTo>
                    <a:lnTo>
                      <a:pt x="70" y="467"/>
                    </a:lnTo>
                    <a:lnTo>
                      <a:pt x="68" y="472"/>
                    </a:lnTo>
                    <a:lnTo>
                      <a:pt x="68" y="475"/>
                    </a:lnTo>
                    <a:lnTo>
                      <a:pt x="68" y="480"/>
                    </a:lnTo>
                    <a:lnTo>
                      <a:pt x="69" y="485"/>
                    </a:lnTo>
                    <a:lnTo>
                      <a:pt x="70" y="490"/>
                    </a:lnTo>
                    <a:lnTo>
                      <a:pt x="73" y="494"/>
                    </a:lnTo>
                    <a:lnTo>
                      <a:pt x="78" y="503"/>
                    </a:lnTo>
                    <a:lnTo>
                      <a:pt x="85" y="510"/>
                    </a:lnTo>
                    <a:lnTo>
                      <a:pt x="93" y="516"/>
                    </a:lnTo>
                    <a:lnTo>
                      <a:pt x="102" y="521"/>
                    </a:lnTo>
                    <a:lnTo>
                      <a:pt x="111" y="522"/>
                    </a:lnTo>
                    <a:lnTo>
                      <a:pt x="117" y="522"/>
                    </a:lnTo>
                    <a:lnTo>
                      <a:pt x="118" y="522"/>
                    </a:lnTo>
                    <a:lnTo>
                      <a:pt x="120" y="521"/>
                    </a:lnTo>
                    <a:lnTo>
                      <a:pt x="121" y="518"/>
                    </a:lnTo>
                    <a:lnTo>
                      <a:pt x="121" y="516"/>
                    </a:lnTo>
                    <a:lnTo>
                      <a:pt x="120" y="510"/>
                    </a:lnTo>
                    <a:lnTo>
                      <a:pt x="118" y="503"/>
                    </a:lnTo>
                    <a:lnTo>
                      <a:pt x="118" y="493"/>
                    </a:lnTo>
                    <a:lnTo>
                      <a:pt x="120" y="482"/>
                    </a:lnTo>
                    <a:lnTo>
                      <a:pt x="123" y="474"/>
                    </a:lnTo>
                    <a:lnTo>
                      <a:pt x="129" y="461"/>
                    </a:lnTo>
                    <a:lnTo>
                      <a:pt x="135" y="447"/>
                    </a:lnTo>
                    <a:lnTo>
                      <a:pt x="140" y="441"/>
                    </a:lnTo>
                    <a:lnTo>
                      <a:pt x="144" y="443"/>
                    </a:lnTo>
                    <a:lnTo>
                      <a:pt x="147" y="446"/>
                    </a:lnTo>
                    <a:lnTo>
                      <a:pt x="150" y="452"/>
                    </a:lnTo>
                    <a:lnTo>
                      <a:pt x="153" y="461"/>
                    </a:lnTo>
                    <a:lnTo>
                      <a:pt x="158" y="481"/>
                    </a:lnTo>
                    <a:lnTo>
                      <a:pt x="162" y="506"/>
                    </a:lnTo>
                    <a:lnTo>
                      <a:pt x="167" y="556"/>
                    </a:lnTo>
                    <a:lnTo>
                      <a:pt x="169" y="588"/>
                    </a:lnTo>
                    <a:lnTo>
                      <a:pt x="175" y="568"/>
                    </a:lnTo>
                    <a:lnTo>
                      <a:pt x="182" y="549"/>
                    </a:lnTo>
                    <a:lnTo>
                      <a:pt x="191" y="529"/>
                    </a:lnTo>
                    <a:lnTo>
                      <a:pt x="198" y="511"/>
                    </a:lnTo>
                    <a:lnTo>
                      <a:pt x="199" y="506"/>
                    </a:lnTo>
                    <a:lnTo>
                      <a:pt x="198" y="500"/>
                    </a:lnTo>
                    <a:lnTo>
                      <a:pt x="195" y="493"/>
                    </a:lnTo>
                    <a:lnTo>
                      <a:pt x="193" y="485"/>
                    </a:lnTo>
                    <a:lnTo>
                      <a:pt x="186" y="465"/>
                    </a:lnTo>
                    <a:lnTo>
                      <a:pt x="179" y="445"/>
                    </a:lnTo>
                    <a:lnTo>
                      <a:pt x="176" y="435"/>
                    </a:lnTo>
                    <a:lnTo>
                      <a:pt x="174" y="426"/>
                    </a:lnTo>
                    <a:lnTo>
                      <a:pt x="173" y="419"/>
                    </a:lnTo>
                    <a:lnTo>
                      <a:pt x="173" y="413"/>
                    </a:lnTo>
                    <a:lnTo>
                      <a:pt x="174" y="409"/>
                    </a:lnTo>
                    <a:lnTo>
                      <a:pt x="175" y="408"/>
                    </a:lnTo>
                    <a:lnTo>
                      <a:pt x="176" y="407"/>
                    </a:lnTo>
                    <a:lnTo>
                      <a:pt x="179" y="405"/>
                    </a:lnTo>
                    <a:lnTo>
                      <a:pt x="185" y="405"/>
                    </a:lnTo>
                    <a:lnTo>
                      <a:pt x="193" y="408"/>
                    </a:lnTo>
                    <a:lnTo>
                      <a:pt x="200" y="414"/>
                    </a:lnTo>
                    <a:lnTo>
                      <a:pt x="214" y="422"/>
                    </a:lnTo>
                    <a:lnTo>
                      <a:pt x="221" y="427"/>
                    </a:lnTo>
                    <a:lnTo>
                      <a:pt x="227" y="429"/>
                    </a:lnTo>
                    <a:lnTo>
                      <a:pt x="229" y="429"/>
                    </a:lnTo>
                    <a:lnTo>
                      <a:pt x="230" y="428"/>
                    </a:lnTo>
                    <a:lnTo>
                      <a:pt x="232" y="427"/>
                    </a:lnTo>
                    <a:lnTo>
                      <a:pt x="232" y="425"/>
                    </a:lnTo>
                    <a:lnTo>
                      <a:pt x="229" y="413"/>
                    </a:lnTo>
                    <a:lnTo>
                      <a:pt x="226" y="401"/>
                    </a:lnTo>
                    <a:lnTo>
                      <a:pt x="221" y="390"/>
                    </a:lnTo>
                    <a:lnTo>
                      <a:pt x="216" y="378"/>
                    </a:lnTo>
                    <a:lnTo>
                      <a:pt x="211" y="366"/>
                    </a:lnTo>
                    <a:lnTo>
                      <a:pt x="208" y="354"/>
                    </a:lnTo>
                    <a:lnTo>
                      <a:pt x="206" y="339"/>
                    </a:lnTo>
                    <a:lnTo>
                      <a:pt x="206" y="325"/>
                    </a:lnTo>
                    <a:lnTo>
                      <a:pt x="205" y="313"/>
                    </a:lnTo>
                    <a:lnTo>
                      <a:pt x="201" y="293"/>
                    </a:lnTo>
                    <a:lnTo>
                      <a:pt x="199" y="277"/>
                    </a:lnTo>
                    <a:lnTo>
                      <a:pt x="198" y="269"/>
                    </a:lnTo>
                    <a:lnTo>
                      <a:pt x="200" y="266"/>
                    </a:lnTo>
                    <a:lnTo>
                      <a:pt x="204" y="263"/>
                    </a:lnTo>
                    <a:lnTo>
                      <a:pt x="209" y="262"/>
                    </a:lnTo>
                    <a:lnTo>
                      <a:pt x="214" y="262"/>
                    </a:lnTo>
                    <a:lnTo>
                      <a:pt x="217" y="261"/>
                    </a:lnTo>
                    <a:lnTo>
                      <a:pt x="221" y="259"/>
                    </a:lnTo>
                    <a:lnTo>
                      <a:pt x="223" y="254"/>
                    </a:lnTo>
                    <a:lnTo>
                      <a:pt x="224" y="246"/>
                    </a:lnTo>
                    <a:lnTo>
                      <a:pt x="224" y="233"/>
                    </a:lnTo>
                    <a:lnTo>
                      <a:pt x="224" y="222"/>
                    </a:lnTo>
                    <a:lnTo>
                      <a:pt x="226" y="215"/>
                    </a:lnTo>
                    <a:lnTo>
                      <a:pt x="228" y="210"/>
                    </a:lnTo>
                    <a:lnTo>
                      <a:pt x="229" y="209"/>
                    </a:lnTo>
                    <a:lnTo>
                      <a:pt x="232" y="208"/>
                    </a:lnTo>
                    <a:lnTo>
                      <a:pt x="234" y="209"/>
                    </a:lnTo>
                    <a:lnTo>
                      <a:pt x="236" y="210"/>
                    </a:lnTo>
                    <a:lnTo>
                      <a:pt x="245" y="215"/>
                    </a:lnTo>
                    <a:lnTo>
                      <a:pt x="254" y="225"/>
                    </a:lnTo>
                    <a:lnTo>
                      <a:pt x="259" y="231"/>
                    </a:lnTo>
                    <a:lnTo>
                      <a:pt x="265" y="239"/>
                    </a:lnTo>
                    <a:lnTo>
                      <a:pt x="271" y="245"/>
                    </a:lnTo>
                    <a:lnTo>
                      <a:pt x="277" y="249"/>
                    </a:lnTo>
                    <a:lnTo>
                      <a:pt x="280" y="249"/>
                    </a:lnTo>
                    <a:lnTo>
                      <a:pt x="282" y="248"/>
                    </a:lnTo>
                    <a:lnTo>
                      <a:pt x="283" y="246"/>
                    </a:lnTo>
                    <a:lnTo>
                      <a:pt x="285" y="244"/>
                    </a:lnTo>
                    <a:lnTo>
                      <a:pt x="286" y="238"/>
                    </a:lnTo>
                    <a:lnTo>
                      <a:pt x="286" y="231"/>
                    </a:lnTo>
                    <a:lnTo>
                      <a:pt x="285" y="216"/>
                    </a:lnTo>
                    <a:lnTo>
                      <a:pt x="285" y="208"/>
                    </a:lnTo>
                    <a:lnTo>
                      <a:pt x="279" y="1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56"/>
              <p:cNvSpPr>
                <a:spLocks/>
              </p:cNvSpPr>
              <p:nvPr/>
            </p:nvSpPr>
            <p:spPr bwMode="auto">
              <a:xfrm>
                <a:off x="6992938" y="7588250"/>
                <a:ext cx="92075" cy="120650"/>
              </a:xfrm>
              <a:custGeom>
                <a:avLst/>
                <a:gdLst>
                  <a:gd name="T0" fmla="*/ 207 w 232"/>
                  <a:gd name="T1" fmla="*/ 234 h 306"/>
                  <a:gd name="T2" fmla="*/ 208 w 232"/>
                  <a:gd name="T3" fmla="*/ 216 h 306"/>
                  <a:gd name="T4" fmla="*/ 213 w 232"/>
                  <a:gd name="T5" fmla="*/ 194 h 306"/>
                  <a:gd name="T6" fmla="*/ 227 w 232"/>
                  <a:gd name="T7" fmla="*/ 172 h 306"/>
                  <a:gd name="T8" fmla="*/ 219 w 232"/>
                  <a:gd name="T9" fmla="*/ 154 h 306"/>
                  <a:gd name="T10" fmla="*/ 191 w 232"/>
                  <a:gd name="T11" fmla="*/ 124 h 306"/>
                  <a:gd name="T12" fmla="*/ 177 w 232"/>
                  <a:gd name="T13" fmla="*/ 113 h 306"/>
                  <a:gd name="T14" fmla="*/ 168 w 232"/>
                  <a:gd name="T15" fmla="*/ 110 h 306"/>
                  <a:gd name="T16" fmla="*/ 154 w 232"/>
                  <a:gd name="T17" fmla="*/ 111 h 306"/>
                  <a:gd name="T18" fmla="*/ 133 w 232"/>
                  <a:gd name="T19" fmla="*/ 118 h 306"/>
                  <a:gd name="T20" fmla="*/ 112 w 232"/>
                  <a:gd name="T21" fmla="*/ 122 h 306"/>
                  <a:gd name="T22" fmla="*/ 106 w 232"/>
                  <a:gd name="T23" fmla="*/ 120 h 306"/>
                  <a:gd name="T24" fmla="*/ 108 w 232"/>
                  <a:gd name="T25" fmla="*/ 114 h 306"/>
                  <a:gd name="T26" fmla="*/ 117 w 232"/>
                  <a:gd name="T27" fmla="*/ 96 h 306"/>
                  <a:gd name="T28" fmla="*/ 127 w 232"/>
                  <a:gd name="T29" fmla="*/ 56 h 306"/>
                  <a:gd name="T30" fmla="*/ 130 w 232"/>
                  <a:gd name="T31" fmla="*/ 23 h 306"/>
                  <a:gd name="T32" fmla="*/ 127 w 232"/>
                  <a:gd name="T33" fmla="*/ 7 h 306"/>
                  <a:gd name="T34" fmla="*/ 123 w 232"/>
                  <a:gd name="T35" fmla="*/ 1 h 306"/>
                  <a:gd name="T36" fmla="*/ 118 w 232"/>
                  <a:gd name="T37" fmla="*/ 0 h 306"/>
                  <a:gd name="T38" fmla="*/ 108 w 232"/>
                  <a:gd name="T39" fmla="*/ 5 h 306"/>
                  <a:gd name="T40" fmla="*/ 85 w 232"/>
                  <a:gd name="T41" fmla="*/ 28 h 306"/>
                  <a:gd name="T42" fmla="*/ 55 w 232"/>
                  <a:gd name="T43" fmla="*/ 56 h 306"/>
                  <a:gd name="T44" fmla="*/ 30 w 232"/>
                  <a:gd name="T45" fmla="*/ 78 h 306"/>
                  <a:gd name="T46" fmla="*/ 8 w 232"/>
                  <a:gd name="T47" fmla="*/ 90 h 306"/>
                  <a:gd name="T48" fmla="*/ 1 w 232"/>
                  <a:gd name="T49" fmla="*/ 98 h 306"/>
                  <a:gd name="T50" fmla="*/ 0 w 232"/>
                  <a:gd name="T51" fmla="*/ 104 h 306"/>
                  <a:gd name="T52" fmla="*/ 3 w 232"/>
                  <a:gd name="T53" fmla="*/ 123 h 306"/>
                  <a:gd name="T54" fmla="*/ 6 w 232"/>
                  <a:gd name="T55" fmla="*/ 153 h 306"/>
                  <a:gd name="T56" fmla="*/ 2 w 232"/>
                  <a:gd name="T57" fmla="*/ 176 h 306"/>
                  <a:gd name="T58" fmla="*/ 3 w 232"/>
                  <a:gd name="T59" fmla="*/ 183 h 306"/>
                  <a:gd name="T60" fmla="*/ 7 w 232"/>
                  <a:gd name="T61" fmla="*/ 185 h 306"/>
                  <a:gd name="T62" fmla="*/ 14 w 232"/>
                  <a:gd name="T63" fmla="*/ 184 h 306"/>
                  <a:gd name="T64" fmla="*/ 36 w 232"/>
                  <a:gd name="T65" fmla="*/ 177 h 306"/>
                  <a:gd name="T66" fmla="*/ 74 w 232"/>
                  <a:gd name="T67" fmla="*/ 164 h 306"/>
                  <a:gd name="T68" fmla="*/ 90 w 232"/>
                  <a:gd name="T69" fmla="*/ 161 h 306"/>
                  <a:gd name="T70" fmla="*/ 96 w 232"/>
                  <a:gd name="T71" fmla="*/ 163 h 306"/>
                  <a:gd name="T72" fmla="*/ 101 w 232"/>
                  <a:gd name="T73" fmla="*/ 176 h 306"/>
                  <a:gd name="T74" fmla="*/ 103 w 232"/>
                  <a:gd name="T75" fmla="*/ 195 h 306"/>
                  <a:gd name="T76" fmla="*/ 106 w 232"/>
                  <a:gd name="T77" fmla="*/ 206 h 306"/>
                  <a:gd name="T78" fmla="*/ 121 w 232"/>
                  <a:gd name="T79" fmla="*/ 229 h 306"/>
                  <a:gd name="T80" fmla="*/ 137 w 232"/>
                  <a:gd name="T81" fmla="*/ 261 h 306"/>
                  <a:gd name="T82" fmla="*/ 150 w 232"/>
                  <a:gd name="T83" fmla="*/ 287 h 306"/>
                  <a:gd name="T84" fmla="*/ 161 w 232"/>
                  <a:gd name="T85" fmla="*/ 302 h 306"/>
                  <a:gd name="T86" fmla="*/ 167 w 232"/>
                  <a:gd name="T87" fmla="*/ 306 h 306"/>
                  <a:gd name="T88" fmla="*/ 175 w 232"/>
                  <a:gd name="T89" fmla="*/ 303 h 306"/>
                  <a:gd name="T90" fmla="*/ 185 w 232"/>
                  <a:gd name="T91" fmla="*/ 290 h 306"/>
                  <a:gd name="T92" fmla="*/ 194 w 232"/>
                  <a:gd name="T93" fmla="*/ 277 h 306"/>
                  <a:gd name="T94" fmla="*/ 207 w 232"/>
                  <a:gd name="T95" fmla="*/ 244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32" h="306">
                    <a:moveTo>
                      <a:pt x="207" y="244"/>
                    </a:moveTo>
                    <a:lnTo>
                      <a:pt x="207" y="234"/>
                    </a:lnTo>
                    <a:lnTo>
                      <a:pt x="207" y="224"/>
                    </a:lnTo>
                    <a:lnTo>
                      <a:pt x="208" y="216"/>
                    </a:lnTo>
                    <a:lnTo>
                      <a:pt x="209" y="207"/>
                    </a:lnTo>
                    <a:lnTo>
                      <a:pt x="213" y="194"/>
                    </a:lnTo>
                    <a:lnTo>
                      <a:pt x="218" y="184"/>
                    </a:lnTo>
                    <a:lnTo>
                      <a:pt x="227" y="172"/>
                    </a:lnTo>
                    <a:lnTo>
                      <a:pt x="232" y="169"/>
                    </a:lnTo>
                    <a:lnTo>
                      <a:pt x="219" y="154"/>
                    </a:lnTo>
                    <a:lnTo>
                      <a:pt x="201" y="134"/>
                    </a:lnTo>
                    <a:lnTo>
                      <a:pt x="191" y="124"/>
                    </a:lnTo>
                    <a:lnTo>
                      <a:pt x="181" y="117"/>
                    </a:lnTo>
                    <a:lnTo>
                      <a:pt x="177" y="113"/>
                    </a:lnTo>
                    <a:lnTo>
                      <a:pt x="172" y="112"/>
                    </a:lnTo>
                    <a:lnTo>
                      <a:pt x="168" y="110"/>
                    </a:lnTo>
                    <a:lnTo>
                      <a:pt x="163" y="110"/>
                    </a:lnTo>
                    <a:lnTo>
                      <a:pt x="154" y="111"/>
                    </a:lnTo>
                    <a:lnTo>
                      <a:pt x="143" y="114"/>
                    </a:lnTo>
                    <a:lnTo>
                      <a:pt x="133" y="118"/>
                    </a:lnTo>
                    <a:lnTo>
                      <a:pt x="123" y="120"/>
                    </a:lnTo>
                    <a:lnTo>
                      <a:pt x="112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8"/>
                    </a:lnTo>
                    <a:lnTo>
                      <a:pt x="108" y="114"/>
                    </a:lnTo>
                    <a:lnTo>
                      <a:pt x="112" y="108"/>
                    </a:lnTo>
                    <a:lnTo>
                      <a:pt x="117" y="96"/>
                    </a:lnTo>
                    <a:lnTo>
                      <a:pt x="123" y="77"/>
                    </a:lnTo>
                    <a:lnTo>
                      <a:pt x="127" y="56"/>
                    </a:lnTo>
                    <a:lnTo>
                      <a:pt x="130" y="33"/>
                    </a:lnTo>
                    <a:lnTo>
                      <a:pt x="130" y="23"/>
                    </a:lnTo>
                    <a:lnTo>
                      <a:pt x="129" y="15"/>
                    </a:lnTo>
                    <a:lnTo>
                      <a:pt x="127" y="7"/>
                    </a:lnTo>
                    <a:lnTo>
                      <a:pt x="124" y="3"/>
                    </a:lnTo>
                    <a:lnTo>
                      <a:pt x="123" y="1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5" y="1"/>
                    </a:lnTo>
                    <a:lnTo>
                      <a:pt x="108" y="5"/>
                    </a:lnTo>
                    <a:lnTo>
                      <a:pt x="100" y="13"/>
                    </a:lnTo>
                    <a:lnTo>
                      <a:pt x="85" y="28"/>
                    </a:lnTo>
                    <a:lnTo>
                      <a:pt x="71" y="41"/>
                    </a:lnTo>
                    <a:lnTo>
                      <a:pt x="55" y="56"/>
                    </a:lnTo>
                    <a:lnTo>
                      <a:pt x="42" y="70"/>
                    </a:lnTo>
                    <a:lnTo>
                      <a:pt x="30" y="78"/>
                    </a:lnTo>
                    <a:lnTo>
                      <a:pt x="15" y="87"/>
                    </a:lnTo>
                    <a:lnTo>
                      <a:pt x="8" y="90"/>
                    </a:lnTo>
                    <a:lnTo>
                      <a:pt x="3" y="95"/>
                    </a:lnTo>
                    <a:lnTo>
                      <a:pt x="1" y="98"/>
                    </a:lnTo>
                    <a:lnTo>
                      <a:pt x="0" y="101"/>
                    </a:lnTo>
                    <a:lnTo>
                      <a:pt x="0" y="104"/>
                    </a:lnTo>
                    <a:lnTo>
                      <a:pt x="0" y="107"/>
                    </a:lnTo>
                    <a:lnTo>
                      <a:pt x="3" y="123"/>
                    </a:lnTo>
                    <a:lnTo>
                      <a:pt x="6" y="139"/>
                    </a:lnTo>
                    <a:lnTo>
                      <a:pt x="6" y="153"/>
                    </a:lnTo>
                    <a:lnTo>
                      <a:pt x="3" y="171"/>
                    </a:lnTo>
                    <a:lnTo>
                      <a:pt x="2" y="176"/>
                    </a:lnTo>
                    <a:lnTo>
                      <a:pt x="2" y="181"/>
                    </a:lnTo>
                    <a:lnTo>
                      <a:pt x="3" y="183"/>
                    </a:lnTo>
                    <a:lnTo>
                      <a:pt x="5" y="184"/>
                    </a:lnTo>
                    <a:lnTo>
                      <a:pt x="7" y="185"/>
                    </a:lnTo>
                    <a:lnTo>
                      <a:pt x="9" y="185"/>
                    </a:lnTo>
                    <a:lnTo>
                      <a:pt x="14" y="184"/>
                    </a:lnTo>
                    <a:lnTo>
                      <a:pt x="19" y="183"/>
                    </a:lnTo>
                    <a:lnTo>
                      <a:pt x="36" y="177"/>
                    </a:lnTo>
                    <a:lnTo>
                      <a:pt x="61" y="167"/>
                    </a:lnTo>
                    <a:lnTo>
                      <a:pt x="74" y="164"/>
                    </a:lnTo>
                    <a:lnTo>
                      <a:pt x="85" y="163"/>
                    </a:lnTo>
                    <a:lnTo>
                      <a:pt x="90" y="161"/>
                    </a:lnTo>
                    <a:lnTo>
                      <a:pt x="94" y="163"/>
                    </a:lnTo>
                    <a:lnTo>
                      <a:pt x="96" y="163"/>
                    </a:lnTo>
                    <a:lnTo>
                      <a:pt x="97" y="165"/>
                    </a:lnTo>
                    <a:lnTo>
                      <a:pt x="101" y="176"/>
                    </a:lnTo>
                    <a:lnTo>
                      <a:pt x="102" y="189"/>
                    </a:lnTo>
                    <a:lnTo>
                      <a:pt x="103" y="195"/>
                    </a:lnTo>
                    <a:lnTo>
                      <a:pt x="104" y="201"/>
                    </a:lnTo>
                    <a:lnTo>
                      <a:pt x="106" y="206"/>
                    </a:lnTo>
                    <a:lnTo>
                      <a:pt x="108" y="212"/>
                    </a:lnTo>
                    <a:lnTo>
                      <a:pt x="121" y="229"/>
                    </a:lnTo>
                    <a:lnTo>
                      <a:pt x="132" y="247"/>
                    </a:lnTo>
                    <a:lnTo>
                      <a:pt x="137" y="261"/>
                    </a:lnTo>
                    <a:lnTo>
                      <a:pt x="143" y="275"/>
                    </a:lnTo>
                    <a:lnTo>
                      <a:pt x="150" y="287"/>
                    </a:lnTo>
                    <a:lnTo>
                      <a:pt x="159" y="299"/>
                    </a:lnTo>
                    <a:lnTo>
                      <a:pt x="161" y="302"/>
                    </a:lnTo>
                    <a:lnTo>
                      <a:pt x="165" y="305"/>
                    </a:lnTo>
                    <a:lnTo>
                      <a:pt x="167" y="306"/>
                    </a:lnTo>
                    <a:lnTo>
                      <a:pt x="171" y="306"/>
                    </a:lnTo>
                    <a:lnTo>
                      <a:pt x="175" y="303"/>
                    </a:lnTo>
                    <a:lnTo>
                      <a:pt x="180" y="297"/>
                    </a:lnTo>
                    <a:lnTo>
                      <a:pt x="185" y="290"/>
                    </a:lnTo>
                    <a:lnTo>
                      <a:pt x="189" y="283"/>
                    </a:lnTo>
                    <a:lnTo>
                      <a:pt x="194" y="277"/>
                    </a:lnTo>
                    <a:lnTo>
                      <a:pt x="197" y="275"/>
                    </a:lnTo>
                    <a:lnTo>
                      <a:pt x="207" y="2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57"/>
              <p:cNvSpPr>
                <a:spLocks/>
              </p:cNvSpPr>
              <p:nvPr/>
            </p:nvSpPr>
            <p:spPr bwMode="auto">
              <a:xfrm>
                <a:off x="6815138" y="7645400"/>
                <a:ext cx="80963" cy="63500"/>
              </a:xfrm>
              <a:custGeom>
                <a:avLst/>
                <a:gdLst>
                  <a:gd name="T0" fmla="*/ 142 w 205"/>
                  <a:gd name="T1" fmla="*/ 8 h 160"/>
                  <a:gd name="T2" fmla="*/ 134 w 205"/>
                  <a:gd name="T3" fmla="*/ 18 h 160"/>
                  <a:gd name="T4" fmla="*/ 126 w 205"/>
                  <a:gd name="T5" fmla="*/ 37 h 160"/>
                  <a:gd name="T6" fmla="*/ 117 w 205"/>
                  <a:gd name="T7" fmla="*/ 53 h 160"/>
                  <a:gd name="T8" fmla="*/ 110 w 205"/>
                  <a:gd name="T9" fmla="*/ 59 h 160"/>
                  <a:gd name="T10" fmla="*/ 94 w 205"/>
                  <a:gd name="T11" fmla="*/ 62 h 160"/>
                  <a:gd name="T12" fmla="*/ 57 w 205"/>
                  <a:gd name="T13" fmla="*/ 62 h 160"/>
                  <a:gd name="T14" fmla="*/ 33 w 205"/>
                  <a:gd name="T15" fmla="*/ 67 h 160"/>
                  <a:gd name="T16" fmla="*/ 22 w 205"/>
                  <a:gd name="T17" fmla="*/ 91 h 160"/>
                  <a:gd name="T18" fmla="*/ 5 w 205"/>
                  <a:gd name="T19" fmla="*/ 140 h 160"/>
                  <a:gd name="T20" fmla="*/ 7 w 205"/>
                  <a:gd name="T21" fmla="*/ 158 h 160"/>
                  <a:gd name="T22" fmla="*/ 19 w 205"/>
                  <a:gd name="T23" fmla="*/ 150 h 160"/>
                  <a:gd name="T24" fmla="*/ 36 w 205"/>
                  <a:gd name="T25" fmla="*/ 134 h 160"/>
                  <a:gd name="T26" fmla="*/ 63 w 205"/>
                  <a:gd name="T27" fmla="*/ 119 h 160"/>
                  <a:gd name="T28" fmla="*/ 89 w 205"/>
                  <a:gd name="T29" fmla="*/ 104 h 160"/>
                  <a:gd name="T30" fmla="*/ 117 w 205"/>
                  <a:gd name="T31" fmla="*/ 90 h 160"/>
                  <a:gd name="T32" fmla="*/ 132 w 205"/>
                  <a:gd name="T33" fmla="*/ 78 h 160"/>
                  <a:gd name="T34" fmla="*/ 142 w 205"/>
                  <a:gd name="T35" fmla="*/ 75 h 160"/>
                  <a:gd name="T36" fmla="*/ 158 w 205"/>
                  <a:gd name="T37" fmla="*/ 75 h 160"/>
                  <a:gd name="T38" fmla="*/ 179 w 205"/>
                  <a:gd name="T39" fmla="*/ 81 h 160"/>
                  <a:gd name="T40" fmla="*/ 199 w 205"/>
                  <a:gd name="T41" fmla="*/ 85 h 160"/>
                  <a:gd name="T42" fmla="*/ 203 w 205"/>
                  <a:gd name="T43" fmla="*/ 79 h 160"/>
                  <a:gd name="T44" fmla="*/ 190 w 205"/>
                  <a:gd name="T45" fmla="*/ 66 h 160"/>
                  <a:gd name="T46" fmla="*/ 176 w 205"/>
                  <a:gd name="T47" fmla="*/ 51 h 160"/>
                  <a:gd name="T48" fmla="*/ 170 w 205"/>
                  <a:gd name="T49" fmla="*/ 43 h 160"/>
                  <a:gd name="T50" fmla="*/ 171 w 205"/>
                  <a:gd name="T51" fmla="*/ 38 h 160"/>
                  <a:gd name="T52" fmla="*/ 179 w 205"/>
                  <a:gd name="T53" fmla="*/ 33 h 160"/>
                  <a:gd name="T54" fmla="*/ 185 w 205"/>
                  <a:gd name="T55" fmla="*/ 26 h 160"/>
                  <a:gd name="T56" fmla="*/ 188 w 205"/>
                  <a:gd name="T57" fmla="*/ 19 h 160"/>
                  <a:gd name="T58" fmla="*/ 188 w 205"/>
                  <a:gd name="T59" fmla="*/ 12 h 160"/>
                  <a:gd name="T60" fmla="*/ 183 w 205"/>
                  <a:gd name="T61" fmla="*/ 3 h 160"/>
                  <a:gd name="T62" fmla="*/ 176 w 205"/>
                  <a:gd name="T63" fmla="*/ 0 h 160"/>
                  <a:gd name="T64" fmla="*/ 170 w 205"/>
                  <a:gd name="T65" fmla="*/ 1 h 160"/>
                  <a:gd name="T66" fmla="*/ 148 w 205"/>
                  <a:gd name="T67" fmla="*/ 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5" h="160">
                    <a:moveTo>
                      <a:pt x="148" y="4"/>
                    </a:moveTo>
                    <a:lnTo>
                      <a:pt x="142" y="8"/>
                    </a:lnTo>
                    <a:lnTo>
                      <a:pt x="137" y="12"/>
                    </a:lnTo>
                    <a:lnTo>
                      <a:pt x="134" y="18"/>
                    </a:lnTo>
                    <a:lnTo>
                      <a:pt x="130" y="24"/>
                    </a:lnTo>
                    <a:lnTo>
                      <a:pt x="126" y="37"/>
                    </a:lnTo>
                    <a:lnTo>
                      <a:pt x="120" y="49"/>
                    </a:lnTo>
                    <a:lnTo>
                      <a:pt x="117" y="53"/>
                    </a:lnTo>
                    <a:lnTo>
                      <a:pt x="113" y="56"/>
                    </a:lnTo>
                    <a:lnTo>
                      <a:pt x="110" y="59"/>
                    </a:lnTo>
                    <a:lnTo>
                      <a:pt x="105" y="60"/>
                    </a:lnTo>
                    <a:lnTo>
                      <a:pt x="94" y="62"/>
                    </a:lnTo>
                    <a:lnTo>
                      <a:pt x="82" y="62"/>
                    </a:lnTo>
                    <a:lnTo>
                      <a:pt x="57" y="62"/>
                    </a:lnTo>
                    <a:lnTo>
                      <a:pt x="36" y="63"/>
                    </a:lnTo>
                    <a:lnTo>
                      <a:pt x="33" y="67"/>
                    </a:lnTo>
                    <a:lnTo>
                      <a:pt x="28" y="78"/>
                    </a:lnTo>
                    <a:lnTo>
                      <a:pt x="22" y="91"/>
                    </a:lnTo>
                    <a:lnTo>
                      <a:pt x="16" y="108"/>
                    </a:lnTo>
                    <a:lnTo>
                      <a:pt x="5" y="140"/>
                    </a:lnTo>
                    <a:lnTo>
                      <a:pt x="0" y="160"/>
                    </a:lnTo>
                    <a:lnTo>
                      <a:pt x="7" y="158"/>
                    </a:lnTo>
                    <a:lnTo>
                      <a:pt x="13" y="155"/>
                    </a:lnTo>
                    <a:lnTo>
                      <a:pt x="19" y="150"/>
                    </a:lnTo>
                    <a:lnTo>
                      <a:pt x="24" y="145"/>
                    </a:lnTo>
                    <a:lnTo>
                      <a:pt x="36" y="134"/>
                    </a:lnTo>
                    <a:lnTo>
                      <a:pt x="49" y="126"/>
                    </a:lnTo>
                    <a:lnTo>
                      <a:pt x="63" y="119"/>
                    </a:lnTo>
                    <a:lnTo>
                      <a:pt x="76" y="111"/>
                    </a:lnTo>
                    <a:lnTo>
                      <a:pt x="89" y="104"/>
                    </a:lnTo>
                    <a:lnTo>
                      <a:pt x="104" y="97"/>
                    </a:lnTo>
                    <a:lnTo>
                      <a:pt x="117" y="90"/>
                    </a:lnTo>
                    <a:lnTo>
                      <a:pt x="129" y="80"/>
                    </a:lnTo>
                    <a:lnTo>
                      <a:pt x="132" y="78"/>
                    </a:lnTo>
                    <a:lnTo>
                      <a:pt x="137" y="75"/>
                    </a:lnTo>
                    <a:lnTo>
                      <a:pt x="142" y="75"/>
                    </a:lnTo>
                    <a:lnTo>
                      <a:pt x="147" y="74"/>
                    </a:lnTo>
                    <a:lnTo>
                      <a:pt x="158" y="75"/>
                    </a:lnTo>
                    <a:lnTo>
                      <a:pt x="167" y="77"/>
                    </a:lnTo>
                    <a:lnTo>
                      <a:pt x="179" y="81"/>
                    </a:lnTo>
                    <a:lnTo>
                      <a:pt x="190" y="85"/>
                    </a:lnTo>
                    <a:lnTo>
                      <a:pt x="199" y="85"/>
                    </a:lnTo>
                    <a:lnTo>
                      <a:pt x="205" y="84"/>
                    </a:lnTo>
                    <a:lnTo>
                      <a:pt x="203" y="79"/>
                    </a:lnTo>
                    <a:lnTo>
                      <a:pt x="197" y="72"/>
                    </a:lnTo>
                    <a:lnTo>
                      <a:pt x="190" y="66"/>
                    </a:lnTo>
                    <a:lnTo>
                      <a:pt x="183" y="59"/>
                    </a:lnTo>
                    <a:lnTo>
                      <a:pt x="176" y="51"/>
                    </a:lnTo>
                    <a:lnTo>
                      <a:pt x="171" y="45"/>
                    </a:lnTo>
                    <a:lnTo>
                      <a:pt x="170" y="43"/>
                    </a:lnTo>
                    <a:lnTo>
                      <a:pt x="170" y="39"/>
                    </a:lnTo>
                    <a:lnTo>
                      <a:pt x="171" y="38"/>
                    </a:lnTo>
                    <a:lnTo>
                      <a:pt x="175" y="36"/>
                    </a:lnTo>
                    <a:lnTo>
                      <a:pt x="179" y="33"/>
                    </a:lnTo>
                    <a:lnTo>
                      <a:pt x="183" y="30"/>
                    </a:lnTo>
                    <a:lnTo>
                      <a:pt x="185" y="26"/>
                    </a:lnTo>
                    <a:lnTo>
                      <a:pt x="187" y="22"/>
                    </a:lnTo>
                    <a:lnTo>
                      <a:pt x="188" y="19"/>
                    </a:lnTo>
                    <a:lnTo>
                      <a:pt x="188" y="15"/>
                    </a:lnTo>
                    <a:lnTo>
                      <a:pt x="188" y="12"/>
                    </a:lnTo>
                    <a:lnTo>
                      <a:pt x="187" y="9"/>
                    </a:lnTo>
                    <a:lnTo>
                      <a:pt x="183" y="3"/>
                    </a:lnTo>
                    <a:lnTo>
                      <a:pt x="178" y="0"/>
                    </a:lnTo>
                    <a:lnTo>
                      <a:pt x="176" y="0"/>
                    </a:lnTo>
                    <a:lnTo>
                      <a:pt x="172" y="0"/>
                    </a:lnTo>
                    <a:lnTo>
                      <a:pt x="170" y="1"/>
                    </a:lnTo>
                    <a:lnTo>
                      <a:pt x="167" y="3"/>
                    </a:lnTo>
                    <a:lnTo>
                      <a:pt x="148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58"/>
              <p:cNvSpPr>
                <a:spLocks/>
              </p:cNvSpPr>
              <p:nvPr/>
            </p:nvSpPr>
            <p:spPr bwMode="auto">
              <a:xfrm>
                <a:off x="6845301" y="7588250"/>
                <a:ext cx="263525" cy="471488"/>
              </a:xfrm>
              <a:custGeom>
                <a:avLst/>
                <a:gdLst>
                  <a:gd name="T0" fmla="*/ 436 w 664"/>
                  <a:gd name="T1" fmla="*/ 396 h 1188"/>
                  <a:gd name="T2" fmla="*/ 349 w 664"/>
                  <a:gd name="T3" fmla="*/ 273 h 1188"/>
                  <a:gd name="T4" fmla="*/ 292 w 664"/>
                  <a:gd name="T5" fmla="*/ 249 h 1188"/>
                  <a:gd name="T6" fmla="*/ 262 w 664"/>
                  <a:gd name="T7" fmla="*/ 284 h 1188"/>
                  <a:gd name="T8" fmla="*/ 209 w 664"/>
                  <a:gd name="T9" fmla="*/ 179 h 1188"/>
                  <a:gd name="T10" fmla="*/ 180 w 664"/>
                  <a:gd name="T11" fmla="*/ 29 h 1188"/>
                  <a:gd name="T12" fmla="*/ 113 w 664"/>
                  <a:gd name="T13" fmla="*/ 21 h 1188"/>
                  <a:gd name="T14" fmla="*/ 0 w 664"/>
                  <a:gd name="T15" fmla="*/ 15 h 1188"/>
                  <a:gd name="T16" fmla="*/ 22 w 664"/>
                  <a:gd name="T17" fmla="*/ 102 h 1188"/>
                  <a:gd name="T18" fmla="*/ 136 w 664"/>
                  <a:gd name="T19" fmla="*/ 116 h 1188"/>
                  <a:gd name="T20" fmla="*/ 155 w 664"/>
                  <a:gd name="T21" fmla="*/ 198 h 1188"/>
                  <a:gd name="T22" fmla="*/ 195 w 664"/>
                  <a:gd name="T23" fmla="*/ 376 h 1188"/>
                  <a:gd name="T24" fmla="*/ 123 w 664"/>
                  <a:gd name="T25" fmla="*/ 476 h 1188"/>
                  <a:gd name="T26" fmla="*/ 114 w 664"/>
                  <a:gd name="T27" fmla="*/ 536 h 1188"/>
                  <a:gd name="T28" fmla="*/ 188 w 664"/>
                  <a:gd name="T29" fmla="*/ 529 h 1188"/>
                  <a:gd name="T30" fmla="*/ 255 w 664"/>
                  <a:gd name="T31" fmla="*/ 574 h 1188"/>
                  <a:gd name="T32" fmla="*/ 263 w 664"/>
                  <a:gd name="T33" fmla="*/ 615 h 1188"/>
                  <a:gd name="T34" fmla="*/ 217 w 664"/>
                  <a:gd name="T35" fmla="*/ 585 h 1188"/>
                  <a:gd name="T36" fmla="*/ 239 w 664"/>
                  <a:gd name="T37" fmla="*/ 657 h 1188"/>
                  <a:gd name="T38" fmla="*/ 266 w 664"/>
                  <a:gd name="T39" fmla="*/ 700 h 1188"/>
                  <a:gd name="T40" fmla="*/ 296 w 664"/>
                  <a:gd name="T41" fmla="*/ 737 h 1188"/>
                  <a:gd name="T42" fmla="*/ 155 w 664"/>
                  <a:gd name="T43" fmla="*/ 707 h 1188"/>
                  <a:gd name="T44" fmla="*/ 178 w 664"/>
                  <a:gd name="T45" fmla="*/ 759 h 1188"/>
                  <a:gd name="T46" fmla="*/ 288 w 664"/>
                  <a:gd name="T47" fmla="*/ 771 h 1188"/>
                  <a:gd name="T48" fmla="*/ 302 w 664"/>
                  <a:gd name="T49" fmla="*/ 802 h 1188"/>
                  <a:gd name="T50" fmla="*/ 369 w 664"/>
                  <a:gd name="T51" fmla="*/ 855 h 1188"/>
                  <a:gd name="T52" fmla="*/ 387 w 664"/>
                  <a:gd name="T53" fmla="*/ 789 h 1188"/>
                  <a:gd name="T54" fmla="*/ 404 w 664"/>
                  <a:gd name="T55" fmla="*/ 787 h 1188"/>
                  <a:gd name="T56" fmla="*/ 428 w 664"/>
                  <a:gd name="T57" fmla="*/ 857 h 1188"/>
                  <a:gd name="T58" fmla="*/ 444 w 664"/>
                  <a:gd name="T59" fmla="*/ 870 h 1188"/>
                  <a:gd name="T60" fmla="*/ 458 w 664"/>
                  <a:gd name="T61" fmla="*/ 926 h 1188"/>
                  <a:gd name="T62" fmla="*/ 433 w 664"/>
                  <a:gd name="T63" fmla="*/ 978 h 1188"/>
                  <a:gd name="T64" fmla="*/ 480 w 664"/>
                  <a:gd name="T65" fmla="*/ 991 h 1188"/>
                  <a:gd name="T66" fmla="*/ 555 w 664"/>
                  <a:gd name="T67" fmla="*/ 1119 h 1188"/>
                  <a:gd name="T68" fmla="*/ 558 w 664"/>
                  <a:gd name="T69" fmla="*/ 1174 h 1188"/>
                  <a:gd name="T70" fmla="*/ 655 w 664"/>
                  <a:gd name="T71" fmla="*/ 1186 h 1188"/>
                  <a:gd name="T72" fmla="*/ 645 w 664"/>
                  <a:gd name="T73" fmla="*/ 1144 h 1188"/>
                  <a:gd name="T74" fmla="*/ 664 w 664"/>
                  <a:gd name="T75" fmla="*/ 1109 h 1188"/>
                  <a:gd name="T76" fmla="*/ 640 w 664"/>
                  <a:gd name="T77" fmla="*/ 1059 h 1188"/>
                  <a:gd name="T78" fmla="*/ 628 w 664"/>
                  <a:gd name="T79" fmla="*/ 1014 h 1188"/>
                  <a:gd name="T80" fmla="*/ 569 w 664"/>
                  <a:gd name="T81" fmla="*/ 997 h 1188"/>
                  <a:gd name="T82" fmla="*/ 620 w 664"/>
                  <a:gd name="T83" fmla="*/ 959 h 1188"/>
                  <a:gd name="T84" fmla="*/ 609 w 664"/>
                  <a:gd name="T85" fmla="*/ 918 h 1188"/>
                  <a:gd name="T86" fmla="*/ 649 w 664"/>
                  <a:gd name="T87" fmla="*/ 916 h 1188"/>
                  <a:gd name="T88" fmla="*/ 658 w 664"/>
                  <a:gd name="T89" fmla="*/ 857 h 1188"/>
                  <a:gd name="T90" fmla="*/ 634 w 664"/>
                  <a:gd name="T91" fmla="*/ 839 h 1188"/>
                  <a:gd name="T92" fmla="*/ 534 w 664"/>
                  <a:gd name="T93" fmla="*/ 804 h 1188"/>
                  <a:gd name="T94" fmla="*/ 609 w 664"/>
                  <a:gd name="T95" fmla="*/ 783 h 1188"/>
                  <a:gd name="T96" fmla="*/ 582 w 664"/>
                  <a:gd name="T97" fmla="*/ 711 h 1188"/>
                  <a:gd name="T98" fmla="*/ 539 w 664"/>
                  <a:gd name="T99" fmla="*/ 731 h 1188"/>
                  <a:gd name="T100" fmla="*/ 498 w 664"/>
                  <a:gd name="T101" fmla="*/ 695 h 1188"/>
                  <a:gd name="T102" fmla="*/ 458 w 664"/>
                  <a:gd name="T103" fmla="*/ 739 h 1188"/>
                  <a:gd name="T104" fmla="*/ 451 w 664"/>
                  <a:gd name="T105" fmla="*/ 704 h 1188"/>
                  <a:gd name="T106" fmla="*/ 503 w 664"/>
                  <a:gd name="T107" fmla="*/ 659 h 1188"/>
                  <a:gd name="T108" fmla="*/ 495 w 664"/>
                  <a:gd name="T109" fmla="*/ 623 h 1188"/>
                  <a:gd name="T110" fmla="*/ 424 w 664"/>
                  <a:gd name="T111" fmla="*/ 657 h 1188"/>
                  <a:gd name="T112" fmla="*/ 409 w 664"/>
                  <a:gd name="T113" fmla="*/ 642 h 1188"/>
                  <a:gd name="T114" fmla="*/ 430 w 664"/>
                  <a:gd name="T115" fmla="*/ 570 h 1188"/>
                  <a:gd name="T116" fmla="*/ 460 w 664"/>
                  <a:gd name="T117" fmla="*/ 545 h 1188"/>
                  <a:gd name="T118" fmla="*/ 525 w 664"/>
                  <a:gd name="T119" fmla="*/ 589 h 1188"/>
                  <a:gd name="T120" fmla="*/ 540 w 664"/>
                  <a:gd name="T121" fmla="*/ 567 h 1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64" h="1188">
                    <a:moveTo>
                      <a:pt x="460" y="517"/>
                    </a:moveTo>
                    <a:lnTo>
                      <a:pt x="456" y="503"/>
                    </a:lnTo>
                    <a:lnTo>
                      <a:pt x="452" y="488"/>
                    </a:lnTo>
                    <a:lnTo>
                      <a:pt x="451" y="473"/>
                    </a:lnTo>
                    <a:lnTo>
                      <a:pt x="449" y="458"/>
                    </a:lnTo>
                    <a:lnTo>
                      <a:pt x="448" y="443"/>
                    </a:lnTo>
                    <a:lnTo>
                      <a:pt x="445" y="427"/>
                    </a:lnTo>
                    <a:lnTo>
                      <a:pt x="442" y="411"/>
                    </a:lnTo>
                    <a:lnTo>
                      <a:pt x="436" y="396"/>
                    </a:lnTo>
                    <a:lnTo>
                      <a:pt x="430" y="380"/>
                    </a:lnTo>
                    <a:lnTo>
                      <a:pt x="422" y="366"/>
                    </a:lnTo>
                    <a:lnTo>
                      <a:pt x="413" y="350"/>
                    </a:lnTo>
                    <a:lnTo>
                      <a:pt x="404" y="334"/>
                    </a:lnTo>
                    <a:lnTo>
                      <a:pt x="393" y="320"/>
                    </a:lnTo>
                    <a:lnTo>
                      <a:pt x="383" y="305"/>
                    </a:lnTo>
                    <a:lnTo>
                      <a:pt x="372" y="293"/>
                    </a:lnTo>
                    <a:lnTo>
                      <a:pt x="361" y="281"/>
                    </a:lnTo>
                    <a:lnTo>
                      <a:pt x="349" y="273"/>
                    </a:lnTo>
                    <a:lnTo>
                      <a:pt x="331" y="259"/>
                    </a:lnTo>
                    <a:lnTo>
                      <a:pt x="322" y="252"/>
                    </a:lnTo>
                    <a:lnTo>
                      <a:pt x="315" y="245"/>
                    </a:lnTo>
                    <a:lnTo>
                      <a:pt x="310" y="240"/>
                    </a:lnTo>
                    <a:lnTo>
                      <a:pt x="307" y="236"/>
                    </a:lnTo>
                    <a:lnTo>
                      <a:pt x="302" y="237"/>
                    </a:lnTo>
                    <a:lnTo>
                      <a:pt x="298" y="239"/>
                    </a:lnTo>
                    <a:lnTo>
                      <a:pt x="295" y="243"/>
                    </a:lnTo>
                    <a:lnTo>
                      <a:pt x="292" y="249"/>
                    </a:lnTo>
                    <a:lnTo>
                      <a:pt x="288" y="261"/>
                    </a:lnTo>
                    <a:lnTo>
                      <a:pt x="284" y="275"/>
                    </a:lnTo>
                    <a:lnTo>
                      <a:pt x="282" y="289"/>
                    </a:lnTo>
                    <a:lnTo>
                      <a:pt x="279" y="301"/>
                    </a:lnTo>
                    <a:lnTo>
                      <a:pt x="277" y="305"/>
                    </a:lnTo>
                    <a:lnTo>
                      <a:pt x="274" y="309"/>
                    </a:lnTo>
                    <a:lnTo>
                      <a:pt x="272" y="310"/>
                    </a:lnTo>
                    <a:lnTo>
                      <a:pt x="269" y="310"/>
                    </a:lnTo>
                    <a:lnTo>
                      <a:pt x="262" y="284"/>
                    </a:lnTo>
                    <a:lnTo>
                      <a:pt x="251" y="255"/>
                    </a:lnTo>
                    <a:lnTo>
                      <a:pt x="245" y="240"/>
                    </a:lnTo>
                    <a:lnTo>
                      <a:pt x="239" y="227"/>
                    </a:lnTo>
                    <a:lnTo>
                      <a:pt x="231" y="215"/>
                    </a:lnTo>
                    <a:lnTo>
                      <a:pt x="224" y="206"/>
                    </a:lnTo>
                    <a:lnTo>
                      <a:pt x="219" y="200"/>
                    </a:lnTo>
                    <a:lnTo>
                      <a:pt x="214" y="192"/>
                    </a:lnTo>
                    <a:lnTo>
                      <a:pt x="212" y="186"/>
                    </a:lnTo>
                    <a:lnTo>
                      <a:pt x="209" y="179"/>
                    </a:lnTo>
                    <a:lnTo>
                      <a:pt x="207" y="165"/>
                    </a:lnTo>
                    <a:lnTo>
                      <a:pt x="207" y="151"/>
                    </a:lnTo>
                    <a:lnTo>
                      <a:pt x="207" y="137"/>
                    </a:lnTo>
                    <a:lnTo>
                      <a:pt x="208" y="121"/>
                    </a:lnTo>
                    <a:lnTo>
                      <a:pt x="207" y="106"/>
                    </a:lnTo>
                    <a:lnTo>
                      <a:pt x="204" y="91"/>
                    </a:lnTo>
                    <a:lnTo>
                      <a:pt x="197" y="71"/>
                    </a:lnTo>
                    <a:lnTo>
                      <a:pt x="189" y="49"/>
                    </a:lnTo>
                    <a:lnTo>
                      <a:pt x="180" y="29"/>
                    </a:lnTo>
                    <a:lnTo>
                      <a:pt x="174" y="11"/>
                    </a:lnTo>
                    <a:lnTo>
                      <a:pt x="159" y="13"/>
                    </a:lnTo>
                    <a:lnTo>
                      <a:pt x="144" y="17"/>
                    </a:lnTo>
                    <a:lnTo>
                      <a:pt x="141" y="20"/>
                    </a:lnTo>
                    <a:lnTo>
                      <a:pt x="137" y="23"/>
                    </a:lnTo>
                    <a:lnTo>
                      <a:pt x="132" y="25"/>
                    </a:lnTo>
                    <a:lnTo>
                      <a:pt x="129" y="25"/>
                    </a:lnTo>
                    <a:lnTo>
                      <a:pt x="121" y="25"/>
                    </a:lnTo>
                    <a:lnTo>
                      <a:pt x="113" y="21"/>
                    </a:lnTo>
                    <a:lnTo>
                      <a:pt x="96" y="11"/>
                    </a:lnTo>
                    <a:lnTo>
                      <a:pt x="79" y="2"/>
                    </a:lnTo>
                    <a:lnTo>
                      <a:pt x="62" y="1"/>
                    </a:lnTo>
                    <a:lnTo>
                      <a:pt x="42" y="0"/>
                    </a:lnTo>
                    <a:lnTo>
                      <a:pt x="22" y="1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37"/>
                    </a:lnTo>
                    <a:lnTo>
                      <a:pt x="2" y="54"/>
                    </a:lnTo>
                    <a:lnTo>
                      <a:pt x="6" y="70"/>
                    </a:lnTo>
                    <a:lnTo>
                      <a:pt x="10" y="85"/>
                    </a:lnTo>
                    <a:lnTo>
                      <a:pt x="13" y="91"/>
                    </a:lnTo>
                    <a:lnTo>
                      <a:pt x="16" y="96"/>
                    </a:lnTo>
                    <a:lnTo>
                      <a:pt x="19" y="100"/>
                    </a:lnTo>
                    <a:lnTo>
                      <a:pt x="22" y="102"/>
                    </a:lnTo>
                    <a:lnTo>
                      <a:pt x="32" y="107"/>
                    </a:lnTo>
                    <a:lnTo>
                      <a:pt x="43" y="109"/>
                    </a:lnTo>
                    <a:lnTo>
                      <a:pt x="55" y="110"/>
                    </a:lnTo>
                    <a:lnTo>
                      <a:pt x="66" y="112"/>
                    </a:lnTo>
                    <a:lnTo>
                      <a:pt x="89" y="110"/>
                    </a:lnTo>
                    <a:lnTo>
                      <a:pt x="109" y="109"/>
                    </a:lnTo>
                    <a:lnTo>
                      <a:pt x="119" y="110"/>
                    </a:lnTo>
                    <a:lnTo>
                      <a:pt x="129" y="113"/>
                    </a:lnTo>
                    <a:lnTo>
                      <a:pt x="136" y="116"/>
                    </a:lnTo>
                    <a:lnTo>
                      <a:pt x="142" y="121"/>
                    </a:lnTo>
                    <a:lnTo>
                      <a:pt x="146" y="125"/>
                    </a:lnTo>
                    <a:lnTo>
                      <a:pt x="148" y="130"/>
                    </a:lnTo>
                    <a:lnTo>
                      <a:pt x="149" y="135"/>
                    </a:lnTo>
                    <a:lnTo>
                      <a:pt x="152" y="139"/>
                    </a:lnTo>
                    <a:lnTo>
                      <a:pt x="153" y="154"/>
                    </a:lnTo>
                    <a:lnTo>
                      <a:pt x="154" y="171"/>
                    </a:lnTo>
                    <a:lnTo>
                      <a:pt x="154" y="184"/>
                    </a:lnTo>
                    <a:lnTo>
                      <a:pt x="155" y="198"/>
                    </a:lnTo>
                    <a:lnTo>
                      <a:pt x="158" y="213"/>
                    </a:lnTo>
                    <a:lnTo>
                      <a:pt x="161" y="226"/>
                    </a:lnTo>
                    <a:lnTo>
                      <a:pt x="170" y="254"/>
                    </a:lnTo>
                    <a:lnTo>
                      <a:pt x="178" y="283"/>
                    </a:lnTo>
                    <a:lnTo>
                      <a:pt x="186" y="309"/>
                    </a:lnTo>
                    <a:lnTo>
                      <a:pt x="194" y="337"/>
                    </a:lnTo>
                    <a:lnTo>
                      <a:pt x="195" y="350"/>
                    </a:lnTo>
                    <a:lnTo>
                      <a:pt x="196" y="363"/>
                    </a:lnTo>
                    <a:lnTo>
                      <a:pt x="195" y="376"/>
                    </a:lnTo>
                    <a:lnTo>
                      <a:pt x="192" y="388"/>
                    </a:lnTo>
                    <a:lnTo>
                      <a:pt x="190" y="397"/>
                    </a:lnTo>
                    <a:lnTo>
                      <a:pt x="188" y="404"/>
                    </a:lnTo>
                    <a:lnTo>
                      <a:pt x="184" y="411"/>
                    </a:lnTo>
                    <a:lnTo>
                      <a:pt x="180" y="417"/>
                    </a:lnTo>
                    <a:lnTo>
                      <a:pt x="173" y="428"/>
                    </a:lnTo>
                    <a:lnTo>
                      <a:pt x="164" y="438"/>
                    </a:lnTo>
                    <a:lnTo>
                      <a:pt x="143" y="456"/>
                    </a:lnTo>
                    <a:lnTo>
                      <a:pt x="123" y="476"/>
                    </a:lnTo>
                    <a:lnTo>
                      <a:pt x="114" y="482"/>
                    </a:lnTo>
                    <a:lnTo>
                      <a:pt x="103" y="487"/>
                    </a:lnTo>
                    <a:lnTo>
                      <a:pt x="99" y="490"/>
                    </a:lnTo>
                    <a:lnTo>
                      <a:pt x="96" y="493"/>
                    </a:lnTo>
                    <a:lnTo>
                      <a:pt x="95" y="497"/>
                    </a:lnTo>
                    <a:lnTo>
                      <a:pt x="95" y="502"/>
                    </a:lnTo>
                    <a:lnTo>
                      <a:pt x="100" y="510"/>
                    </a:lnTo>
                    <a:lnTo>
                      <a:pt x="107" y="523"/>
                    </a:lnTo>
                    <a:lnTo>
                      <a:pt x="114" y="536"/>
                    </a:lnTo>
                    <a:lnTo>
                      <a:pt x="119" y="543"/>
                    </a:lnTo>
                    <a:lnTo>
                      <a:pt x="119" y="545"/>
                    </a:lnTo>
                    <a:lnTo>
                      <a:pt x="120" y="546"/>
                    </a:lnTo>
                    <a:lnTo>
                      <a:pt x="120" y="547"/>
                    </a:lnTo>
                    <a:lnTo>
                      <a:pt x="135" y="546"/>
                    </a:lnTo>
                    <a:lnTo>
                      <a:pt x="149" y="543"/>
                    </a:lnTo>
                    <a:lnTo>
                      <a:pt x="165" y="538"/>
                    </a:lnTo>
                    <a:lnTo>
                      <a:pt x="178" y="532"/>
                    </a:lnTo>
                    <a:lnTo>
                      <a:pt x="188" y="529"/>
                    </a:lnTo>
                    <a:lnTo>
                      <a:pt x="196" y="528"/>
                    </a:lnTo>
                    <a:lnTo>
                      <a:pt x="203" y="527"/>
                    </a:lnTo>
                    <a:lnTo>
                      <a:pt x="210" y="527"/>
                    </a:lnTo>
                    <a:lnTo>
                      <a:pt x="225" y="530"/>
                    </a:lnTo>
                    <a:lnTo>
                      <a:pt x="241" y="534"/>
                    </a:lnTo>
                    <a:lnTo>
                      <a:pt x="244" y="552"/>
                    </a:lnTo>
                    <a:lnTo>
                      <a:pt x="247" y="565"/>
                    </a:lnTo>
                    <a:lnTo>
                      <a:pt x="249" y="565"/>
                    </a:lnTo>
                    <a:lnTo>
                      <a:pt x="255" y="574"/>
                    </a:lnTo>
                    <a:lnTo>
                      <a:pt x="265" y="588"/>
                    </a:lnTo>
                    <a:lnTo>
                      <a:pt x="268" y="595"/>
                    </a:lnTo>
                    <a:lnTo>
                      <a:pt x="271" y="603"/>
                    </a:lnTo>
                    <a:lnTo>
                      <a:pt x="272" y="605"/>
                    </a:lnTo>
                    <a:lnTo>
                      <a:pt x="271" y="609"/>
                    </a:lnTo>
                    <a:lnTo>
                      <a:pt x="269" y="611"/>
                    </a:lnTo>
                    <a:lnTo>
                      <a:pt x="268" y="614"/>
                    </a:lnTo>
                    <a:lnTo>
                      <a:pt x="266" y="615"/>
                    </a:lnTo>
                    <a:lnTo>
                      <a:pt x="263" y="615"/>
                    </a:lnTo>
                    <a:lnTo>
                      <a:pt x="261" y="615"/>
                    </a:lnTo>
                    <a:lnTo>
                      <a:pt x="259" y="612"/>
                    </a:lnTo>
                    <a:lnTo>
                      <a:pt x="253" y="607"/>
                    </a:lnTo>
                    <a:lnTo>
                      <a:pt x="245" y="601"/>
                    </a:lnTo>
                    <a:lnTo>
                      <a:pt x="238" y="595"/>
                    </a:lnTo>
                    <a:lnTo>
                      <a:pt x="231" y="589"/>
                    </a:lnTo>
                    <a:lnTo>
                      <a:pt x="224" y="585"/>
                    </a:lnTo>
                    <a:lnTo>
                      <a:pt x="218" y="583"/>
                    </a:lnTo>
                    <a:lnTo>
                      <a:pt x="217" y="585"/>
                    </a:lnTo>
                    <a:lnTo>
                      <a:pt x="215" y="594"/>
                    </a:lnTo>
                    <a:lnTo>
                      <a:pt x="214" y="607"/>
                    </a:lnTo>
                    <a:lnTo>
                      <a:pt x="214" y="622"/>
                    </a:lnTo>
                    <a:lnTo>
                      <a:pt x="215" y="629"/>
                    </a:lnTo>
                    <a:lnTo>
                      <a:pt x="221" y="634"/>
                    </a:lnTo>
                    <a:lnTo>
                      <a:pt x="227" y="639"/>
                    </a:lnTo>
                    <a:lnTo>
                      <a:pt x="232" y="644"/>
                    </a:lnTo>
                    <a:lnTo>
                      <a:pt x="237" y="651"/>
                    </a:lnTo>
                    <a:lnTo>
                      <a:pt x="239" y="657"/>
                    </a:lnTo>
                    <a:lnTo>
                      <a:pt x="239" y="664"/>
                    </a:lnTo>
                    <a:lnTo>
                      <a:pt x="239" y="670"/>
                    </a:lnTo>
                    <a:lnTo>
                      <a:pt x="238" y="675"/>
                    </a:lnTo>
                    <a:lnTo>
                      <a:pt x="239" y="681"/>
                    </a:lnTo>
                    <a:lnTo>
                      <a:pt x="241" y="685"/>
                    </a:lnTo>
                    <a:lnTo>
                      <a:pt x="245" y="689"/>
                    </a:lnTo>
                    <a:lnTo>
                      <a:pt x="253" y="693"/>
                    </a:lnTo>
                    <a:lnTo>
                      <a:pt x="259" y="695"/>
                    </a:lnTo>
                    <a:lnTo>
                      <a:pt x="266" y="700"/>
                    </a:lnTo>
                    <a:lnTo>
                      <a:pt x="272" y="706"/>
                    </a:lnTo>
                    <a:lnTo>
                      <a:pt x="278" y="712"/>
                    </a:lnTo>
                    <a:lnTo>
                      <a:pt x="284" y="718"/>
                    </a:lnTo>
                    <a:lnTo>
                      <a:pt x="290" y="723"/>
                    </a:lnTo>
                    <a:lnTo>
                      <a:pt x="295" y="728"/>
                    </a:lnTo>
                    <a:lnTo>
                      <a:pt x="301" y="730"/>
                    </a:lnTo>
                    <a:lnTo>
                      <a:pt x="300" y="734"/>
                    </a:lnTo>
                    <a:lnTo>
                      <a:pt x="298" y="736"/>
                    </a:lnTo>
                    <a:lnTo>
                      <a:pt x="296" y="737"/>
                    </a:lnTo>
                    <a:lnTo>
                      <a:pt x="294" y="739"/>
                    </a:lnTo>
                    <a:lnTo>
                      <a:pt x="286" y="741"/>
                    </a:lnTo>
                    <a:lnTo>
                      <a:pt x="278" y="741"/>
                    </a:lnTo>
                    <a:lnTo>
                      <a:pt x="267" y="740"/>
                    </a:lnTo>
                    <a:lnTo>
                      <a:pt x="256" y="737"/>
                    </a:lnTo>
                    <a:lnTo>
                      <a:pt x="245" y="735"/>
                    </a:lnTo>
                    <a:lnTo>
                      <a:pt x="232" y="731"/>
                    </a:lnTo>
                    <a:lnTo>
                      <a:pt x="185" y="716"/>
                    </a:lnTo>
                    <a:lnTo>
                      <a:pt x="155" y="707"/>
                    </a:lnTo>
                    <a:lnTo>
                      <a:pt x="155" y="721"/>
                    </a:lnTo>
                    <a:lnTo>
                      <a:pt x="156" y="731"/>
                    </a:lnTo>
                    <a:lnTo>
                      <a:pt x="156" y="740"/>
                    </a:lnTo>
                    <a:lnTo>
                      <a:pt x="159" y="746"/>
                    </a:lnTo>
                    <a:lnTo>
                      <a:pt x="161" y="749"/>
                    </a:lnTo>
                    <a:lnTo>
                      <a:pt x="164" y="752"/>
                    </a:lnTo>
                    <a:lnTo>
                      <a:pt x="166" y="754"/>
                    </a:lnTo>
                    <a:lnTo>
                      <a:pt x="170" y="756"/>
                    </a:lnTo>
                    <a:lnTo>
                      <a:pt x="178" y="759"/>
                    </a:lnTo>
                    <a:lnTo>
                      <a:pt x="190" y="762"/>
                    </a:lnTo>
                    <a:lnTo>
                      <a:pt x="204" y="763"/>
                    </a:lnTo>
                    <a:lnTo>
                      <a:pt x="218" y="763"/>
                    </a:lnTo>
                    <a:lnTo>
                      <a:pt x="232" y="764"/>
                    </a:lnTo>
                    <a:lnTo>
                      <a:pt x="245" y="765"/>
                    </a:lnTo>
                    <a:lnTo>
                      <a:pt x="256" y="768"/>
                    </a:lnTo>
                    <a:lnTo>
                      <a:pt x="266" y="770"/>
                    </a:lnTo>
                    <a:lnTo>
                      <a:pt x="277" y="771"/>
                    </a:lnTo>
                    <a:lnTo>
                      <a:pt x="288" y="771"/>
                    </a:lnTo>
                    <a:lnTo>
                      <a:pt x="285" y="780"/>
                    </a:lnTo>
                    <a:lnTo>
                      <a:pt x="280" y="794"/>
                    </a:lnTo>
                    <a:lnTo>
                      <a:pt x="279" y="801"/>
                    </a:lnTo>
                    <a:lnTo>
                      <a:pt x="278" y="807"/>
                    </a:lnTo>
                    <a:lnTo>
                      <a:pt x="279" y="810"/>
                    </a:lnTo>
                    <a:lnTo>
                      <a:pt x="280" y="811"/>
                    </a:lnTo>
                    <a:lnTo>
                      <a:pt x="282" y="812"/>
                    </a:lnTo>
                    <a:lnTo>
                      <a:pt x="284" y="812"/>
                    </a:lnTo>
                    <a:lnTo>
                      <a:pt x="302" y="802"/>
                    </a:lnTo>
                    <a:lnTo>
                      <a:pt x="319" y="793"/>
                    </a:lnTo>
                    <a:lnTo>
                      <a:pt x="324" y="799"/>
                    </a:lnTo>
                    <a:lnTo>
                      <a:pt x="332" y="811"/>
                    </a:lnTo>
                    <a:lnTo>
                      <a:pt x="339" y="823"/>
                    </a:lnTo>
                    <a:lnTo>
                      <a:pt x="344" y="831"/>
                    </a:lnTo>
                    <a:lnTo>
                      <a:pt x="350" y="840"/>
                    </a:lnTo>
                    <a:lnTo>
                      <a:pt x="360" y="851"/>
                    </a:lnTo>
                    <a:lnTo>
                      <a:pt x="365" y="854"/>
                    </a:lnTo>
                    <a:lnTo>
                      <a:pt x="369" y="855"/>
                    </a:lnTo>
                    <a:lnTo>
                      <a:pt x="372" y="855"/>
                    </a:lnTo>
                    <a:lnTo>
                      <a:pt x="374" y="853"/>
                    </a:lnTo>
                    <a:lnTo>
                      <a:pt x="377" y="851"/>
                    </a:lnTo>
                    <a:lnTo>
                      <a:pt x="378" y="847"/>
                    </a:lnTo>
                    <a:lnTo>
                      <a:pt x="379" y="847"/>
                    </a:lnTo>
                    <a:lnTo>
                      <a:pt x="381" y="831"/>
                    </a:lnTo>
                    <a:lnTo>
                      <a:pt x="384" y="808"/>
                    </a:lnTo>
                    <a:lnTo>
                      <a:pt x="385" y="799"/>
                    </a:lnTo>
                    <a:lnTo>
                      <a:pt x="387" y="789"/>
                    </a:lnTo>
                    <a:lnTo>
                      <a:pt x="389" y="786"/>
                    </a:lnTo>
                    <a:lnTo>
                      <a:pt x="390" y="783"/>
                    </a:lnTo>
                    <a:lnTo>
                      <a:pt x="392" y="781"/>
                    </a:lnTo>
                    <a:lnTo>
                      <a:pt x="395" y="781"/>
                    </a:lnTo>
                    <a:lnTo>
                      <a:pt x="396" y="780"/>
                    </a:lnTo>
                    <a:lnTo>
                      <a:pt x="397" y="780"/>
                    </a:lnTo>
                    <a:lnTo>
                      <a:pt x="398" y="781"/>
                    </a:lnTo>
                    <a:lnTo>
                      <a:pt x="401" y="782"/>
                    </a:lnTo>
                    <a:lnTo>
                      <a:pt x="404" y="787"/>
                    </a:lnTo>
                    <a:lnTo>
                      <a:pt x="405" y="790"/>
                    </a:lnTo>
                    <a:lnTo>
                      <a:pt x="411" y="800"/>
                    </a:lnTo>
                    <a:lnTo>
                      <a:pt x="415" y="811"/>
                    </a:lnTo>
                    <a:lnTo>
                      <a:pt x="416" y="819"/>
                    </a:lnTo>
                    <a:lnTo>
                      <a:pt x="419" y="829"/>
                    </a:lnTo>
                    <a:lnTo>
                      <a:pt x="420" y="837"/>
                    </a:lnTo>
                    <a:lnTo>
                      <a:pt x="424" y="846"/>
                    </a:lnTo>
                    <a:lnTo>
                      <a:pt x="426" y="851"/>
                    </a:lnTo>
                    <a:lnTo>
                      <a:pt x="428" y="857"/>
                    </a:lnTo>
                    <a:lnTo>
                      <a:pt x="433" y="860"/>
                    </a:lnTo>
                    <a:lnTo>
                      <a:pt x="438" y="864"/>
                    </a:lnTo>
                    <a:lnTo>
                      <a:pt x="438" y="864"/>
                    </a:lnTo>
                    <a:lnTo>
                      <a:pt x="439" y="865"/>
                    </a:lnTo>
                    <a:lnTo>
                      <a:pt x="440" y="866"/>
                    </a:lnTo>
                    <a:lnTo>
                      <a:pt x="442" y="867"/>
                    </a:lnTo>
                    <a:lnTo>
                      <a:pt x="442" y="869"/>
                    </a:lnTo>
                    <a:lnTo>
                      <a:pt x="443" y="869"/>
                    </a:lnTo>
                    <a:lnTo>
                      <a:pt x="444" y="870"/>
                    </a:lnTo>
                    <a:lnTo>
                      <a:pt x="445" y="872"/>
                    </a:lnTo>
                    <a:lnTo>
                      <a:pt x="445" y="873"/>
                    </a:lnTo>
                    <a:lnTo>
                      <a:pt x="451" y="878"/>
                    </a:lnTo>
                    <a:lnTo>
                      <a:pt x="455" y="883"/>
                    </a:lnTo>
                    <a:lnTo>
                      <a:pt x="457" y="888"/>
                    </a:lnTo>
                    <a:lnTo>
                      <a:pt x="458" y="893"/>
                    </a:lnTo>
                    <a:lnTo>
                      <a:pt x="456" y="902"/>
                    </a:lnTo>
                    <a:lnTo>
                      <a:pt x="451" y="913"/>
                    </a:lnTo>
                    <a:lnTo>
                      <a:pt x="458" y="926"/>
                    </a:lnTo>
                    <a:lnTo>
                      <a:pt x="467" y="943"/>
                    </a:lnTo>
                    <a:lnTo>
                      <a:pt x="461" y="943"/>
                    </a:lnTo>
                    <a:lnTo>
                      <a:pt x="455" y="947"/>
                    </a:lnTo>
                    <a:lnTo>
                      <a:pt x="450" y="950"/>
                    </a:lnTo>
                    <a:lnTo>
                      <a:pt x="445" y="955"/>
                    </a:lnTo>
                    <a:lnTo>
                      <a:pt x="440" y="960"/>
                    </a:lnTo>
                    <a:lnTo>
                      <a:pt x="437" y="966"/>
                    </a:lnTo>
                    <a:lnTo>
                      <a:pt x="436" y="972"/>
                    </a:lnTo>
                    <a:lnTo>
                      <a:pt x="433" y="978"/>
                    </a:lnTo>
                    <a:lnTo>
                      <a:pt x="433" y="984"/>
                    </a:lnTo>
                    <a:lnTo>
                      <a:pt x="434" y="990"/>
                    </a:lnTo>
                    <a:lnTo>
                      <a:pt x="437" y="994"/>
                    </a:lnTo>
                    <a:lnTo>
                      <a:pt x="442" y="997"/>
                    </a:lnTo>
                    <a:lnTo>
                      <a:pt x="448" y="999"/>
                    </a:lnTo>
                    <a:lnTo>
                      <a:pt x="455" y="999"/>
                    </a:lnTo>
                    <a:lnTo>
                      <a:pt x="464" y="996"/>
                    </a:lnTo>
                    <a:lnTo>
                      <a:pt x="476" y="991"/>
                    </a:lnTo>
                    <a:lnTo>
                      <a:pt x="480" y="991"/>
                    </a:lnTo>
                    <a:lnTo>
                      <a:pt x="484" y="995"/>
                    </a:lnTo>
                    <a:lnTo>
                      <a:pt x="490" y="1000"/>
                    </a:lnTo>
                    <a:lnTo>
                      <a:pt x="496" y="1007"/>
                    </a:lnTo>
                    <a:lnTo>
                      <a:pt x="510" y="1026"/>
                    </a:lnTo>
                    <a:lnTo>
                      <a:pt x="525" y="1050"/>
                    </a:lnTo>
                    <a:lnTo>
                      <a:pt x="538" y="1076"/>
                    </a:lnTo>
                    <a:lnTo>
                      <a:pt x="549" y="1098"/>
                    </a:lnTo>
                    <a:lnTo>
                      <a:pt x="552" y="1109"/>
                    </a:lnTo>
                    <a:lnTo>
                      <a:pt x="555" y="1119"/>
                    </a:lnTo>
                    <a:lnTo>
                      <a:pt x="556" y="1127"/>
                    </a:lnTo>
                    <a:lnTo>
                      <a:pt x="556" y="1133"/>
                    </a:lnTo>
                    <a:lnTo>
                      <a:pt x="553" y="1142"/>
                    </a:lnTo>
                    <a:lnTo>
                      <a:pt x="552" y="1150"/>
                    </a:lnTo>
                    <a:lnTo>
                      <a:pt x="552" y="1157"/>
                    </a:lnTo>
                    <a:lnTo>
                      <a:pt x="552" y="1163"/>
                    </a:lnTo>
                    <a:lnTo>
                      <a:pt x="553" y="1168"/>
                    </a:lnTo>
                    <a:lnTo>
                      <a:pt x="556" y="1172"/>
                    </a:lnTo>
                    <a:lnTo>
                      <a:pt x="558" y="1174"/>
                    </a:lnTo>
                    <a:lnTo>
                      <a:pt x="562" y="1177"/>
                    </a:lnTo>
                    <a:lnTo>
                      <a:pt x="572" y="1179"/>
                    </a:lnTo>
                    <a:lnTo>
                      <a:pt x="584" y="1180"/>
                    </a:lnTo>
                    <a:lnTo>
                      <a:pt x="598" y="1182"/>
                    </a:lnTo>
                    <a:lnTo>
                      <a:pt x="615" y="1182"/>
                    </a:lnTo>
                    <a:lnTo>
                      <a:pt x="628" y="1184"/>
                    </a:lnTo>
                    <a:lnTo>
                      <a:pt x="643" y="1188"/>
                    </a:lnTo>
                    <a:lnTo>
                      <a:pt x="649" y="1188"/>
                    </a:lnTo>
                    <a:lnTo>
                      <a:pt x="655" y="1186"/>
                    </a:lnTo>
                    <a:lnTo>
                      <a:pt x="657" y="1184"/>
                    </a:lnTo>
                    <a:lnTo>
                      <a:pt x="658" y="1182"/>
                    </a:lnTo>
                    <a:lnTo>
                      <a:pt x="659" y="1179"/>
                    </a:lnTo>
                    <a:lnTo>
                      <a:pt x="659" y="1176"/>
                    </a:lnTo>
                    <a:lnTo>
                      <a:pt x="658" y="1168"/>
                    </a:lnTo>
                    <a:lnTo>
                      <a:pt x="656" y="1162"/>
                    </a:lnTo>
                    <a:lnTo>
                      <a:pt x="652" y="1156"/>
                    </a:lnTo>
                    <a:lnTo>
                      <a:pt x="649" y="1150"/>
                    </a:lnTo>
                    <a:lnTo>
                      <a:pt x="645" y="1144"/>
                    </a:lnTo>
                    <a:lnTo>
                      <a:pt x="643" y="1138"/>
                    </a:lnTo>
                    <a:lnTo>
                      <a:pt x="641" y="1131"/>
                    </a:lnTo>
                    <a:lnTo>
                      <a:pt x="641" y="1125"/>
                    </a:lnTo>
                    <a:lnTo>
                      <a:pt x="649" y="1124"/>
                    </a:lnTo>
                    <a:lnTo>
                      <a:pt x="655" y="1123"/>
                    </a:lnTo>
                    <a:lnTo>
                      <a:pt x="659" y="1120"/>
                    </a:lnTo>
                    <a:lnTo>
                      <a:pt x="662" y="1118"/>
                    </a:lnTo>
                    <a:lnTo>
                      <a:pt x="664" y="1114"/>
                    </a:lnTo>
                    <a:lnTo>
                      <a:pt x="664" y="1109"/>
                    </a:lnTo>
                    <a:lnTo>
                      <a:pt x="664" y="1106"/>
                    </a:lnTo>
                    <a:lnTo>
                      <a:pt x="663" y="1101"/>
                    </a:lnTo>
                    <a:lnTo>
                      <a:pt x="658" y="1090"/>
                    </a:lnTo>
                    <a:lnTo>
                      <a:pt x="652" y="1080"/>
                    </a:lnTo>
                    <a:lnTo>
                      <a:pt x="645" y="1072"/>
                    </a:lnTo>
                    <a:lnTo>
                      <a:pt x="640" y="1065"/>
                    </a:lnTo>
                    <a:lnTo>
                      <a:pt x="639" y="1062"/>
                    </a:lnTo>
                    <a:lnTo>
                      <a:pt x="639" y="1061"/>
                    </a:lnTo>
                    <a:lnTo>
                      <a:pt x="640" y="1059"/>
                    </a:lnTo>
                    <a:lnTo>
                      <a:pt x="643" y="1056"/>
                    </a:lnTo>
                    <a:lnTo>
                      <a:pt x="647" y="1050"/>
                    </a:lnTo>
                    <a:lnTo>
                      <a:pt x="651" y="1044"/>
                    </a:lnTo>
                    <a:lnTo>
                      <a:pt x="653" y="1034"/>
                    </a:lnTo>
                    <a:lnTo>
                      <a:pt x="653" y="1021"/>
                    </a:lnTo>
                    <a:lnTo>
                      <a:pt x="653" y="1009"/>
                    </a:lnTo>
                    <a:lnTo>
                      <a:pt x="653" y="999"/>
                    </a:lnTo>
                    <a:lnTo>
                      <a:pt x="641" y="1006"/>
                    </a:lnTo>
                    <a:lnTo>
                      <a:pt x="628" y="1014"/>
                    </a:lnTo>
                    <a:lnTo>
                      <a:pt x="621" y="1017"/>
                    </a:lnTo>
                    <a:lnTo>
                      <a:pt x="614" y="1018"/>
                    </a:lnTo>
                    <a:lnTo>
                      <a:pt x="608" y="1018"/>
                    </a:lnTo>
                    <a:lnTo>
                      <a:pt x="602" y="1017"/>
                    </a:lnTo>
                    <a:lnTo>
                      <a:pt x="596" y="1015"/>
                    </a:lnTo>
                    <a:lnTo>
                      <a:pt x="590" y="1013"/>
                    </a:lnTo>
                    <a:lnTo>
                      <a:pt x="584" y="1011"/>
                    </a:lnTo>
                    <a:lnTo>
                      <a:pt x="579" y="1007"/>
                    </a:lnTo>
                    <a:lnTo>
                      <a:pt x="569" y="997"/>
                    </a:lnTo>
                    <a:lnTo>
                      <a:pt x="561" y="988"/>
                    </a:lnTo>
                    <a:lnTo>
                      <a:pt x="555" y="976"/>
                    </a:lnTo>
                    <a:lnTo>
                      <a:pt x="550" y="964"/>
                    </a:lnTo>
                    <a:lnTo>
                      <a:pt x="567" y="966"/>
                    </a:lnTo>
                    <a:lnTo>
                      <a:pt x="591" y="967"/>
                    </a:lnTo>
                    <a:lnTo>
                      <a:pt x="603" y="966"/>
                    </a:lnTo>
                    <a:lnTo>
                      <a:pt x="614" y="964"/>
                    </a:lnTo>
                    <a:lnTo>
                      <a:pt x="617" y="961"/>
                    </a:lnTo>
                    <a:lnTo>
                      <a:pt x="620" y="959"/>
                    </a:lnTo>
                    <a:lnTo>
                      <a:pt x="622" y="955"/>
                    </a:lnTo>
                    <a:lnTo>
                      <a:pt x="622" y="950"/>
                    </a:lnTo>
                    <a:lnTo>
                      <a:pt x="621" y="950"/>
                    </a:lnTo>
                    <a:lnTo>
                      <a:pt x="617" y="943"/>
                    </a:lnTo>
                    <a:lnTo>
                      <a:pt x="612" y="935"/>
                    </a:lnTo>
                    <a:lnTo>
                      <a:pt x="610" y="930"/>
                    </a:lnTo>
                    <a:lnTo>
                      <a:pt x="609" y="926"/>
                    </a:lnTo>
                    <a:lnTo>
                      <a:pt x="608" y="922"/>
                    </a:lnTo>
                    <a:lnTo>
                      <a:pt x="609" y="918"/>
                    </a:lnTo>
                    <a:lnTo>
                      <a:pt x="610" y="917"/>
                    </a:lnTo>
                    <a:lnTo>
                      <a:pt x="612" y="916"/>
                    </a:lnTo>
                    <a:lnTo>
                      <a:pt x="616" y="916"/>
                    </a:lnTo>
                    <a:lnTo>
                      <a:pt x="618" y="916"/>
                    </a:lnTo>
                    <a:lnTo>
                      <a:pt x="627" y="917"/>
                    </a:lnTo>
                    <a:lnTo>
                      <a:pt x="637" y="917"/>
                    </a:lnTo>
                    <a:lnTo>
                      <a:pt x="640" y="917"/>
                    </a:lnTo>
                    <a:lnTo>
                      <a:pt x="645" y="917"/>
                    </a:lnTo>
                    <a:lnTo>
                      <a:pt x="649" y="916"/>
                    </a:lnTo>
                    <a:lnTo>
                      <a:pt x="651" y="914"/>
                    </a:lnTo>
                    <a:lnTo>
                      <a:pt x="655" y="912"/>
                    </a:lnTo>
                    <a:lnTo>
                      <a:pt x="656" y="908"/>
                    </a:lnTo>
                    <a:lnTo>
                      <a:pt x="657" y="904"/>
                    </a:lnTo>
                    <a:lnTo>
                      <a:pt x="657" y="898"/>
                    </a:lnTo>
                    <a:lnTo>
                      <a:pt x="656" y="888"/>
                    </a:lnTo>
                    <a:lnTo>
                      <a:pt x="656" y="877"/>
                    </a:lnTo>
                    <a:lnTo>
                      <a:pt x="657" y="867"/>
                    </a:lnTo>
                    <a:lnTo>
                      <a:pt x="658" y="857"/>
                    </a:lnTo>
                    <a:lnTo>
                      <a:pt x="662" y="835"/>
                    </a:lnTo>
                    <a:lnTo>
                      <a:pt x="663" y="814"/>
                    </a:lnTo>
                    <a:lnTo>
                      <a:pt x="659" y="816"/>
                    </a:lnTo>
                    <a:lnTo>
                      <a:pt x="656" y="817"/>
                    </a:lnTo>
                    <a:lnTo>
                      <a:pt x="653" y="821"/>
                    </a:lnTo>
                    <a:lnTo>
                      <a:pt x="650" y="824"/>
                    </a:lnTo>
                    <a:lnTo>
                      <a:pt x="644" y="833"/>
                    </a:lnTo>
                    <a:lnTo>
                      <a:pt x="638" y="837"/>
                    </a:lnTo>
                    <a:lnTo>
                      <a:pt x="634" y="839"/>
                    </a:lnTo>
                    <a:lnTo>
                      <a:pt x="628" y="839"/>
                    </a:lnTo>
                    <a:lnTo>
                      <a:pt x="622" y="839"/>
                    </a:lnTo>
                    <a:lnTo>
                      <a:pt x="615" y="837"/>
                    </a:lnTo>
                    <a:lnTo>
                      <a:pt x="597" y="834"/>
                    </a:lnTo>
                    <a:lnTo>
                      <a:pt x="578" y="828"/>
                    </a:lnTo>
                    <a:lnTo>
                      <a:pt x="560" y="821"/>
                    </a:lnTo>
                    <a:lnTo>
                      <a:pt x="544" y="813"/>
                    </a:lnTo>
                    <a:lnTo>
                      <a:pt x="539" y="808"/>
                    </a:lnTo>
                    <a:lnTo>
                      <a:pt x="534" y="804"/>
                    </a:lnTo>
                    <a:lnTo>
                      <a:pt x="533" y="800"/>
                    </a:lnTo>
                    <a:lnTo>
                      <a:pt x="532" y="795"/>
                    </a:lnTo>
                    <a:lnTo>
                      <a:pt x="560" y="796"/>
                    </a:lnTo>
                    <a:lnTo>
                      <a:pt x="587" y="796"/>
                    </a:lnTo>
                    <a:lnTo>
                      <a:pt x="593" y="795"/>
                    </a:lnTo>
                    <a:lnTo>
                      <a:pt x="598" y="793"/>
                    </a:lnTo>
                    <a:lnTo>
                      <a:pt x="603" y="790"/>
                    </a:lnTo>
                    <a:lnTo>
                      <a:pt x="606" y="787"/>
                    </a:lnTo>
                    <a:lnTo>
                      <a:pt x="609" y="783"/>
                    </a:lnTo>
                    <a:lnTo>
                      <a:pt x="610" y="778"/>
                    </a:lnTo>
                    <a:lnTo>
                      <a:pt x="610" y="772"/>
                    </a:lnTo>
                    <a:lnTo>
                      <a:pt x="608" y="765"/>
                    </a:lnTo>
                    <a:lnTo>
                      <a:pt x="604" y="754"/>
                    </a:lnTo>
                    <a:lnTo>
                      <a:pt x="600" y="743"/>
                    </a:lnTo>
                    <a:lnTo>
                      <a:pt x="594" y="731"/>
                    </a:lnTo>
                    <a:lnTo>
                      <a:pt x="590" y="721"/>
                    </a:lnTo>
                    <a:lnTo>
                      <a:pt x="586" y="716"/>
                    </a:lnTo>
                    <a:lnTo>
                      <a:pt x="582" y="711"/>
                    </a:lnTo>
                    <a:lnTo>
                      <a:pt x="579" y="707"/>
                    </a:lnTo>
                    <a:lnTo>
                      <a:pt x="574" y="704"/>
                    </a:lnTo>
                    <a:lnTo>
                      <a:pt x="569" y="701"/>
                    </a:lnTo>
                    <a:lnTo>
                      <a:pt x="564" y="700"/>
                    </a:lnTo>
                    <a:lnTo>
                      <a:pt x="560" y="700"/>
                    </a:lnTo>
                    <a:lnTo>
                      <a:pt x="553" y="701"/>
                    </a:lnTo>
                    <a:lnTo>
                      <a:pt x="551" y="711"/>
                    </a:lnTo>
                    <a:lnTo>
                      <a:pt x="544" y="725"/>
                    </a:lnTo>
                    <a:lnTo>
                      <a:pt x="539" y="731"/>
                    </a:lnTo>
                    <a:lnTo>
                      <a:pt x="534" y="737"/>
                    </a:lnTo>
                    <a:lnTo>
                      <a:pt x="531" y="742"/>
                    </a:lnTo>
                    <a:lnTo>
                      <a:pt x="527" y="743"/>
                    </a:lnTo>
                    <a:lnTo>
                      <a:pt x="523" y="737"/>
                    </a:lnTo>
                    <a:lnTo>
                      <a:pt x="517" y="725"/>
                    </a:lnTo>
                    <a:lnTo>
                      <a:pt x="511" y="711"/>
                    </a:lnTo>
                    <a:lnTo>
                      <a:pt x="505" y="701"/>
                    </a:lnTo>
                    <a:lnTo>
                      <a:pt x="502" y="698"/>
                    </a:lnTo>
                    <a:lnTo>
                      <a:pt x="498" y="695"/>
                    </a:lnTo>
                    <a:lnTo>
                      <a:pt x="495" y="697"/>
                    </a:lnTo>
                    <a:lnTo>
                      <a:pt x="492" y="698"/>
                    </a:lnTo>
                    <a:lnTo>
                      <a:pt x="486" y="705"/>
                    </a:lnTo>
                    <a:lnTo>
                      <a:pt x="481" y="716"/>
                    </a:lnTo>
                    <a:lnTo>
                      <a:pt x="476" y="727"/>
                    </a:lnTo>
                    <a:lnTo>
                      <a:pt x="470" y="735"/>
                    </a:lnTo>
                    <a:lnTo>
                      <a:pt x="467" y="737"/>
                    </a:lnTo>
                    <a:lnTo>
                      <a:pt x="462" y="739"/>
                    </a:lnTo>
                    <a:lnTo>
                      <a:pt x="458" y="739"/>
                    </a:lnTo>
                    <a:lnTo>
                      <a:pt x="452" y="736"/>
                    </a:lnTo>
                    <a:lnTo>
                      <a:pt x="449" y="733"/>
                    </a:lnTo>
                    <a:lnTo>
                      <a:pt x="446" y="730"/>
                    </a:lnTo>
                    <a:lnTo>
                      <a:pt x="445" y="725"/>
                    </a:lnTo>
                    <a:lnTo>
                      <a:pt x="445" y="722"/>
                    </a:lnTo>
                    <a:lnTo>
                      <a:pt x="445" y="718"/>
                    </a:lnTo>
                    <a:lnTo>
                      <a:pt x="446" y="713"/>
                    </a:lnTo>
                    <a:lnTo>
                      <a:pt x="449" y="709"/>
                    </a:lnTo>
                    <a:lnTo>
                      <a:pt x="451" y="704"/>
                    </a:lnTo>
                    <a:lnTo>
                      <a:pt x="457" y="695"/>
                    </a:lnTo>
                    <a:lnTo>
                      <a:pt x="464" y="688"/>
                    </a:lnTo>
                    <a:lnTo>
                      <a:pt x="472" y="682"/>
                    </a:lnTo>
                    <a:lnTo>
                      <a:pt x="478" y="678"/>
                    </a:lnTo>
                    <a:lnTo>
                      <a:pt x="485" y="676"/>
                    </a:lnTo>
                    <a:lnTo>
                      <a:pt x="491" y="672"/>
                    </a:lnTo>
                    <a:lnTo>
                      <a:pt x="496" y="669"/>
                    </a:lnTo>
                    <a:lnTo>
                      <a:pt x="499" y="664"/>
                    </a:lnTo>
                    <a:lnTo>
                      <a:pt x="503" y="659"/>
                    </a:lnTo>
                    <a:lnTo>
                      <a:pt x="505" y="654"/>
                    </a:lnTo>
                    <a:lnTo>
                      <a:pt x="508" y="650"/>
                    </a:lnTo>
                    <a:lnTo>
                      <a:pt x="509" y="645"/>
                    </a:lnTo>
                    <a:lnTo>
                      <a:pt x="509" y="640"/>
                    </a:lnTo>
                    <a:lnTo>
                      <a:pt x="508" y="635"/>
                    </a:lnTo>
                    <a:lnTo>
                      <a:pt x="505" y="632"/>
                    </a:lnTo>
                    <a:lnTo>
                      <a:pt x="503" y="628"/>
                    </a:lnTo>
                    <a:lnTo>
                      <a:pt x="499" y="626"/>
                    </a:lnTo>
                    <a:lnTo>
                      <a:pt x="495" y="623"/>
                    </a:lnTo>
                    <a:lnTo>
                      <a:pt x="489" y="622"/>
                    </a:lnTo>
                    <a:lnTo>
                      <a:pt x="482" y="622"/>
                    </a:lnTo>
                    <a:lnTo>
                      <a:pt x="476" y="623"/>
                    </a:lnTo>
                    <a:lnTo>
                      <a:pt x="472" y="626"/>
                    </a:lnTo>
                    <a:lnTo>
                      <a:pt x="466" y="628"/>
                    </a:lnTo>
                    <a:lnTo>
                      <a:pt x="460" y="632"/>
                    </a:lnTo>
                    <a:lnTo>
                      <a:pt x="448" y="639"/>
                    </a:lnTo>
                    <a:lnTo>
                      <a:pt x="436" y="647"/>
                    </a:lnTo>
                    <a:lnTo>
                      <a:pt x="424" y="657"/>
                    </a:lnTo>
                    <a:lnTo>
                      <a:pt x="411" y="664"/>
                    </a:lnTo>
                    <a:lnTo>
                      <a:pt x="405" y="666"/>
                    </a:lnTo>
                    <a:lnTo>
                      <a:pt x="399" y="669"/>
                    </a:lnTo>
                    <a:lnTo>
                      <a:pt x="395" y="671"/>
                    </a:lnTo>
                    <a:lnTo>
                      <a:pt x="389" y="671"/>
                    </a:lnTo>
                    <a:lnTo>
                      <a:pt x="391" y="665"/>
                    </a:lnTo>
                    <a:lnTo>
                      <a:pt x="396" y="658"/>
                    </a:lnTo>
                    <a:lnTo>
                      <a:pt x="402" y="651"/>
                    </a:lnTo>
                    <a:lnTo>
                      <a:pt x="409" y="642"/>
                    </a:lnTo>
                    <a:lnTo>
                      <a:pt x="416" y="634"/>
                    </a:lnTo>
                    <a:lnTo>
                      <a:pt x="424" y="624"/>
                    </a:lnTo>
                    <a:lnTo>
                      <a:pt x="426" y="621"/>
                    </a:lnTo>
                    <a:lnTo>
                      <a:pt x="427" y="616"/>
                    </a:lnTo>
                    <a:lnTo>
                      <a:pt x="430" y="611"/>
                    </a:lnTo>
                    <a:lnTo>
                      <a:pt x="430" y="606"/>
                    </a:lnTo>
                    <a:lnTo>
                      <a:pt x="430" y="595"/>
                    </a:lnTo>
                    <a:lnTo>
                      <a:pt x="430" y="583"/>
                    </a:lnTo>
                    <a:lnTo>
                      <a:pt x="430" y="570"/>
                    </a:lnTo>
                    <a:lnTo>
                      <a:pt x="432" y="559"/>
                    </a:lnTo>
                    <a:lnTo>
                      <a:pt x="433" y="553"/>
                    </a:lnTo>
                    <a:lnTo>
                      <a:pt x="434" y="549"/>
                    </a:lnTo>
                    <a:lnTo>
                      <a:pt x="437" y="545"/>
                    </a:lnTo>
                    <a:lnTo>
                      <a:pt x="439" y="541"/>
                    </a:lnTo>
                    <a:lnTo>
                      <a:pt x="445" y="541"/>
                    </a:lnTo>
                    <a:lnTo>
                      <a:pt x="450" y="541"/>
                    </a:lnTo>
                    <a:lnTo>
                      <a:pt x="455" y="544"/>
                    </a:lnTo>
                    <a:lnTo>
                      <a:pt x="460" y="545"/>
                    </a:lnTo>
                    <a:lnTo>
                      <a:pt x="469" y="551"/>
                    </a:lnTo>
                    <a:lnTo>
                      <a:pt x="479" y="558"/>
                    </a:lnTo>
                    <a:lnTo>
                      <a:pt x="489" y="563"/>
                    </a:lnTo>
                    <a:lnTo>
                      <a:pt x="497" y="569"/>
                    </a:lnTo>
                    <a:lnTo>
                      <a:pt x="504" y="575"/>
                    </a:lnTo>
                    <a:lnTo>
                      <a:pt x="511" y="582"/>
                    </a:lnTo>
                    <a:lnTo>
                      <a:pt x="516" y="585"/>
                    </a:lnTo>
                    <a:lnTo>
                      <a:pt x="520" y="588"/>
                    </a:lnTo>
                    <a:lnTo>
                      <a:pt x="525" y="589"/>
                    </a:lnTo>
                    <a:lnTo>
                      <a:pt x="528" y="591"/>
                    </a:lnTo>
                    <a:lnTo>
                      <a:pt x="532" y="591"/>
                    </a:lnTo>
                    <a:lnTo>
                      <a:pt x="534" y="589"/>
                    </a:lnTo>
                    <a:lnTo>
                      <a:pt x="537" y="589"/>
                    </a:lnTo>
                    <a:lnTo>
                      <a:pt x="539" y="587"/>
                    </a:lnTo>
                    <a:lnTo>
                      <a:pt x="541" y="583"/>
                    </a:lnTo>
                    <a:lnTo>
                      <a:pt x="543" y="579"/>
                    </a:lnTo>
                    <a:lnTo>
                      <a:pt x="541" y="573"/>
                    </a:lnTo>
                    <a:lnTo>
                      <a:pt x="540" y="567"/>
                    </a:lnTo>
                    <a:lnTo>
                      <a:pt x="538" y="562"/>
                    </a:lnTo>
                    <a:lnTo>
                      <a:pt x="534" y="558"/>
                    </a:lnTo>
                    <a:lnTo>
                      <a:pt x="528" y="550"/>
                    </a:lnTo>
                    <a:lnTo>
                      <a:pt x="521" y="543"/>
                    </a:lnTo>
                    <a:lnTo>
                      <a:pt x="509" y="536"/>
                    </a:lnTo>
                    <a:lnTo>
                      <a:pt x="497" y="533"/>
                    </a:lnTo>
                    <a:lnTo>
                      <a:pt x="460" y="5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59"/>
              <p:cNvSpPr>
                <a:spLocks/>
              </p:cNvSpPr>
              <p:nvPr/>
            </p:nvSpPr>
            <p:spPr bwMode="auto">
              <a:xfrm>
                <a:off x="6737351" y="7646988"/>
                <a:ext cx="25400" cy="22225"/>
              </a:xfrm>
              <a:custGeom>
                <a:avLst/>
                <a:gdLst>
                  <a:gd name="T0" fmla="*/ 58 w 64"/>
                  <a:gd name="T1" fmla="*/ 45 h 56"/>
                  <a:gd name="T2" fmla="*/ 59 w 64"/>
                  <a:gd name="T3" fmla="*/ 34 h 56"/>
                  <a:gd name="T4" fmla="*/ 60 w 64"/>
                  <a:gd name="T5" fmla="*/ 24 h 56"/>
                  <a:gd name="T6" fmla="*/ 61 w 64"/>
                  <a:gd name="T7" fmla="*/ 18 h 56"/>
                  <a:gd name="T8" fmla="*/ 61 w 64"/>
                  <a:gd name="T9" fmla="*/ 11 h 56"/>
                  <a:gd name="T10" fmla="*/ 62 w 64"/>
                  <a:gd name="T11" fmla="*/ 6 h 56"/>
                  <a:gd name="T12" fmla="*/ 64 w 64"/>
                  <a:gd name="T13" fmla="*/ 2 h 56"/>
                  <a:gd name="T14" fmla="*/ 59 w 64"/>
                  <a:gd name="T15" fmla="*/ 2 h 56"/>
                  <a:gd name="T16" fmla="*/ 54 w 64"/>
                  <a:gd name="T17" fmla="*/ 0 h 56"/>
                  <a:gd name="T18" fmla="*/ 41 w 64"/>
                  <a:gd name="T19" fmla="*/ 0 h 56"/>
                  <a:gd name="T20" fmla="*/ 28 w 64"/>
                  <a:gd name="T21" fmla="*/ 0 h 56"/>
                  <a:gd name="T22" fmla="*/ 18 w 64"/>
                  <a:gd name="T23" fmla="*/ 0 h 56"/>
                  <a:gd name="T24" fmla="*/ 10 w 64"/>
                  <a:gd name="T25" fmla="*/ 3 h 56"/>
                  <a:gd name="T26" fmla="*/ 5 w 64"/>
                  <a:gd name="T27" fmla="*/ 6 h 56"/>
                  <a:gd name="T28" fmla="*/ 0 w 64"/>
                  <a:gd name="T29" fmla="*/ 9 h 56"/>
                  <a:gd name="T30" fmla="*/ 1 w 64"/>
                  <a:gd name="T31" fmla="*/ 11 h 56"/>
                  <a:gd name="T32" fmla="*/ 4 w 64"/>
                  <a:gd name="T33" fmla="*/ 14 h 56"/>
                  <a:gd name="T34" fmla="*/ 7 w 64"/>
                  <a:gd name="T35" fmla="*/ 16 h 56"/>
                  <a:gd name="T36" fmla="*/ 10 w 64"/>
                  <a:gd name="T37" fmla="*/ 18 h 56"/>
                  <a:gd name="T38" fmla="*/ 14 w 64"/>
                  <a:gd name="T39" fmla="*/ 27 h 56"/>
                  <a:gd name="T40" fmla="*/ 18 w 64"/>
                  <a:gd name="T41" fmla="*/ 35 h 56"/>
                  <a:gd name="T42" fmla="*/ 22 w 64"/>
                  <a:gd name="T43" fmla="*/ 40 h 56"/>
                  <a:gd name="T44" fmla="*/ 28 w 64"/>
                  <a:gd name="T45" fmla="*/ 45 h 56"/>
                  <a:gd name="T46" fmla="*/ 30 w 64"/>
                  <a:gd name="T47" fmla="*/ 47 h 56"/>
                  <a:gd name="T48" fmla="*/ 32 w 64"/>
                  <a:gd name="T49" fmla="*/ 50 h 56"/>
                  <a:gd name="T50" fmla="*/ 34 w 64"/>
                  <a:gd name="T51" fmla="*/ 52 h 56"/>
                  <a:gd name="T52" fmla="*/ 35 w 64"/>
                  <a:gd name="T53" fmla="*/ 56 h 56"/>
                  <a:gd name="T54" fmla="*/ 58 w 64"/>
                  <a:gd name="T55" fmla="*/ 4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" h="56">
                    <a:moveTo>
                      <a:pt x="58" y="45"/>
                    </a:moveTo>
                    <a:lnTo>
                      <a:pt x="59" y="34"/>
                    </a:lnTo>
                    <a:lnTo>
                      <a:pt x="60" y="24"/>
                    </a:lnTo>
                    <a:lnTo>
                      <a:pt x="61" y="18"/>
                    </a:lnTo>
                    <a:lnTo>
                      <a:pt x="61" y="11"/>
                    </a:lnTo>
                    <a:lnTo>
                      <a:pt x="62" y="6"/>
                    </a:lnTo>
                    <a:lnTo>
                      <a:pt x="64" y="2"/>
                    </a:lnTo>
                    <a:lnTo>
                      <a:pt x="59" y="2"/>
                    </a:lnTo>
                    <a:lnTo>
                      <a:pt x="54" y="0"/>
                    </a:lnTo>
                    <a:lnTo>
                      <a:pt x="41" y="0"/>
                    </a:lnTo>
                    <a:lnTo>
                      <a:pt x="2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5" y="6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10" y="18"/>
                    </a:lnTo>
                    <a:lnTo>
                      <a:pt x="14" y="27"/>
                    </a:lnTo>
                    <a:lnTo>
                      <a:pt x="18" y="35"/>
                    </a:lnTo>
                    <a:lnTo>
                      <a:pt x="22" y="40"/>
                    </a:lnTo>
                    <a:lnTo>
                      <a:pt x="28" y="45"/>
                    </a:lnTo>
                    <a:lnTo>
                      <a:pt x="30" y="47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5" y="56"/>
                    </a:lnTo>
                    <a:lnTo>
                      <a:pt x="58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60"/>
              <p:cNvSpPr>
                <a:spLocks/>
              </p:cNvSpPr>
              <p:nvPr/>
            </p:nvSpPr>
            <p:spPr bwMode="auto">
              <a:xfrm>
                <a:off x="6729413" y="7715250"/>
                <a:ext cx="17463" cy="17463"/>
              </a:xfrm>
              <a:custGeom>
                <a:avLst/>
                <a:gdLst>
                  <a:gd name="T0" fmla="*/ 42 w 42"/>
                  <a:gd name="T1" fmla="*/ 2 h 42"/>
                  <a:gd name="T2" fmla="*/ 37 w 42"/>
                  <a:gd name="T3" fmla="*/ 4 h 42"/>
                  <a:gd name="T4" fmla="*/ 31 w 42"/>
                  <a:gd name="T5" fmla="*/ 6 h 42"/>
                  <a:gd name="T6" fmla="*/ 25 w 42"/>
                  <a:gd name="T7" fmla="*/ 6 h 42"/>
                  <a:gd name="T8" fmla="*/ 19 w 42"/>
                  <a:gd name="T9" fmla="*/ 6 h 42"/>
                  <a:gd name="T10" fmla="*/ 9 w 42"/>
                  <a:gd name="T11" fmla="*/ 2 h 42"/>
                  <a:gd name="T12" fmla="*/ 0 w 42"/>
                  <a:gd name="T13" fmla="*/ 0 h 42"/>
                  <a:gd name="T14" fmla="*/ 0 w 42"/>
                  <a:gd name="T15" fmla="*/ 20 h 42"/>
                  <a:gd name="T16" fmla="*/ 0 w 42"/>
                  <a:gd name="T17" fmla="*/ 27 h 42"/>
                  <a:gd name="T18" fmla="*/ 0 w 42"/>
                  <a:gd name="T19" fmla="*/ 35 h 42"/>
                  <a:gd name="T20" fmla="*/ 1 w 42"/>
                  <a:gd name="T21" fmla="*/ 37 h 42"/>
                  <a:gd name="T22" fmla="*/ 2 w 42"/>
                  <a:gd name="T23" fmla="*/ 39 h 42"/>
                  <a:gd name="T24" fmla="*/ 3 w 42"/>
                  <a:gd name="T25" fmla="*/ 41 h 42"/>
                  <a:gd name="T26" fmla="*/ 4 w 42"/>
                  <a:gd name="T27" fmla="*/ 42 h 42"/>
                  <a:gd name="T28" fmla="*/ 7 w 42"/>
                  <a:gd name="T29" fmla="*/ 42 h 42"/>
                  <a:gd name="T30" fmla="*/ 9 w 42"/>
                  <a:gd name="T31" fmla="*/ 42 h 42"/>
                  <a:gd name="T32" fmla="*/ 16 w 42"/>
                  <a:gd name="T33" fmla="*/ 36 h 42"/>
                  <a:gd name="T34" fmla="*/ 23 w 42"/>
                  <a:gd name="T35" fmla="*/ 30 h 42"/>
                  <a:gd name="T36" fmla="*/ 27 w 42"/>
                  <a:gd name="T37" fmla="*/ 24 h 42"/>
                  <a:gd name="T38" fmla="*/ 33 w 42"/>
                  <a:gd name="T39" fmla="*/ 20 h 42"/>
                  <a:gd name="T40" fmla="*/ 42 w 42"/>
                  <a:gd name="T4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" h="42">
                    <a:moveTo>
                      <a:pt x="42" y="2"/>
                    </a:moveTo>
                    <a:lnTo>
                      <a:pt x="37" y="4"/>
                    </a:lnTo>
                    <a:lnTo>
                      <a:pt x="31" y="6"/>
                    </a:lnTo>
                    <a:lnTo>
                      <a:pt x="25" y="6"/>
                    </a:lnTo>
                    <a:lnTo>
                      <a:pt x="19" y="6"/>
                    </a:lnTo>
                    <a:lnTo>
                      <a:pt x="9" y="2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2" y="39"/>
                    </a:lnTo>
                    <a:lnTo>
                      <a:pt x="3" y="41"/>
                    </a:lnTo>
                    <a:lnTo>
                      <a:pt x="4" y="42"/>
                    </a:lnTo>
                    <a:lnTo>
                      <a:pt x="7" y="42"/>
                    </a:lnTo>
                    <a:lnTo>
                      <a:pt x="9" y="42"/>
                    </a:lnTo>
                    <a:lnTo>
                      <a:pt x="16" y="36"/>
                    </a:lnTo>
                    <a:lnTo>
                      <a:pt x="23" y="30"/>
                    </a:lnTo>
                    <a:lnTo>
                      <a:pt x="27" y="24"/>
                    </a:lnTo>
                    <a:lnTo>
                      <a:pt x="33" y="20"/>
                    </a:lnTo>
                    <a:lnTo>
                      <a:pt x="4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61"/>
              <p:cNvSpPr>
                <a:spLocks/>
              </p:cNvSpPr>
              <p:nvPr/>
            </p:nvSpPr>
            <p:spPr bwMode="auto">
              <a:xfrm>
                <a:off x="6794501" y="7708900"/>
                <a:ext cx="9525" cy="23813"/>
              </a:xfrm>
              <a:custGeom>
                <a:avLst/>
                <a:gdLst>
                  <a:gd name="T0" fmla="*/ 23 w 24"/>
                  <a:gd name="T1" fmla="*/ 33 h 58"/>
                  <a:gd name="T2" fmla="*/ 23 w 24"/>
                  <a:gd name="T3" fmla="*/ 14 h 58"/>
                  <a:gd name="T4" fmla="*/ 24 w 24"/>
                  <a:gd name="T5" fmla="*/ 11 h 58"/>
                  <a:gd name="T6" fmla="*/ 23 w 24"/>
                  <a:gd name="T7" fmla="*/ 7 h 58"/>
                  <a:gd name="T8" fmla="*/ 23 w 24"/>
                  <a:gd name="T9" fmla="*/ 5 h 58"/>
                  <a:gd name="T10" fmla="*/ 22 w 24"/>
                  <a:gd name="T11" fmla="*/ 1 h 58"/>
                  <a:gd name="T12" fmla="*/ 21 w 24"/>
                  <a:gd name="T13" fmla="*/ 0 h 58"/>
                  <a:gd name="T14" fmla="*/ 13 w 24"/>
                  <a:gd name="T15" fmla="*/ 0 h 58"/>
                  <a:gd name="T16" fmla="*/ 7 w 24"/>
                  <a:gd name="T17" fmla="*/ 0 h 58"/>
                  <a:gd name="T18" fmla="*/ 5 w 24"/>
                  <a:gd name="T19" fmla="*/ 1 h 58"/>
                  <a:gd name="T20" fmla="*/ 4 w 24"/>
                  <a:gd name="T21" fmla="*/ 4 h 58"/>
                  <a:gd name="T22" fmla="*/ 0 w 24"/>
                  <a:gd name="T23" fmla="*/ 6 h 58"/>
                  <a:gd name="T24" fmla="*/ 0 w 24"/>
                  <a:gd name="T25" fmla="*/ 10 h 58"/>
                  <a:gd name="T26" fmla="*/ 0 w 24"/>
                  <a:gd name="T27" fmla="*/ 13 h 58"/>
                  <a:gd name="T28" fmla="*/ 1 w 24"/>
                  <a:gd name="T29" fmla="*/ 17 h 58"/>
                  <a:gd name="T30" fmla="*/ 3 w 24"/>
                  <a:gd name="T31" fmla="*/ 23 h 58"/>
                  <a:gd name="T32" fmla="*/ 4 w 24"/>
                  <a:gd name="T33" fmla="*/ 29 h 58"/>
                  <a:gd name="T34" fmla="*/ 4 w 24"/>
                  <a:gd name="T35" fmla="*/ 33 h 58"/>
                  <a:gd name="T36" fmla="*/ 4 w 24"/>
                  <a:gd name="T37" fmla="*/ 36 h 58"/>
                  <a:gd name="T38" fmla="*/ 4 w 24"/>
                  <a:gd name="T39" fmla="*/ 39 h 58"/>
                  <a:gd name="T40" fmla="*/ 5 w 24"/>
                  <a:gd name="T41" fmla="*/ 41 h 58"/>
                  <a:gd name="T42" fmla="*/ 5 w 24"/>
                  <a:gd name="T43" fmla="*/ 41 h 58"/>
                  <a:gd name="T44" fmla="*/ 5 w 24"/>
                  <a:gd name="T45" fmla="*/ 43 h 58"/>
                  <a:gd name="T46" fmla="*/ 6 w 24"/>
                  <a:gd name="T47" fmla="*/ 46 h 58"/>
                  <a:gd name="T48" fmla="*/ 7 w 24"/>
                  <a:gd name="T49" fmla="*/ 48 h 58"/>
                  <a:gd name="T50" fmla="*/ 10 w 24"/>
                  <a:gd name="T51" fmla="*/ 49 h 58"/>
                  <a:gd name="T52" fmla="*/ 12 w 24"/>
                  <a:gd name="T53" fmla="*/ 53 h 58"/>
                  <a:gd name="T54" fmla="*/ 13 w 24"/>
                  <a:gd name="T55" fmla="*/ 55 h 58"/>
                  <a:gd name="T56" fmla="*/ 13 w 24"/>
                  <a:gd name="T57" fmla="*/ 57 h 58"/>
                  <a:gd name="T58" fmla="*/ 15 w 24"/>
                  <a:gd name="T59" fmla="*/ 58 h 58"/>
                  <a:gd name="T60" fmla="*/ 17 w 24"/>
                  <a:gd name="T61" fmla="*/ 58 h 58"/>
                  <a:gd name="T62" fmla="*/ 23 w 24"/>
                  <a:gd name="T63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58">
                    <a:moveTo>
                      <a:pt x="23" y="33"/>
                    </a:moveTo>
                    <a:lnTo>
                      <a:pt x="23" y="14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2" y="1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3" y="23"/>
                    </a:lnTo>
                    <a:lnTo>
                      <a:pt x="4" y="29"/>
                    </a:lnTo>
                    <a:lnTo>
                      <a:pt x="4" y="33"/>
                    </a:lnTo>
                    <a:lnTo>
                      <a:pt x="4" y="36"/>
                    </a:lnTo>
                    <a:lnTo>
                      <a:pt x="4" y="39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3"/>
                    </a:lnTo>
                    <a:lnTo>
                      <a:pt x="6" y="46"/>
                    </a:lnTo>
                    <a:lnTo>
                      <a:pt x="7" y="48"/>
                    </a:lnTo>
                    <a:lnTo>
                      <a:pt x="10" y="49"/>
                    </a:lnTo>
                    <a:lnTo>
                      <a:pt x="12" y="53"/>
                    </a:lnTo>
                    <a:lnTo>
                      <a:pt x="13" y="55"/>
                    </a:lnTo>
                    <a:lnTo>
                      <a:pt x="13" y="57"/>
                    </a:lnTo>
                    <a:lnTo>
                      <a:pt x="15" y="58"/>
                    </a:lnTo>
                    <a:lnTo>
                      <a:pt x="17" y="58"/>
                    </a:lnTo>
                    <a:lnTo>
                      <a:pt x="23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62"/>
              <p:cNvSpPr>
                <a:spLocks/>
              </p:cNvSpPr>
              <p:nvPr/>
            </p:nvSpPr>
            <p:spPr bwMode="auto">
              <a:xfrm>
                <a:off x="6840538" y="7743825"/>
                <a:ext cx="20638" cy="30163"/>
              </a:xfrm>
              <a:custGeom>
                <a:avLst/>
                <a:gdLst>
                  <a:gd name="T0" fmla="*/ 49 w 50"/>
                  <a:gd name="T1" fmla="*/ 41 h 76"/>
                  <a:gd name="T2" fmla="*/ 43 w 50"/>
                  <a:gd name="T3" fmla="*/ 29 h 76"/>
                  <a:gd name="T4" fmla="*/ 41 w 50"/>
                  <a:gd name="T5" fmla="*/ 17 h 76"/>
                  <a:gd name="T6" fmla="*/ 40 w 50"/>
                  <a:gd name="T7" fmla="*/ 12 h 76"/>
                  <a:gd name="T8" fmla="*/ 41 w 50"/>
                  <a:gd name="T9" fmla="*/ 6 h 76"/>
                  <a:gd name="T10" fmla="*/ 40 w 50"/>
                  <a:gd name="T11" fmla="*/ 3 h 76"/>
                  <a:gd name="T12" fmla="*/ 40 w 50"/>
                  <a:gd name="T13" fmla="*/ 0 h 76"/>
                  <a:gd name="T14" fmla="*/ 25 w 50"/>
                  <a:gd name="T15" fmla="*/ 1 h 76"/>
                  <a:gd name="T16" fmla="*/ 12 w 50"/>
                  <a:gd name="T17" fmla="*/ 1 h 76"/>
                  <a:gd name="T18" fmla="*/ 6 w 50"/>
                  <a:gd name="T19" fmla="*/ 2 h 76"/>
                  <a:gd name="T20" fmla="*/ 2 w 50"/>
                  <a:gd name="T21" fmla="*/ 3 h 76"/>
                  <a:gd name="T22" fmla="*/ 1 w 50"/>
                  <a:gd name="T23" fmla="*/ 7 h 76"/>
                  <a:gd name="T24" fmla="*/ 0 w 50"/>
                  <a:gd name="T25" fmla="*/ 13 h 76"/>
                  <a:gd name="T26" fmla="*/ 1 w 50"/>
                  <a:gd name="T27" fmla="*/ 24 h 76"/>
                  <a:gd name="T28" fmla="*/ 5 w 50"/>
                  <a:gd name="T29" fmla="*/ 34 h 76"/>
                  <a:gd name="T30" fmla="*/ 8 w 50"/>
                  <a:gd name="T31" fmla="*/ 41 h 76"/>
                  <a:gd name="T32" fmla="*/ 12 w 50"/>
                  <a:gd name="T33" fmla="*/ 48 h 76"/>
                  <a:gd name="T34" fmla="*/ 15 w 50"/>
                  <a:gd name="T35" fmla="*/ 54 h 76"/>
                  <a:gd name="T36" fmla="*/ 22 w 50"/>
                  <a:gd name="T37" fmla="*/ 60 h 76"/>
                  <a:gd name="T38" fmla="*/ 24 w 50"/>
                  <a:gd name="T39" fmla="*/ 62 h 76"/>
                  <a:gd name="T40" fmla="*/ 29 w 50"/>
                  <a:gd name="T41" fmla="*/ 67 h 76"/>
                  <a:gd name="T42" fmla="*/ 32 w 50"/>
                  <a:gd name="T43" fmla="*/ 72 h 76"/>
                  <a:gd name="T44" fmla="*/ 37 w 50"/>
                  <a:gd name="T45" fmla="*/ 73 h 76"/>
                  <a:gd name="T46" fmla="*/ 37 w 50"/>
                  <a:gd name="T47" fmla="*/ 74 h 76"/>
                  <a:gd name="T48" fmla="*/ 40 w 50"/>
                  <a:gd name="T49" fmla="*/ 74 h 76"/>
                  <a:gd name="T50" fmla="*/ 41 w 50"/>
                  <a:gd name="T51" fmla="*/ 76 h 76"/>
                  <a:gd name="T52" fmla="*/ 42 w 50"/>
                  <a:gd name="T53" fmla="*/ 76 h 76"/>
                  <a:gd name="T54" fmla="*/ 47 w 50"/>
                  <a:gd name="T55" fmla="*/ 66 h 76"/>
                  <a:gd name="T56" fmla="*/ 50 w 50"/>
                  <a:gd name="T57" fmla="*/ 56 h 76"/>
                  <a:gd name="T58" fmla="*/ 49 w 50"/>
                  <a:gd name="T59" fmla="*/ 4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76">
                    <a:moveTo>
                      <a:pt x="49" y="41"/>
                    </a:moveTo>
                    <a:lnTo>
                      <a:pt x="43" y="29"/>
                    </a:lnTo>
                    <a:lnTo>
                      <a:pt x="41" y="17"/>
                    </a:lnTo>
                    <a:lnTo>
                      <a:pt x="40" y="12"/>
                    </a:lnTo>
                    <a:lnTo>
                      <a:pt x="41" y="6"/>
                    </a:lnTo>
                    <a:lnTo>
                      <a:pt x="40" y="3"/>
                    </a:lnTo>
                    <a:lnTo>
                      <a:pt x="40" y="0"/>
                    </a:lnTo>
                    <a:lnTo>
                      <a:pt x="25" y="1"/>
                    </a:lnTo>
                    <a:lnTo>
                      <a:pt x="12" y="1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24"/>
                    </a:lnTo>
                    <a:lnTo>
                      <a:pt x="5" y="34"/>
                    </a:lnTo>
                    <a:lnTo>
                      <a:pt x="8" y="41"/>
                    </a:lnTo>
                    <a:lnTo>
                      <a:pt x="12" y="48"/>
                    </a:lnTo>
                    <a:lnTo>
                      <a:pt x="15" y="54"/>
                    </a:lnTo>
                    <a:lnTo>
                      <a:pt x="22" y="60"/>
                    </a:lnTo>
                    <a:lnTo>
                      <a:pt x="24" y="62"/>
                    </a:lnTo>
                    <a:lnTo>
                      <a:pt x="29" y="67"/>
                    </a:lnTo>
                    <a:lnTo>
                      <a:pt x="32" y="72"/>
                    </a:lnTo>
                    <a:lnTo>
                      <a:pt x="37" y="73"/>
                    </a:lnTo>
                    <a:lnTo>
                      <a:pt x="37" y="74"/>
                    </a:lnTo>
                    <a:lnTo>
                      <a:pt x="40" y="74"/>
                    </a:lnTo>
                    <a:lnTo>
                      <a:pt x="41" y="76"/>
                    </a:lnTo>
                    <a:lnTo>
                      <a:pt x="42" y="76"/>
                    </a:lnTo>
                    <a:lnTo>
                      <a:pt x="47" y="66"/>
                    </a:lnTo>
                    <a:lnTo>
                      <a:pt x="50" y="56"/>
                    </a:lnTo>
                    <a:lnTo>
                      <a:pt x="49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63"/>
              <p:cNvSpPr>
                <a:spLocks/>
              </p:cNvSpPr>
              <p:nvPr/>
            </p:nvSpPr>
            <p:spPr bwMode="auto">
              <a:xfrm>
                <a:off x="6875463" y="7815263"/>
                <a:ext cx="22225" cy="25400"/>
              </a:xfrm>
              <a:custGeom>
                <a:avLst/>
                <a:gdLst>
                  <a:gd name="T0" fmla="*/ 43 w 53"/>
                  <a:gd name="T1" fmla="*/ 64 h 64"/>
                  <a:gd name="T2" fmla="*/ 46 w 53"/>
                  <a:gd name="T3" fmla="*/ 62 h 64"/>
                  <a:gd name="T4" fmla="*/ 47 w 53"/>
                  <a:gd name="T5" fmla="*/ 59 h 64"/>
                  <a:gd name="T6" fmla="*/ 49 w 53"/>
                  <a:gd name="T7" fmla="*/ 48 h 64"/>
                  <a:gd name="T8" fmla="*/ 50 w 53"/>
                  <a:gd name="T9" fmla="*/ 36 h 64"/>
                  <a:gd name="T10" fmla="*/ 53 w 53"/>
                  <a:gd name="T11" fmla="*/ 34 h 64"/>
                  <a:gd name="T12" fmla="*/ 53 w 53"/>
                  <a:gd name="T13" fmla="*/ 31 h 64"/>
                  <a:gd name="T14" fmla="*/ 46 w 53"/>
                  <a:gd name="T15" fmla="*/ 29 h 64"/>
                  <a:gd name="T16" fmla="*/ 40 w 53"/>
                  <a:gd name="T17" fmla="*/ 25 h 64"/>
                  <a:gd name="T18" fmla="*/ 34 w 53"/>
                  <a:gd name="T19" fmla="*/ 22 h 64"/>
                  <a:gd name="T20" fmla="*/ 28 w 53"/>
                  <a:gd name="T21" fmla="*/ 16 h 64"/>
                  <a:gd name="T22" fmla="*/ 22 w 53"/>
                  <a:gd name="T23" fmla="*/ 11 h 64"/>
                  <a:gd name="T24" fmla="*/ 16 w 53"/>
                  <a:gd name="T25" fmla="*/ 5 h 64"/>
                  <a:gd name="T26" fmla="*/ 13 w 53"/>
                  <a:gd name="T27" fmla="*/ 4 h 64"/>
                  <a:gd name="T28" fmla="*/ 11 w 53"/>
                  <a:gd name="T29" fmla="*/ 1 h 64"/>
                  <a:gd name="T30" fmla="*/ 8 w 53"/>
                  <a:gd name="T31" fmla="*/ 1 h 64"/>
                  <a:gd name="T32" fmla="*/ 7 w 53"/>
                  <a:gd name="T33" fmla="*/ 0 h 64"/>
                  <a:gd name="T34" fmla="*/ 5 w 53"/>
                  <a:gd name="T35" fmla="*/ 1 h 64"/>
                  <a:gd name="T36" fmla="*/ 4 w 53"/>
                  <a:gd name="T37" fmla="*/ 4 h 64"/>
                  <a:gd name="T38" fmla="*/ 2 w 53"/>
                  <a:gd name="T39" fmla="*/ 5 h 64"/>
                  <a:gd name="T40" fmla="*/ 1 w 53"/>
                  <a:gd name="T41" fmla="*/ 12 h 64"/>
                  <a:gd name="T42" fmla="*/ 0 w 53"/>
                  <a:gd name="T43" fmla="*/ 19 h 64"/>
                  <a:gd name="T44" fmla="*/ 0 w 53"/>
                  <a:gd name="T45" fmla="*/ 25 h 64"/>
                  <a:gd name="T46" fmla="*/ 1 w 53"/>
                  <a:gd name="T47" fmla="*/ 29 h 64"/>
                  <a:gd name="T48" fmla="*/ 1 w 53"/>
                  <a:gd name="T49" fmla="*/ 31 h 64"/>
                  <a:gd name="T50" fmla="*/ 2 w 53"/>
                  <a:gd name="T51" fmla="*/ 33 h 64"/>
                  <a:gd name="T52" fmla="*/ 4 w 53"/>
                  <a:gd name="T53" fmla="*/ 34 h 64"/>
                  <a:gd name="T54" fmla="*/ 7 w 53"/>
                  <a:gd name="T55" fmla="*/ 37 h 64"/>
                  <a:gd name="T56" fmla="*/ 10 w 53"/>
                  <a:gd name="T57" fmla="*/ 42 h 64"/>
                  <a:gd name="T58" fmla="*/ 12 w 53"/>
                  <a:gd name="T59" fmla="*/ 51 h 64"/>
                  <a:gd name="T60" fmla="*/ 16 w 53"/>
                  <a:gd name="T61" fmla="*/ 59 h 64"/>
                  <a:gd name="T62" fmla="*/ 18 w 53"/>
                  <a:gd name="T63" fmla="*/ 59 h 64"/>
                  <a:gd name="T64" fmla="*/ 43 w 53"/>
                  <a:gd name="T6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3" h="64">
                    <a:moveTo>
                      <a:pt x="43" y="64"/>
                    </a:moveTo>
                    <a:lnTo>
                      <a:pt x="46" y="62"/>
                    </a:lnTo>
                    <a:lnTo>
                      <a:pt x="47" y="59"/>
                    </a:lnTo>
                    <a:lnTo>
                      <a:pt x="49" y="48"/>
                    </a:lnTo>
                    <a:lnTo>
                      <a:pt x="50" y="36"/>
                    </a:lnTo>
                    <a:lnTo>
                      <a:pt x="53" y="34"/>
                    </a:lnTo>
                    <a:lnTo>
                      <a:pt x="53" y="31"/>
                    </a:lnTo>
                    <a:lnTo>
                      <a:pt x="46" y="29"/>
                    </a:lnTo>
                    <a:lnTo>
                      <a:pt x="40" y="25"/>
                    </a:lnTo>
                    <a:lnTo>
                      <a:pt x="34" y="22"/>
                    </a:lnTo>
                    <a:lnTo>
                      <a:pt x="28" y="16"/>
                    </a:lnTo>
                    <a:lnTo>
                      <a:pt x="22" y="11"/>
                    </a:lnTo>
                    <a:lnTo>
                      <a:pt x="16" y="5"/>
                    </a:lnTo>
                    <a:lnTo>
                      <a:pt x="13" y="4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1" y="12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1" y="31"/>
                    </a:lnTo>
                    <a:lnTo>
                      <a:pt x="2" y="33"/>
                    </a:lnTo>
                    <a:lnTo>
                      <a:pt x="4" y="34"/>
                    </a:lnTo>
                    <a:lnTo>
                      <a:pt x="7" y="37"/>
                    </a:lnTo>
                    <a:lnTo>
                      <a:pt x="10" y="42"/>
                    </a:lnTo>
                    <a:lnTo>
                      <a:pt x="12" y="51"/>
                    </a:lnTo>
                    <a:lnTo>
                      <a:pt x="16" y="59"/>
                    </a:lnTo>
                    <a:lnTo>
                      <a:pt x="18" y="59"/>
                    </a:lnTo>
                    <a:lnTo>
                      <a:pt x="43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64"/>
              <p:cNvSpPr>
                <a:spLocks/>
              </p:cNvSpPr>
              <p:nvPr/>
            </p:nvSpPr>
            <p:spPr bwMode="auto">
              <a:xfrm>
                <a:off x="6872288" y="7881938"/>
                <a:ext cx="28575" cy="33338"/>
              </a:xfrm>
              <a:custGeom>
                <a:avLst/>
                <a:gdLst>
                  <a:gd name="T0" fmla="*/ 50 w 71"/>
                  <a:gd name="T1" fmla="*/ 0 h 84"/>
                  <a:gd name="T2" fmla="*/ 39 w 71"/>
                  <a:gd name="T3" fmla="*/ 4 h 84"/>
                  <a:gd name="T4" fmla="*/ 28 w 71"/>
                  <a:gd name="T5" fmla="*/ 9 h 84"/>
                  <a:gd name="T6" fmla="*/ 24 w 71"/>
                  <a:gd name="T7" fmla="*/ 13 h 84"/>
                  <a:gd name="T8" fmla="*/ 21 w 71"/>
                  <a:gd name="T9" fmla="*/ 17 h 84"/>
                  <a:gd name="T10" fmla="*/ 18 w 71"/>
                  <a:gd name="T11" fmla="*/ 21 h 84"/>
                  <a:gd name="T12" fmla="*/ 17 w 71"/>
                  <a:gd name="T13" fmla="*/ 26 h 84"/>
                  <a:gd name="T14" fmla="*/ 18 w 71"/>
                  <a:gd name="T15" fmla="*/ 33 h 84"/>
                  <a:gd name="T16" fmla="*/ 20 w 71"/>
                  <a:gd name="T17" fmla="*/ 41 h 84"/>
                  <a:gd name="T18" fmla="*/ 12 w 71"/>
                  <a:gd name="T19" fmla="*/ 50 h 84"/>
                  <a:gd name="T20" fmla="*/ 4 w 71"/>
                  <a:gd name="T21" fmla="*/ 59 h 84"/>
                  <a:gd name="T22" fmla="*/ 1 w 71"/>
                  <a:gd name="T23" fmla="*/ 62 h 84"/>
                  <a:gd name="T24" fmla="*/ 0 w 71"/>
                  <a:gd name="T25" fmla="*/ 67 h 84"/>
                  <a:gd name="T26" fmla="*/ 0 w 71"/>
                  <a:gd name="T27" fmla="*/ 73 h 84"/>
                  <a:gd name="T28" fmla="*/ 3 w 71"/>
                  <a:gd name="T29" fmla="*/ 77 h 84"/>
                  <a:gd name="T30" fmla="*/ 6 w 71"/>
                  <a:gd name="T31" fmla="*/ 79 h 84"/>
                  <a:gd name="T32" fmla="*/ 10 w 71"/>
                  <a:gd name="T33" fmla="*/ 82 h 84"/>
                  <a:gd name="T34" fmla="*/ 14 w 71"/>
                  <a:gd name="T35" fmla="*/ 83 h 84"/>
                  <a:gd name="T36" fmla="*/ 18 w 71"/>
                  <a:gd name="T37" fmla="*/ 84 h 84"/>
                  <a:gd name="T38" fmla="*/ 26 w 71"/>
                  <a:gd name="T39" fmla="*/ 83 h 84"/>
                  <a:gd name="T40" fmla="*/ 34 w 71"/>
                  <a:gd name="T41" fmla="*/ 80 h 84"/>
                  <a:gd name="T42" fmla="*/ 44 w 71"/>
                  <a:gd name="T43" fmla="*/ 79 h 84"/>
                  <a:gd name="T44" fmla="*/ 52 w 71"/>
                  <a:gd name="T45" fmla="*/ 77 h 84"/>
                  <a:gd name="T46" fmla="*/ 60 w 71"/>
                  <a:gd name="T47" fmla="*/ 77 h 84"/>
                  <a:gd name="T48" fmla="*/ 69 w 71"/>
                  <a:gd name="T49" fmla="*/ 75 h 84"/>
                  <a:gd name="T50" fmla="*/ 70 w 71"/>
                  <a:gd name="T51" fmla="*/ 73 h 84"/>
                  <a:gd name="T52" fmla="*/ 71 w 71"/>
                  <a:gd name="T53" fmla="*/ 71 h 84"/>
                  <a:gd name="T54" fmla="*/ 71 w 71"/>
                  <a:gd name="T55" fmla="*/ 68 h 84"/>
                  <a:gd name="T56" fmla="*/ 70 w 71"/>
                  <a:gd name="T57" fmla="*/ 65 h 84"/>
                  <a:gd name="T58" fmla="*/ 65 w 71"/>
                  <a:gd name="T59" fmla="*/ 56 h 84"/>
                  <a:gd name="T60" fmla="*/ 60 w 71"/>
                  <a:gd name="T61" fmla="*/ 48 h 84"/>
                  <a:gd name="T62" fmla="*/ 58 w 71"/>
                  <a:gd name="T63" fmla="*/ 43 h 84"/>
                  <a:gd name="T64" fmla="*/ 57 w 71"/>
                  <a:gd name="T65" fmla="*/ 39 h 84"/>
                  <a:gd name="T66" fmla="*/ 57 w 71"/>
                  <a:gd name="T67" fmla="*/ 35 h 84"/>
                  <a:gd name="T68" fmla="*/ 58 w 71"/>
                  <a:gd name="T69" fmla="*/ 29 h 84"/>
                  <a:gd name="T70" fmla="*/ 50 w 71"/>
                  <a:gd name="T7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1" h="84">
                    <a:moveTo>
                      <a:pt x="50" y="0"/>
                    </a:moveTo>
                    <a:lnTo>
                      <a:pt x="39" y="4"/>
                    </a:lnTo>
                    <a:lnTo>
                      <a:pt x="28" y="9"/>
                    </a:lnTo>
                    <a:lnTo>
                      <a:pt x="24" y="13"/>
                    </a:lnTo>
                    <a:lnTo>
                      <a:pt x="21" y="17"/>
                    </a:lnTo>
                    <a:lnTo>
                      <a:pt x="18" y="21"/>
                    </a:lnTo>
                    <a:lnTo>
                      <a:pt x="17" y="26"/>
                    </a:lnTo>
                    <a:lnTo>
                      <a:pt x="18" y="33"/>
                    </a:lnTo>
                    <a:lnTo>
                      <a:pt x="20" y="41"/>
                    </a:lnTo>
                    <a:lnTo>
                      <a:pt x="12" y="50"/>
                    </a:lnTo>
                    <a:lnTo>
                      <a:pt x="4" y="59"/>
                    </a:lnTo>
                    <a:lnTo>
                      <a:pt x="1" y="62"/>
                    </a:lnTo>
                    <a:lnTo>
                      <a:pt x="0" y="67"/>
                    </a:lnTo>
                    <a:lnTo>
                      <a:pt x="0" y="73"/>
                    </a:lnTo>
                    <a:lnTo>
                      <a:pt x="3" y="77"/>
                    </a:lnTo>
                    <a:lnTo>
                      <a:pt x="6" y="79"/>
                    </a:lnTo>
                    <a:lnTo>
                      <a:pt x="10" y="82"/>
                    </a:lnTo>
                    <a:lnTo>
                      <a:pt x="14" y="83"/>
                    </a:lnTo>
                    <a:lnTo>
                      <a:pt x="18" y="84"/>
                    </a:lnTo>
                    <a:lnTo>
                      <a:pt x="26" y="83"/>
                    </a:lnTo>
                    <a:lnTo>
                      <a:pt x="34" y="80"/>
                    </a:lnTo>
                    <a:lnTo>
                      <a:pt x="44" y="79"/>
                    </a:lnTo>
                    <a:lnTo>
                      <a:pt x="52" y="77"/>
                    </a:lnTo>
                    <a:lnTo>
                      <a:pt x="60" y="77"/>
                    </a:lnTo>
                    <a:lnTo>
                      <a:pt x="69" y="75"/>
                    </a:lnTo>
                    <a:lnTo>
                      <a:pt x="70" y="73"/>
                    </a:lnTo>
                    <a:lnTo>
                      <a:pt x="71" y="71"/>
                    </a:lnTo>
                    <a:lnTo>
                      <a:pt x="71" y="68"/>
                    </a:lnTo>
                    <a:lnTo>
                      <a:pt x="70" y="65"/>
                    </a:lnTo>
                    <a:lnTo>
                      <a:pt x="65" y="56"/>
                    </a:lnTo>
                    <a:lnTo>
                      <a:pt x="60" y="48"/>
                    </a:lnTo>
                    <a:lnTo>
                      <a:pt x="58" y="43"/>
                    </a:lnTo>
                    <a:lnTo>
                      <a:pt x="57" y="39"/>
                    </a:lnTo>
                    <a:lnTo>
                      <a:pt x="57" y="35"/>
                    </a:lnTo>
                    <a:lnTo>
                      <a:pt x="58" y="29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65"/>
              <p:cNvSpPr>
                <a:spLocks/>
              </p:cNvSpPr>
              <p:nvPr/>
            </p:nvSpPr>
            <p:spPr bwMode="auto">
              <a:xfrm>
                <a:off x="6823076" y="7818438"/>
                <a:ext cx="20638" cy="25400"/>
              </a:xfrm>
              <a:custGeom>
                <a:avLst/>
                <a:gdLst>
                  <a:gd name="T0" fmla="*/ 51 w 51"/>
                  <a:gd name="T1" fmla="*/ 25 h 64"/>
                  <a:gd name="T2" fmla="*/ 45 w 51"/>
                  <a:gd name="T3" fmla="*/ 21 h 64"/>
                  <a:gd name="T4" fmla="*/ 40 w 51"/>
                  <a:gd name="T5" fmla="*/ 18 h 64"/>
                  <a:gd name="T6" fmla="*/ 30 w 51"/>
                  <a:gd name="T7" fmla="*/ 12 h 64"/>
                  <a:gd name="T8" fmla="*/ 22 w 51"/>
                  <a:gd name="T9" fmla="*/ 6 h 64"/>
                  <a:gd name="T10" fmla="*/ 18 w 51"/>
                  <a:gd name="T11" fmla="*/ 2 h 64"/>
                  <a:gd name="T12" fmla="*/ 16 w 51"/>
                  <a:gd name="T13" fmla="*/ 1 h 64"/>
                  <a:gd name="T14" fmla="*/ 14 w 51"/>
                  <a:gd name="T15" fmla="*/ 0 h 64"/>
                  <a:gd name="T16" fmla="*/ 10 w 51"/>
                  <a:gd name="T17" fmla="*/ 0 h 64"/>
                  <a:gd name="T18" fmla="*/ 9 w 51"/>
                  <a:gd name="T19" fmla="*/ 1 h 64"/>
                  <a:gd name="T20" fmla="*/ 5 w 51"/>
                  <a:gd name="T21" fmla="*/ 15 h 64"/>
                  <a:gd name="T22" fmla="*/ 3 w 51"/>
                  <a:gd name="T23" fmla="*/ 30 h 64"/>
                  <a:gd name="T24" fmla="*/ 2 w 51"/>
                  <a:gd name="T25" fmla="*/ 37 h 64"/>
                  <a:gd name="T26" fmla="*/ 0 w 51"/>
                  <a:gd name="T27" fmla="*/ 46 h 64"/>
                  <a:gd name="T28" fmla="*/ 2 w 51"/>
                  <a:gd name="T29" fmla="*/ 54 h 64"/>
                  <a:gd name="T30" fmla="*/ 4 w 51"/>
                  <a:gd name="T31" fmla="*/ 61 h 64"/>
                  <a:gd name="T32" fmla="*/ 6 w 51"/>
                  <a:gd name="T33" fmla="*/ 62 h 64"/>
                  <a:gd name="T34" fmla="*/ 11 w 51"/>
                  <a:gd name="T35" fmla="*/ 64 h 64"/>
                  <a:gd name="T36" fmla="*/ 16 w 51"/>
                  <a:gd name="T37" fmla="*/ 62 h 64"/>
                  <a:gd name="T38" fmla="*/ 21 w 51"/>
                  <a:gd name="T39" fmla="*/ 61 h 64"/>
                  <a:gd name="T40" fmla="*/ 24 w 51"/>
                  <a:gd name="T41" fmla="*/ 59 h 64"/>
                  <a:gd name="T42" fmla="*/ 29 w 51"/>
                  <a:gd name="T43" fmla="*/ 56 h 64"/>
                  <a:gd name="T44" fmla="*/ 34 w 51"/>
                  <a:gd name="T45" fmla="*/ 53 h 64"/>
                  <a:gd name="T46" fmla="*/ 40 w 51"/>
                  <a:gd name="T47" fmla="*/ 49 h 64"/>
                  <a:gd name="T48" fmla="*/ 44 w 51"/>
                  <a:gd name="T49" fmla="*/ 47 h 64"/>
                  <a:gd name="T50" fmla="*/ 47 w 51"/>
                  <a:gd name="T51" fmla="*/ 46 h 64"/>
                  <a:gd name="T52" fmla="*/ 51 w 51"/>
                  <a:gd name="T53" fmla="*/ 2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64">
                    <a:moveTo>
                      <a:pt x="51" y="25"/>
                    </a:moveTo>
                    <a:lnTo>
                      <a:pt x="45" y="21"/>
                    </a:lnTo>
                    <a:lnTo>
                      <a:pt x="40" y="18"/>
                    </a:lnTo>
                    <a:lnTo>
                      <a:pt x="30" y="12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5" y="15"/>
                    </a:lnTo>
                    <a:lnTo>
                      <a:pt x="3" y="30"/>
                    </a:lnTo>
                    <a:lnTo>
                      <a:pt x="2" y="37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4" y="61"/>
                    </a:lnTo>
                    <a:lnTo>
                      <a:pt x="6" y="62"/>
                    </a:lnTo>
                    <a:lnTo>
                      <a:pt x="11" y="64"/>
                    </a:lnTo>
                    <a:lnTo>
                      <a:pt x="16" y="62"/>
                    </a:lnTo>
                    <a:lnTo>
                      <a:pt x="21" y="61"/>
                    </a:lnTo>
                    <a:lnTo>
                      <a:pt x="24" y="59"/>
                    </a:lnTo>
                    <a:lnTo>
                      <a:pt x="29" y="56"/>
                    </a:lnTo>
                    <a:lnTo>
                      <a:pt x="34" y="53"/>
                    </a:lnTo>
                    <a:lnTo>
                      <a:pt x="40" y="49"/>
                    </a:lnTo>
                    <a:lnTo>
                      <a:pt x="44" y="47"/>
                    </a:lnTo>
                    <a:lnTo>
                      <a:pt x="47" y="46"/>
                    </a:lnTo>
                    <a:lnTo>
                      <a:pt x="51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66"/>
              <p:cNvSpPr>
                <a:spLocks/>
              </p:cNvSpPr>
              <p:nvPr/>
            </p:nvSpPr>
            <p:spPr bwMode="auto">
              <a:xfrm>
                <a:off x="6853238" y="7829550"/>
                <a:ext cx="15875" cy="23813"/>
              </a:xfrm>
              <a:custGeom>
                <a:avLst/>
                <a:gdLst>
                  <a:gd name="T0" fmla="*/ 41 w 41"/>
                  <a:gd name="T1" fmla="*/ 21 h 58"/>
                  <a:gd name="T2" fmla="*/ 39 w 41"/>
                  <a:gd name="T3" fmla="*/ 16 h 58"/>
                  <a:gd name="T4" fmla="*/ 36 w 41"/>
                  <a:gd name="T5" fmla="*/ 11 h 58"/>
                  <a:gd name="T6" fmla="*/ 33 w 41"/>
                  <a:gd name="T7" fmla="*/ 6 h 58"/>
                  <a:gd name="T8" fmla="*/ 28 w 41"/>
                  <a:gd name="T9" fmla="*/ 4 h 58"/>
                  <a:gd name="T10" fmla="*/ 27 w 41"/>
                  <a:gd name="T11" fmla="*/ 1 h 58"/>
                  <a:gd name="T12" fmla="*/ 24 w 41"/>
                  <a:gd name="T13" fmla="*/ 1 h 58"/>
                  <a:gd name="T14" fmla="*/ 22 w 41"/>
                  <a:gd name="T15" fmla="*/ 0 h 58"/>
                  <a:gd name="T16" fmla="*/ 18 w 41"/>
                  <a:gd name="T17" fmla="*/ 0 h 58"/>
                  <a:gd name="T18" fmla="*/ 15 w 41"/>
                  <a:gd name="T19" fmla="*/ 4 h 58"/>
                  <a:gd name="T20" fmla="*/ 12 w 41"/>
                  <a:gd name="T21" fmla="*/ 8 h 58"/>
                  <a:gd name="T22" fmla="*/ 11 w 41"/>
                  <a:gd name="T23" fmla="*/ 14 h 58"/>
                  <a:gd name="T24" fmla="*/ 10 w 41"/>
                  <a:gd name="T25" fmla="*/ 18 h 58"/>
                  <a:gd name="T26" fmla="*/ 6 w 41"/>
                  <a:gd name="T27" fmla="*/ 26 h 58"/>
                  <a:gd name="T28" fmla="*/ 1 w 41"/>
                  <a:gd name="T29" fmla="*/ 34 h 58"/>
                  <a:gd name="T30" fmla="*/ 0 w 41"/>
                  <a:gd name="T31" fmla="*/ 41 h 58"/>
                  <a:gd name="T32" fmla="*/ 0 w 41"/>
                  <a:gd name="T33" fmla="*/ 48 h 58"/>
                  <a:gd name="T34" fmla="*/ 0 w 41"/>
                  <a:gd name="T35" fmla="*/ 50 h 58"/>
                  <a:gd name="T36" fmla="*/ 1 w 41"/>
                  <a:gd name="T37" fmla="*/ 51 h 58"/>
                  <a:gd name="T38" fmla="*/ 5 w 41"/>
                  <a:gd name="T39" fmla="*/ 52 h 58"/>
                  <a:gd name="T40" fmla="*/ 7 w 41"/>
                  <a:gd name="T41" fmla="*/ 53 h 58"/>
                  <a:gd name="T42" fmla="*/ 10 w 41"/>
                  <a:gd name="T43" fmla="*/ 56 h 58"/>
                  <a:gd name="T44" fmla="*/ 13 w 41"/>
                  <a:gd name="T45" fmla="*/ 57 h 58"/>
                  <a:gd name="T46" fmla="*/ 17 w 41"/>
                  <a:gd name="T47" fmla="*/ 58 h 58"/>
                  <a:gd name="T48" fmla="*/ 19 w 41"/>
                  <a:gd name="T49" fmla="*/ 57 h 58"/>
                  <a:gd name="T50" fmla="*/ 23 w 41"/>
                  <a:gd name="T51" fmla="*/ 56 h 58"/>
                  <a:gd name="T52" fmla="*/ 25 w 41"/>
                  <a:gd name="T53" fmla="*/ 54 h 58"/>
                  <a:gd name="T54" fmla="*/ 27 w 41"/>
                  <a:gd name="T55" fmla="*/ 52 h 58"/>
                  <a:gd name="T56" fmla="*/ 30 w 41"/>
                  <a:gd name="T57" fmla="*/ 50 h 58"/>
                  <a:gd name="T58" fmla="*/ 35 w 41"/>
                  <a:gd name="T59" fmla="*/ 47 h 58"/>
                  <a:gd name="T60" fmla="*/ 41 w 41"/>
                  <a:gd name="T61" fmla="*/ 2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1" h="58">
                    <a:moveTo>
                      <a:pt x="41" y="21"/>
                    </a:moveTo>
                    <a:lnTo>
                      <a:pt x="39" y="16"/>
                    </a:lnTo>
                    <a:lnTo>
                      <a:pt x="36" y="11"/>
                    </a:lnTo>
                    <a:lnTo>
                      <a:pt x="33" y="6"/>
                    </a:lnTo>
                    <a:lnTo>
                      <a:pt x="28" y="4"/>
                    </a:lnTo>
                    <a:lnTo>
                      <a:pt x="27" y="1"/>
                    </a:lnTo>
                    <a:lnTo>
                      <a:pt x="24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4"/>
                    </a:lnTo>
                    <a:lnTo>
                      <a:pt x="12" y="8"/>
                    </a:lnTo>
                    <a:lnTo>
                      <a:pt x="11" y="14"/>
                    </a:lnTo>
                    <a:lnTo>
                      <a:pt x="10" y="18"/>
                    </a:lnTo>
                    <a:lnTo>
                      <a:pt x="6" y="26"/>
                    </a:lnTo>
                    <a:lnTo>
                      <a:pt x="1" y="34"/>
                    </a:lnTo>
                    <a:lnTo>
                      <a:pt x="0" y="41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1" y="51"/>
                    </a:lnTo>
                    <a:lnTo>
                      <a:pt x="5" y="52"/>
                    </a:lnTo>
                    <a:lnTo>
                      <a:pt x="7" y="53"/>
                    </a:lnTo>
                    <a:lnTo>
                      <a:pt x="10" y="56"/>
                    </a:lnTo>
                    <a:lnTo>
                      <a:pt x="13" y="57"/>
                    </a:lnTo>
                    <a:lnTo>
                      <a:pt x="17" y="58"/>
                    </a:lnTo>
                    <a:lnTo>
                      <a:pt x="19" y="57"/>
                    </a:lnTo>
                    <a:lnTo>
                      <a:pt x="23" y="56"/>
                    </a:lnTo>
                    <a:lnTo>
                      <a:pt x="25" y="54"/>
                    </a:lnTo>
                    <a:lnTo>
                      <a:pt x="27" y="52"/>
                    </a:lnTo>
                    <a:lnTo>
                      <a:pt x="30" y="50"/>
                    </a:lnTo>
                    <a:lnTo>
                      <a:pt x="35" y="47"/>
                    </a:lnTo>
                    <a:lnTo>
                      <a:pt x="41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67"/>
              <p:cNvSpPr>
                <a:spLocks/>
              </p:cNvSpPr>
              <p:nvPr/>
            </p:nvSpPr>
            <p:spPr bwMode="auto">
              <a:xfrm>
                <a:off x="6973888" y="7931150"/>
                <a:ext cx="17463" cy="44450"/>
              </a:xfrm>
              <a:custGeom>
                <a:avLst/>
                <a:gdLst>
                  <a:gd name="T0" fmla="*/ 43 w 45"/>
                  <a:gd name="T1" fmla="*/ 49 h 115"/>
                  <a:gd name="T2" fmla="*/ 39 w 45"/>
                  <a:gd name="T3" fmla="*/ 40 h 115"/>
                  <a:gd name="T4" fmla="*/ 35 w 45"/>
                  <a:gd name="T5" fmla="*/ 32 h 115"/>
                  <a:gd name="T6" fmla="*/ 31 w 45"/>
                  <a:gd name="T7" fmla="*/ 23 h 115"/>
                  <a:gd name="T8" fmla="*/ 26 w 45"/>
                  <a:gd name="T9" fmla="*/ 16 h 115"/>
                  <a:gd name="T10" fmla="*/ 22 w 45"/>
                  <a:gd name="T11" fmla="*/ 11 h 115"/>
                  <a:gd name="T12" fmla="*/ 17 w 45"/>
                  <a:gd name="T13" fmla="*/ 4 h 115"/>
                  <a:gd name="T14" fmla="*/ 15 w 45"/>
                  <a:gd name="T15" fmla="*/ 2 h 115"/>
                  <a:gd name="T16" fmla="*/ 12 w 45"/>
                  <a:gd name="T17" fmla="*/ 0 h 115"/>
                  <a:gd name="T18" fmla="*/ 10 w 45"/>
                  <a:gd name="T19" fmla="*/ 0 h 115"/>
                  <a:gd name="T20" fmla="*/ 8 w 45"/>
                  <a:gd name="T21" fmla="*/ 3 h 115"/>
                  <a:gd name="T22" fmla="*/ 4 w 45"/>
                  <a:gd name="T23" fmla="*/ 9 h 115"/>
                  <a:gd name="T24" fmla="*/ 2 w 45"/>
                  <a:gd name="T25" fmla="*/ 16 h 115"/>
                  <a:gd name="T26" fmla="*/ 0 w 45"/>
                  <a:gd name="T27" fmla="*/ 22 h 115"/>
                  <a:gd name="T28" fmla="*/ 3 w 45"/>
                  <a:gd name="T29" fmla="*/ 27 h 115"/>
                  <a:gd name="T30" fmla="*/ 5 w 45"/>
                  <a:gd name="T31" fmla="*/ 32 h 115"/>
                  <a:gd name="T32" fmla="*/ 8 w 45"/>
                  <a:gd name="T33" fmla="*/ 37 h 115"/>
                  <a:gd name="T34" fmla="*/ 11 w 45"/>
                  <a:gd name="T35" fmla="*/ 45 h 115"/>
                  <a:gd name="T36" fmla="*/ 12 w 45"/>
                  <a:gd name="T37" fmla="*/ 52 h 115"/>
                  <a:gd name="T38" fmla="*/ 11 w 45"/>
                  <a:gd name="T39" fmla="*/ 59 h 115"/>
                  <a:gd name="T40" fmla="*/ 9 w 45"/>
                  <a:gd name="T41" fmla="*/ 68 h 115"/>
                  <a:gd name="T42" fmla="*/ 5 w 45"/>
                  <a:gd name="T43" fmla="*/ 77 h 115"/>
                  <a:gd name="T44" fmla="*/ 3 w 45"/>
                  <a:gd name="T45" fmla="*/ 87 h 115"/>
                  <a:gd name="T46" fmla="*/ 6 w 45"/>
                  <a:gd name="T47" fmla="*/ 94 h 115"/>
                  <a:gd name="T48" fmla="*/ 10 w 45"/>
                  <a:gd name="T49" fmla="*/ 100 h 115"/>
                  <a:gd name="T50" fmla="*/ 14 w 45"/>
                  <a:gd name="T51" fmla="*/ 103 h 115"/>
                  <a:gd name="T52" fmla="*/ 16 w 45"/>
                  <a:gd name="T53" fmla="*/ 106 h 115"/>
                  <a:gd name="T54" fmla="*/ 21 w 45"/>
                  <a:gd name="T55" fmla="*/ 109 h 115"/>
                  <a:gd name="T56" fmla="*/ 24 w 45"/>
                  <a:gd name="T57" fmla="*/ 112 h 115"/>
                  <a:gd name="T58" fmla="*/ 27 w 45"/>
                  <a:gd name="T59" fmla="*/ 115 h 115"/>
                  <a:gd name="T60" fmla="*/ 29 w 45"/>
                  <a:gd name="T61" fmla="*/ 115 h 115"/>
                  <a:gd name="T62" fmla="*/ 32 w 45"/>
                  <a:gd name="T63" fmla="*/ 115 h 115"/>
                  <a:gd name="T64" fmla="*/ 34 w 45"/>
                  <a:gd name="T65" fmla="*/ 112 h 115"/>
                  <a:gd name="T66" fmla="*/ 39 w 45"/>
                  <a:gd name="T67" fmla="*/ 105 h 115"/>
                  <a:gd name="T68" fmla="*/ 41 w 45"/>
                  <a:gd name="T69" fmla="*/ 97 h 115"/>
                  <a:gd name="T70" fmla="*/ 44 w 45"/>
                  <a:gd name="T71" fmla="*/ 86 h 115"/>
                  <a:gd name="T72" fmla="*/ 45 w 45"/>
                  <a:gd name="T73" fmla="*/ 79 h 115"/>
                  <a:gd name="T74" fmla="*/ 43 w 45"/>
                  <a:gd name="T75" fmla="*/ 4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115">
                    <a:moveTo>
                      <a:pt x="43" y="49"/>
                    </a:moveTo>
                    <a:lnTo>
                      <a:pt x="39" y="40"/>
                    </a:lnTo>
                    <a:lnTo>
                      <a:pt x="35" y="32"/>
                    </a:lnTo>
                    <a:lnTo>
                      <a:pt x="31" y="23"/>
                    </a:lnTo>
                    <a:lnTo>
                      <a:pt x="26" y="16"/>
                    </a:lnTo>
                    <a:lnTo>
                      <a:pt x="22" y="11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2" y="16"/>
                    </a:lnTo>
                    <a:lnTo>
                      <a:pt x="0" y="22"/>
                    </a:lnTo>
                    <a:lnTo>
                      <a:pt x="3" y="27"/>
                    </a:lnTo>
                    <a:lnTo>
                      <a:pt x="5" y="32"/>
                    </a:lnTo>
                    <a:lnTo>
                      <a:pt x="8" y="37"/>
                    </a:lnTo>
                    <a:lnTo>
                      <a:pt x="11" y="45"/>
                    </a:lnTo>
                    <a:lnTo>
                      <a:pt x="12" y="52"/>
                    </a:lnTo>
                    <a:lnTo>
                      <a:pt x="11" y="59"/>
                    </a:lnTo>
                    <a:lnTo>
                      <a:pt x="9" y="68"/>
                    </a:lnTo>
                    <a:lnTo>
                      <a:pt x="5" y="77"/>
                    </a:lnTo>
                    <a:lnTo>
                      <a:pt x="3" y="87"/>
                    </a:lnTo>
                    <a:lnTo>
                      <a:pt x="6" y="94"/>
                    </a:lnTo>
                    <a:lnTo>
                      <a:pt x="10" y="100"/>
                    </a:lnTo>
                    <a:lnTo>
                      <a:pt x="14" y="103"/>
                    </a:lnTo>
                    <a:lnTo>
                      <a:pt x="16" y="106"/>
                    </a:lnTo>
                    <a:lnTo>
                      <a:pt x="21" y="109"/>
                    </a:lnTo>
                    <a:lnTo>
                      <a:pt x="24" y="112"/>
                    </a:lnTo>
                    <a:lnTo>
                      <a:pt x="27" y="115"/>
                    </a:lnTo>
                    <a:lnTo>
                      <a:pt x="29" y="115"/>
                    </a:lnTo>
                    <a:lnTo>
                      <a:pt x="32" y="115"/>
                    </a:lnTo>
                    <a:lnTo>
                      <a:pt x="34" y="112"/>
                    </a:lnTo>
                    <a:lnTo>
                      <a:pt x="39" y="105"/>
                    </a:lnTo>
                    <a:lnTo>
                      <a:pt x="41" y="97"/>
                    </a:lnTo>
                    <a:lnTo>
                      <a:pt x="44" y="86"/>
                    </a:lnTo>
                    <a:lnTo>
                      <a:pt x="45" y="79"/>
                    </a:lnTo>
                    <a:lnTo>
                      <a:pt x="43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68"/>
              <p:cNvSpPr>
                <a:spLocks/>
              </p:cNvSpPr>
              <p:nvPr/>
            </p:nvSpPr>
            <p:spPr bwMode="auto">
              <a:xfrm>
                <a:off x="6981826" y="7999413"/>
                <a:ext cx="14288" cy="20638"/>
              </a:xfrm>
              <a:custGeom>
                <a:avLst/>
                <a:gdLst>
                  <a:gd name="T0" fmla="*/ 28 w 36"/>
                  <a:gd name="T1" fmla="*/ 14 h 49"/>
                  <a:gd name="T2" fmla="*/ 24 w 36"/>
                  <a:gd name="T3" fmla="*/ 11 h 49"/>
                  <a:gd name="T4" fmla="*/ 19 w 36"/>
                  <a:gd name="T5" fmla="*/ 9 h 49"/>
                  <a:gd name="T6" fmla="*/ 18 w 36"/>
                  <a:gd name="T7" fmla="*/ 7 h 49"/>
                  <a:gd name="T8" fmla="*/ 17 w 36"/>
                  <a:gd name="T9" fmla="*/ 6 h 49"/>
                  <a:gd name="T10" fmla="*/ 14 w 36"/>
                  <a:gd name="T11" fmla="*/ 2 h 49"/>
                  <a:gd name="T12" fmla="*/ 11 w 36"/>
                  <a:gd name="T13" fmla="*/ 0 h 49"/>
                  <a:gd name="T14" fmla="*/ 8 w 36"/>
                  <a:gd name="T15" fmla="*/ 0 h 49"/>
                  <a:gd name="T16" fmla="*/ 6 w 36"/>
                  <a:gd name="T17" fmla="*/ 1 h 49"/>
                  <a:gd name="T18" fmla="*/ 3 w 36"/>
                  <a:gd name="T19" fmla="*/ 5 h 49"/>
                  <a:gd name="T20" fmla="*/ 2 w 36"/>
                  <a:gd name="T21" fmla="*/ 8 h 49"/>
                  <a:gd name="T22" fmla="*/ 0 w 36"/>
                  <a:gd name="T23" fmla="*/ 9 h 49"/>
                  <a:gd name="T24" fmla="*/ 0 w 36"/>
                  <a:gd name="T25" fmla="*/ 11 h 49"/>
                  <a:gd name="T26" fmla="*/ 0 w 36"/>
                  <a:gd name="T27" fmla="*/ 19 h 49"/>
                  <a:gd name="T28" fmla="*/ 1 w 36"/>
                  <a:gd name="T29" fmla="*/ 21 h 49"/>
                  <a:gd name="T30" fmla="*/ 2 w 36"/>
                  <a:gd name="T31" fmla="*/ 24 h 49"/>
                  <a:gd name="T32" fmla="*/ 5 w 36"/>
                  <a:gd name="T33" fmla="*/ 29 h 49"/>
                  <a:gd name="T34" fmla="*/ 7 w 36"/>
                  <a:gd name="T35" fmla="*/ 35 h 49"/>
                  <a:gd name="T36" fmla="*/ 7 w 36"/>
                  <a:gd name="T37" fmla="*/ 36 h 49"/>
                  <a:gd name="T38" fmla="*/ 8 w 36"/>
                  <a:gd name="T39" fmla="*/ 38 h 49"/>
                  <a:gd name="T40" fmla="*/ 10 w 36"/>
                  <a:gd name="T41" fmla="*/ 39 h 49"/>
                  <a:gd name="T42" fmla="*/ 11 w 36"/>
                  <a:gd name="T43" fmla="*/ 41 h 49"/>
                  <a:gd name="T44" fmla="*/ 11 w 36"/>
                  <a:gd name="T45" fmla="*/ 42 h 49"/>
                  <a:gd name="T46" fmla="*/ 12 w 36"/>
                  <a:gd name="T47" fmla="*/ 43 h 49"/>
                  <a:gd name="T48" fmla="*/ 14 w 36"/>
                  <a:gd name="T49" fmla="*/ 43 h 49"/>
                  <a:gd name="T50" fmla="*/ 16 w 36"/>
                  <a:gd name="T51" fmla="*/ 44 h 49"/>
                  <a:gd name="T52" fmla="*/ 18 w 36"/>
                  <a:gd name="T53" fmla="*/ 44 h 49"/>
                  <a:gd name="T54" fmla="*/ 18 w 36"/>
                  <a:gd name="T55" fmla="*/ 45 h 49"/>
                  <a:gd name="T56" fmla="*/ 19 w 36"/>
                  <a:gd name="T57" fmla="*/ 45 h 49"/>
                  <a:gd name="T58" fmla="*/ 22 w 36"/>
                  <a:gd name="T59" fmla="*/ 45 h 49"/>
                  <a:gd name="T60" fmla="*/ 22 w 36"/>
                  <a:gd name="T61" fmla="*/ 47 h 49"/>
                  <a:gd name="T62" fmla="*/ 24 w 36"/>
                  <a:gd name="T63" fmla="*/ 47 h 49"/>
                  <a:gd name="T64" fmla="*/ 24 w 36"/>
                  <a:gd name="T65" fmla="*/ 48 h 49"/>
                  <a:gd name="T66" fmla="*/ 26 w 36"/>
                  <a:gd name="T67" fmla="*/ 48 h 49"/>
                  <a:gd name="T68" fmla="*/ 28 w 36"/>
                  <a:gd name="T69" fmla="*/ 49 h 49"/>
                  <a:gd name="T70" fmla="*/ 31 w 36"/>
                  <a:gd name="T71" fmla="*/ 49 h 49"/>
                  <a:gd name="T72" fmla="*/ 34 w 36"/>
                  <a:gd name="T73" fmla="*/ 47 h 49"/>
                  <a:gd name="T74" fmla="*/ 35 w 36"/>
                  <a:gd name="T75" fmla="*/ 39 h 49"/>
                  <a:gd name="T76" fmla="*/ 36 w 36"/>
                  <a:gd name="T77" fmla="*/ 31 h 49"/>
                  <a:gd name="T78" fmla="*/ 28 w 36"/>
                  <a:gd name="T79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6" h="49">
                    <a:moveTo>
                      <a:pt x="28" y="14"/>
                    </a:moveTo>
                    <a:lnTo>
                      <a:pt x="24" y="11"/>
                    </a:lnTo>
                    <a:lnTo>
                      <a:pt x="19" y="9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5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5" y="29"/>
                    </a:lnTo>
                    <a:lnTo>
                      <a:pt x="7" y="35"/>
                    </a:lnTo>
                    <a:lnTo>
                      <a:pt x="7" y="36"/>
                    </a:lnTo>
                    <a:lnTo>
                      <a:pt x="8" y="38"/>
                    </a:lnTo>
                    <a:lnTo>
                      <a:pt x="10" y="39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2" y="43"/>
                    </a:lnTo>
                    <a:lnTo>
                      <a:pt x="14" y="43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9" y="45"/>
                    </a:lnTo>
                    <a:lnTo>
                      <a:pt x="22" y="45"/>
                    </a:lnTo>
                    <a:lnTo>
                      <a:pt x="22" y="47"/>
                    </a:lnTo>
                    <a:lnTo>
                      <a:pt x="24" y="47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8" y="49"/>
                    </a:lnTo>
                    <a:lnTo>
                      <a:pt x="31" y="49"/>
                    </a:lnTo>
                    <a:lnTo>
                      <a:pt x="34" y="47"/>
                    </a:lnTo>
                    <a:lnTo>
                      <a:pt x="35" y="39"/>
                    </a:lnTo>
                    <a:lnTo>
                      <a:pt x="36" y="31"/>
                    </a:lnTo>
                    <a:lnTo>
                      <a:pt x="28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69"/>
              <p:cNvSpPr>
                <a:spLocks/>
              </p:cNvSpPr>
              <p:nvPr/>
            </p:nvSpPr>
            <p:spPr bwMode="auto">
              <a:xfrm>
                <a:off x="6918326" y="7921625"/>
                <a:ext cx="63500" cy="144463"/>
              </a:xfrm>
              <a:custGeom>
                <a:avLst/>
                <a:gdLst>
                  <a:gd name="T0" fmla="*/ 58 w 161"/>
                  <a:gd name="T1" fmla="*/ 137 h 365"/>
                  <a:gd name="T2" fmla="*/ 50 w 161"/>
                  <a:gd name="T3" fmla="*/ 130 h 365"/>
                  <a:gd name="T4" fmla="*/ 46 w 161"/>
                  <a:gd name="T5" fmla="*/ 117 h 365"/>
                  <a:gd name="T6" fmla="*/ 47 w 161"/>
                  <a:gd name="T7" fmla="*/ 88 h 365"/>
                  <a:gd name="T8" fmla="*/ 48 w 161"/>
                  <a:gd name="T9" fmla="*/ 62 h 365"/>
                  <a:gd name="T10" fmla="*/ 40 w 161"/>
                  <a:gd name="T11" fmla="*/ 42 h 365"/>
                  <a:gd name="T12" fmla="*/ 27 w 161"/>
                  <a:gd name="T13" fmla="*/ 21 h 365"/>
                  <a:gd name="T14" fmla="*/ 14 w 161"/>
                  <a:gd name="T15" fmla="*/ 5 h 365"/>
                  <a:gd name="T16" fmla="*/ 7 w 161"/>
                  <a:gd name="T17" fmla="*/ 1 h 365"/>
                  <a:gd name="T18" fmla="*/ 9 w 161"/>
                  <a:gd name="T19" fmla="*/ 36 h 365"/>
                  <a:gd name="T20" fmla="*/ 9 w 161"/>
                  <a:gd name="T21" fmla="*/ 56 h 365"/>
                  <a:gd name="T22" fmla="*/ 7 w 161"/>
                  <a:gd name="T23" fmla="*/ 74 h 365"/>
                  <a:gd name="T24" fmla="*/ 2 w 161"/>
                  <a:gd name="T25" fmla="*/ 90 h 365"/>
                  <a:gd name="T26" fmla="*/ 0 w 161"/>
                  <a:gd name="T27" fmla="*/ 106 h 365"/>
                  <a:gd name="T28" fmla="*/ 1 w 161"/>
                  <a:gd name="T29" fmla="*/ 119 h 365"/>
                  <a:gd name="T30" fmla="*/ 6 w 161"/>
                  <a:gd name="T31" fmla="*/ 131 h 365"/>
                  <a:gd name="T32" fmla="*/ 20 w 161"/>
                  <a:gd name="T33" fmla="*/ 155 h 365"/>
                  <a:gd name="T34" fmla="*/ 43 w 161"/>
                  <a:gd name="T35" fmla="*/ 181 h 365"/>
                  <a:gd name="T36" fmla="*/ 55 w 161"/>
                  <a:gd name="T37" fmla="*/ 195 h 365"/>
                  <a:gd name="T38" fmla="*/ 62 w 161"/>
                  <a:gd name="T39" fmla="*/ 210 h 365"/>
                  <a:gd name="T40" fmla="*/ 74 w 161"/>
                  <a:gd name="T41" fmla="*/ 243 h 365"/>
                  <a:gd name="T42" fmla="*/ 84 w 161"/>
                  <a:gd name="T43" fmla="*/ 259 h 365"/>
                  <a:gd name="T44" fmla="*/ 95 w 161"/>
                  <a:gd name="T45" fmla="*/ 272 h 365"/>
                  <a:gd name="T46" fmla="*/ 107 w 161"/>
                  <a:gd name="T47" fmla="*/ 287 h 365"/>
                  <a:gd name="T48" fmla="*/ 115 w 161"/>
                  <a:gd name="T49" fmla="*/ 305 h 365"/>
                  <a:gd name="T50" fmla="*/ 130 w 161"/>
                  <a:gd name="T51" fmla="*/ 342 h 365"/>
                  <a:gd name="T52" fmla="*/ 143 w 161"/>
                  <a:gd name="T53" fmla="*/ 360 h 365"/>
                  <a:gd name="T54" fmla="*/ 150 w 161"/>
                  <a:gd name="T55" fmla="*/ 364 h 365"/>
                  <a:gd name="T56" fmla="*/ 160 w 161"/>
                  <a:gd name="T57" fmla="*/ 364 h 365"/>
                  <a:gd name="T58" fmla="*/ 160 w 161"/>
                  <a:gd name="T59" fmla="*/ 331 h 365"/>
                  <a:gd name="T60" fmla="*/ 154 w 161"/>
                  <a:gd name="T61" fmla="*/ 302 h 365"/>
                  <a:gd name="T62" fmla="*/ 142 w 161"/>
                  <a:gd name="T63" fmla="*/ 277 h 365"/>
                  <a:gd name="T64" fmla="*/ 126 w 161"/>
                  <a:gd name="T65" fmla="*/ 253 h 365"/>
                  <a:gd name="T66" fmla="*/ 92 w 161"/>
                  <a:gd name="T67" fmla="*/ 207 h 365"/>
                  <a:gd name="T68" fmla="*/ 78 w 161"/>
                  <a:gd name="T69" fmla="*/ 182 h 365"/>
                  <a:gd name="T70" fmla="*/ 68 w 161"/>
                  <a:gd name="T71" fmla="*/ 154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1" h="365">
                    <a:moveTo>
                      <a:pt x="62" y="140"/>
                    </a:moveTo>
                    <a:lnTo>
                      <a:pt x="58" y="137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48" y="127"/>
                    </a:lnTo>
                    <a:lnTo>
                      <a:pt x="46" y="117"/>
                    </a:lnTo>
                    <a:lnTo>
                      <a:pt x="46" y="107"/>
                    </a:lnTo>
                    <a:lnTo>
                      <a:pt x="47" y="88"/>
                    </a:lnTo>
                    <a:lnTo>
                      <a:pt x="49" y="70"/>
                    </a:lnTo>
                    <a:lnTo>
                      <a:pt x="48" y="62"/>
                    </a:lnTo>
                    <a:lnTo>
                      <a:pt x="44" y="52"/>
                    </a:lnTo>
                    <a:lnTo>
                      <a:pt x="40" y="42"/>
                    </a:lnTo>
                    <a:lnTo>
                      <a:pt x="34" y="31"/>
                    </a:lnTo>
                    <a:lnTo>
                      <a:pt x="27" y="21"/>
                    </a:lnTo>
                    <a:lnTo>
                      <a:pt x="20" y="12"/>
                    </a:lnTo>
                    <a:lnTo>
                      <a:pt x="14" y="5"/>
                    </a:lnTo>
                    <a:lnTo>
                      <a:pt x="8" y="0"/>
                    </a:lnTo>
                    <a:lnTo>
                      <a:pt x="7" y="1"/>
                    </a:lnTo>
                    <a:lnTo>
                      <a:pt x="7" y="18"/>
                    </a:lnTo>
                    <a:lnTo>
                      <a:pt x="9" y="36"/>
                    </a:lnTo>
                    <a:lnTo>
                      <a:pt x="9" y="46"/>
                    </a:lnTo>
                    <a:lnTo>
                      <a:pt x="9" y="56"/>
                    </a:lnTo>
                    <a:lnTo>
                      <a:pt x="8" y="65"/>
                    </a:lnTo>
                    <a:lnTo>
                      <a:pt x="7" y="74"/>
                    </a:lnTo>
                    <a:lnTo>
                      <a:pt x="3" y="82"/>
                    </a:lnTo>
                    <a:lnTo>
                      <a:pt x="2" y="90"/>
                    </a:lnTo>
                    <a:lnTo>
                      <a:pt x="1" y="99"/>
                    </a:lnTo>
                    <a:lnTo>
                      <a:pt x="0" y="106"/>
                    </a:lnTo>
                    <a:lnTo>
                      <a:pt x="0" y="112"/>
                    </a:lnTo>
                    <a:lnTo>
                      <a:pt x="1" y="119"/>
                    </a:lnTo>
                    <a:lnTo>
                      <a:pt x="3" y="125"/>
                    </a:lnTo>
                    <a:lnTo>
                      <a:pt x="6" y="131"/>
                    </a:lnTo>
                    <a:lnTo>
                      <a:pt x="12" y="143"/>
                    </a:lnTo>
                    <a:lnTo>
                      <a:pt x="20" y="155"/>
                    </a:lnTo>
                    <a:lnTo>
                      <a:pt x="31" y="167"/>
                    </a:lnTo>
                    <a:lnTo>
                      <a:pt x="43" y="181"/>
                    </a:lnTo>
                    <a:lnTo>
                      <a:pt x="49" y="188"/>
                    </a:lnTo>
                    <a:lnTo>
                      <a:pt x="55" y="195"/>
                    </a:lnTo>
                    <a:lnTo>
                      <a:pt x="59" y="202"/>
                    </a:lnTo>
                    <a:lnTo>
                      <a:pt x="62" y="210"/>
                    </a:lnTo>
                    <a:lnTo>
                      <a:pt x="68" y="225"/>
                    </a:lnTo>
                    <a:lnTo>
                      <a:pt x="74" y="243"/>
                    </a:lnTo>
                    <a:lnTo>
                      <a:pt x="78" y="252"/>
                    </a:lnTo>
                    <a:lnTo>
                      <a:pt x="84" y="259"/>
                    </a:lnTo>
                    <a:lnTo>
                      <a:pt x="89" y="266"/>
                    </a:lnTo>
                    <a:lnTo>
                      <a:pt x="95" y="272"/>
                    </a:lnTo>
                    <a:lnTo>
                      <a:pt x="101" y="279"/>
                    </a:lnTo>
                    <a:lnTo>
                      <a:pt x="107" y="287"/>
                    </a:lnTo>
                    <a:lnTo>
                      <a:pt x="112" y="295"/>
                    </a:lnTo>
                    <a:lnTo>
                      <a:pt x="115" y="305"/>
                    </a:lnTo>
                    <a:lnTo>
                      <a:pt x="121" y="321"/>
                    </a:lnTo>
                    <a:lnTo>
                      <a:pt x="130" y="342"/>
                    </a:lnTo>
                    <a:lnTo>
                      <a:pt x="136" y="352"/>
                    </a:lnTo>
                    <a:lnTo>
                      <a:pt x="143" y="360"/>
                    </a:lnTo>
                    <a:lnTo>
                      <a:pt x="147" y="362"/>
                    </a:lnTo>
                    <a:lnTo>
                      <a:pt x="150" y="364"/>
                    </a:lnTo>
                    <a:lnTo>
                      <a:pt x="155" y="365"/>
                    </a:lnTo>
                    <a:lnTo>
                      <a:pt x="160" y="364"/>
                    </a:lnTo>
                    <a:lnTo>
                      <a:pt x="161" y="347"/>
                    </a:lnTo>
                    <a:lnTo>
                      <a:pt x="160" y="331"/>
                    </a:lnTo>
                    <a:lnTo>
                      <a:pt x="157" y="315"/>
                    </a:lnTo>
                    <a:lnTo>
                      <a:pt x="154" y="302"/>
                    </a:lnTo>
                    <a:lnTo>
                      <a:pt x="148" y="289"/>
                    </a:lnTo>
                    <a:lnTo>
                      <a:pt x="142" y="277"/>
                    </a:lnTo>
                    <a:lnTo>
                      <a:pt x="135" y="265"/>
                    </a:lnTo>
                    <a:lnTo>
                      <a:pt x="126" y="253"/>
                    </a:lnTo>
                    <a:lnTo>
                      <a:pt x="109" y="230"/>
                    </a:lnTo>
                    <a:lnTo>
                      <a:pt x="92" y="207"/>
                    </a:lnTo>
                    <a:lnTo>
                      <a:pt x="85" y="195"/>
                    </a:lnTo>
                    <a:lnTo>
                      <a:pt x="78" y="182"/>
                    </a:lnTo>
                    <a:lnTo>
                      <a:pt x="72" y="169"/>
                    </a:lnTo>
                    <a:lnTo>
                      <a:pt x="68" y="154"/>
                    </a:lnTo>
                    <a:lnTo>
                      <a:pt x="62" y="1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70"/>
              <p:cNvSpPr>
                <a:spLocks/>
              </p:cNvSpPr>
              <p:nvPr/>
            </p:nvSpPr>
            <p:spPr bwMode="auto">
              <a:xfrm>
                <a:off x="7132638" y="7862888"/>
                <a:ext cx="26988" cy="66675"/>
              </a:xfrm>
              <a:custGeom>
                <a:avLst/>
                <a:gdLst>
                  <a:gd name="T0" fmla="*/ 70 w 70"/>
                  <a:gd name="T1" fmla="*/ 77 h 166"/>
                  <a:gd name="T2" fmla="*/ 65 w 70"/>
                  <a:gd name="T3" fmla="*/ 68 h 166"/>
                  <a:gd name="T4" fmla="*/ 60 w 70"/>
                  <a:gd name="T5" fmla="*/ 58 h 166"/>
                  <a:gd name="T6" fmla="*/ 48 w 70"/>
                  <a:gd name="T7" fmla="*/ 45 h 166"/>
                  <a:gd name="T8" fmla="*/ 35 w 70"/>
                  <a:gd name="T9" fmla="*/ 28 h 166"/>
                  <a:gd name="T10" fmla="*/ 25 w 70"/>
                  <a:gd name="T11" fmla="*/ 19 h 166"/>
                  <a:gd name="T12" fmla="*/ 16 w 70"/>
                  <a:gd name="T13" fmla="*/ 10 h 166"/>
                  <a:gd name="T14" fmla="*/ 13 w 70"/>
                  <a:gd name="T15" fmla="*/ 7 h 166"/>
                  <a:gd name="T16" fmla="*/ 10 w 70"/>
                  <a:gd name="T17" fmla="*/ 3 h 166"/>
                  <a:gd name="T18" fmla="*/ 6 w 70"/>
                  <a:gd name="T19" fmla="*/ 1 h 166"/>
                  <a:gd name="T20" fmla="*/ 1 w 70"/>
                  <a:gd name="T21" fmla="*/ 0 h 166"/>
                  <a:gd name="T22" fmla="*/ 0 w 70"/>
                  <a:gd name="T23" fmla="*/ 10 h 166"/>
                  <a:gd name="T24" fmla="*/ 1 w 70"/>
                  <a:gd name="T25" fmla="*/ 21 h 166"/>
                  <a:gd name="T26" fmla="*/ 4 w 70"/>
                  <a:gd name="T27" fmla="*/ 32 h 166"/>
                  <a:gd name="T28" fmla="*/ 6 w 70"/>
                  <a:gd name="T29" fmla="*/ 43 h 166"/>
                  <a:gd name="T30" fmla="*/ 7 w 70"/>
                  <a:gd name="T31" fmla="*/ 63 h 166"/>
                  <a:gd name="T32" fmla="*/ 10 w 70"/>
                  <a:gd name="T33" fmla="*/ 83 h 166"/>
                  <a:gd name="T34" fmla="*/ 11 w 70"/>
                  <a:gd name="T35" fmla="*/ 93 h 166"/>
                  <a:gd name="T36" fmla="*/ 12 w 70"/>
                  <a:gd name="T37" fmla="*/ 103 h 166"/>
                  <a:gd name="T38" fmla="*/ 16 w 70"/>
                  <a:gd name="T39" fmla="*/ 113 h 166"/>
                  <a:gd name="T40" fmla="*/ 19 w 70"/>
                  <a:gd name="T41" fmla="*/ 121 h 166"/>
                  <a:gd name="T42" fmla="*/ 27 w 70"/>
                  <a:gd name="T43" fmla="*/ 136 h 166"/>
                  <a:gd name="T44" fmla="*/ 33 w 70"/>
                  <a:gd name="T45" fmla="*/ 150 h 166"/>
                  <a:gd name="T46" fmla="*/ 41 w 70"/>
                  <a:gd name="T47" fmla="*/ 160 h 166"/>
                  <a:gd name="T48" fmla="*/ 48 w 70"/>
                  <a:gd name="T49" fmla="*/ 166 h 166"/>
                  <a:gd name="T50" fmla="*/ 51 w 70"/>
                  <a:gd name="T51" fmla="*/ 166 h 166"/>
                  <a:gd name="T52" fmla="*/ 52 w 70"/>
                  <a:gd name="T53" fmla="*/ 160 h 166"/>
                  <a:gd name="T54" fmla="*/ 54 w 70"/>
                  <a:gd name="T55" fmla="*/ 154 h 166"/>
                  <a:gd name="T56" fmla="*/ 57 w 70"/>
                  <a:gd name="T57" fmla="*/ 139 h 166"/>
                  <a:gd name="T58" fmla="*/ 59 w 70"/>
                  <a:gd name="T59" fmla="*/ 121 h 166"/>
                  <a:gd name="T60" fmla="*/ 60 w 70"/>
                  <a:gd name="T61" fmla="*/ 113 h 166"/>
                  <a:gd name="T62" fmla="*/ 62 w 70"/>
                  <a:gd name="T63" fmla="*/ 104 h 166"/>
                  <a:gd name="T64" fmla="*/ 64 w 70"/>
                  <a:gd name="T65" fmla="*/ 97 h 166"/>
                  <a:gd name="T66" fmla="*/ 68 w 70"/>
                  <a:gd name="T67" fmla="*/ 92 h 166"/>
                  <a:gd name="T68" fmla="*/ 70 w 70"/>
                  <a:gd name="T69" fmla="*/ 7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0" h="166">
                    <a:moveTo>
                      <a:pt x="70" y="77"/>
                    </a:moveTo>
                    <a:lnTo>
                      <a:pt x="65" y="68"/>
                    </a:lnTo>
                    <a:lnTo>
                      <a:pt x="60" y="58"/>
                    </a:lnTo>
                    <a:lnTo>
                      <a:pt x="48" y="45"/>
                    </a:lnTo>
                    <a:lnTo>
                      <a:pt x="35" y="28"/>
                    </a:lnTo>
                    <a:lnTo>
                      <a:pt x="25" y="19"/>
                    </a:lnTo>
                    <a:lnTo>
                      <a:pt x="16" y="10"/>
                    </a:lnTo>
                    <a:lnTo>
                      <a:pt x="13" y="7"/>
                    </a:lnTo>
                    <a:lnTo>
                      <a:pt x="10" y="3"/>
                    </a:lnTo>
                    <a:lnTo>
                      <a:pt x="6" y="1"/>
                    </a:lnTo>
                    <a:lnTo>
                      <a:pt x="1" y="0"/>
                    </a:lnTo>
                    <a:lnTo>
                      <a:pt x="0" y="10"/>
                    </a:lnTo>
                    <a:lnTo>
                      <a:pt x="1" y="21"/>
                    </a:lnTo>
                    <a:lnTo>
                      <a:pt x="4" y="32"/>
                    </a:lnTo>
                    <a:lnTo>
                      <a:pt x="6" y="43"/>
                    </a:lnTo>
                    <a:lnTo>
                      <a:pt x="7" y="63"/>
                    </a:lnTo>
                    <a:lnTo>
                      <a:pt x="10" y="83"/>
                    </a:lnTo>
                    <a:lnTo>
                      <a:pt x="11" y="93"/>
                    </a:lnTo>
                    <a:lnTo>
                      <a:pt x="12" y="103"/>
                    </a:lnTo>
                    <a:lnTo>
                      <a:pt x="16" y="113"/>
                    </a:lnTo>
                    <a:lnTo>
                      <a:pt x="19" y="121"/>
                    </a:lnTo>
                    <a:lnTo>
                      <a:pt x="27" y="136"/>
                    </a:lnTo>
                    <a:lnTo>
                      <a:pt x="33" y="150"/>
                    </a:lnTo>
                    <a:lnTo>
                      <a:pt x="41" y="160"/>
                    </a:lnTo>
                    <a:lnTo>
                      <a:pt x="48" y="166"/>
                    </a:lnTo>
                    <a:lnTo>
                      <a:pt x="51" y="166"/>
                    </a:lnTo>
                    <a:lnTo>
                      <a:pt x="52" y="160"/>
                    </a:lnTo>
                    <a:lnTo>
                      <a:pt x="54" y="154"/>
                    </a:lnTo>
                    <a:lnTo>
                      <a:pt x="57" y="139"/>
                    </a:lnTo>
                    <a:lnTo>
                      <a:pt x="59" y="121"/>
                    </a:lnTo>
                    <a:lnTo>
                      <a:pt x="60" y="113"/>
                    </a:lnTo>
                    <a:lnTo>
                      <a:pt x="62" y="104"/>
                    </a:lnTo>
                    <a:lnTo>
                      <a:pt x="64" y="97"/>
                    </a:lnTo>
                    <a:lnTo>
                      <a:pt x="68" y="92"/>
                    </a:lnTo>
                    <a:lnTo>
                      <a:pt x="7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71"/>
              <p:cNvSpPr>
                <a:spLocks/>
              </p:cNvSpPr>
              <p:nvPr/>
            </p:nvSpPr>
            <p:spPr bwMode="auto">
              <a:xfrm>
                <a:off x="7180263" y="7905750"/>
                <a:ext cx="36513" cy="65088"/>
              </a:xfrm>
              <a:custGeom>
                <a:avLst/>
                <a:gdLst>
                  <a:gd name="T0" fmla="*/ 94 w 94"/>
                  <a:gd name="T1" fmla="*/ 61 h 167"/>
                  <a:gd name="T2" fmla="*/ 84 w 94"/>
                  <a:gd name="T3" fmla="*/ 52 h 167"/>
                  <a:gd name="T4" fmla="*/ 76 w 94"/>
                  <a:gd name="T5" fmla="*/ 45 h 167"/>
                  <a:gd name="T6" fmla="*/ 65 w 94"/>
                  <a:gd name="T7" fmla="*/ 39 h 167"/>
                  <a:gd name="T8" fmla="*/ 54 w 94"/>
                  <a:gd name="T9" fmla="*/ 33 h 167"/>
                  <a:gd name="T10" fmla="*/ 43 w 94"/>
                  <a:gd name="T11" fmla="*/ 25 h 167"/>
                  <a:gd name="T12" fmla="*/ 31 w 94"/>
                  <a:gd name="T13" fmla="*/ 16 h 167"/>
                  <a:gd name="T14" fmla="*/ 21 w 94"/>
                  <a:gd name="T15" fmla="*/ 9 h 167"/>
                  <a:gd name="T16" fmla="*/ 11 w 94"/>
                  <a:gd name="T17" fmla="*/ 0 h 167"/>
                  <a:gd name="T18" fmla="*/ 10 w 94"/>
                  <a:gd name="T19" fmla="*/ 9 h 167"/>
                  <a:gd name="T20" fmla="*/ 11 w 94"/>
                  <a:gd name="T21" fmla="*/ 20 h 167"/>
                  <a:gd name="T22" fmla="*/ 13 w 94"/>
                  <a:gd name="T23" fmla="*/ 29 h 167"/>
                  <a:gd name="T24" fmla="*/ 15 w 94"/>
                  <a:gd name="T25" fmla="*/ 40 h 167"/>
                  <a:gd name="T26" fmla="*/ 12 w 94"/>
                  <a:gd name="T27" fmla="*/ 56 h 167"/>
                  <a:gd name="T28" fmla="*/ 9 w 94"/>
                  <a:gd name="T29" fmla="*/ 71 h 167"/>
                  <a:gd name="T30" fmla="*/ 4 w 94"/>
                  <a:gd name="T31" fmla="*/ 87 h 167"/>
                  <a:gd name="T32" fmla="*/ 1 w 94"/>
                  <a:gd name="T33" fmla="*/ 103 h 167"/>
                  <a:gd name="T34" fmla="*/ 0 w 94"/>
                  <a:gd name="T35" fmla="*/ 116 h 167"/>
                  <a:gd name="T36" fmla="*/ 0 w 94"/>
                  <a:gd name="T37" fmla="*/ 129 h 167"/>
                  <a:gd name="T38" fmla="*/ 0 w 94"/>
                  <a:gd name="T39" fmla="*/ 144 h 167"/>
                  <a:gd name="T40" fmla="*/ 0 w 94"/>
                  <a:gd name="T41" fmla="*/ 158 h 167"/>
                  <a:gd name="T42" fmla="*/ 18 w 94"/>
                  <a:gd name="T43" fmla="*/ 160 h 167"/>
                  <a:gd name="T44" fmla="*/ 37 w 94"/>
                  <a:gd name="T45" fmla="*/ 162 h 167"/>
                  <a:gd name="T46" fmla="*/ 57 w 94"/>
                  <a:gd name="T47" fmla="*/ 163 h 167"/>
                  <a:gd name="T48" fmla="*/ 76 w 94"/>
                  <a:gd name="T49" fmla="*/ 167 h 167"/>
                  <a:gd name="T50" fmla="*/ 80 w 94"/>
                  <a:gd name="T51" fmla="*/ 167 h 167"/>
                  <a:gd name="T52" fmla="*/ 83 w 94"/>
                  <a:gd name="T53" fmla="*/ 165 h 167"/>
                  <a:gd name="T54" fmla="*/ 86 w 94"/>
                  <a:gd name="T55" fmla="*/ 162 h 167"/>
                  <a:gd name="T56" fmla="*/ 87 w 94"/>
                  <a:gd name="T57" fmla="*/ 159 h 167"/>
                  <a:gd name="T58" fmla="*/ 88 w 94"/>
                  <a:gd name="T59" fmla="*/ 151 h 167"/>
                  <a:gd name="T60" fmla="*/ 88 w 94"/>
                  <a:gd name="T61" fmla="*/ 142 h 167"/>
                  <a:gd name="T62" fmla="*/ 87 w 94"/>
                  <a:gd name="T63" fmla="*/ 128 h 167"/>
                  <a:gd name="T64" fmla="*/ 86 w 94"/>
                  <a:gd name="T65" fmla="*/ 114 h 167"/>
                  <a:gd name="T66" fmla="*/ 87 w 94"/>
                  <a:gd name="T67" fmla="*/ 99 h 167"/>
                  <a:gd name="T68" fmla="*/ 89 w 94"/>
                  <a:gd name="T69" fmla="*/ 86 h 167"/>
                  <a:gd name="T70" fmla="*/ 94 w 94"/>
                  <a:gd name="T71" fmla="*/ 6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4" h="167">
                    <a:moveTo>
                      <a:pt x="94" y="61"/>
                    </a:moveTo>
                    <a:lnTo>
                      <a:pt x="84" y="52"/>
                    </a:lnTo>
                    <a:lnTo>
                      <a:pt x="76" y="45"/>
                    </a:lnTo>
                    <a:lnTo>
                      <a:pt x="65" y="39"/>
                    </a:lnTo>
                    <a:lnTo>
                      <a:pt x="54" y="33"/>
                    </a:lnTo>
                    <a:lnTo>
                      <a:pt x="43" y="25"/>
                    </a:lnTo>
                    <a:lnTo>
                      <a:pt x="31" y="16"/>
                    </a:lnTo>
                    <a:lnTo>
                      <a:pt x="21" y="9"/>
                    </a:lnTo>
                    <a:lnTo>
                      <a:pt x="11" y="0"/>
                    </a:lnTo>
                    <a:lnTo>
                      <a:pt x="10" y="9"/>
                    </a:lnTo>
                    <a:lnTo>
                      <a:pt x="11" y="20"/>
                    </a:lnTo>
                    <a:lnTo>
                      <a:pt x="13" y="29"/>
                    </a:lnTo>
                    <a:lnTo>
                      <a:pt x="15" y="40"/>
                    </a:lnTo>
                    <a:lnTo>
                      <a:pt x="12" y="56"/>
                    </a:lnTo>
                    <a:lnTo>
                      <a:pt x="9" y="71"/>
                    </a:lnTo>
                    <a:lnTo>
                      <a:pt x="4" y="87"/>
                    </a:lnTo>
                    <a:lnTo>
                      <a:pt x="1" y="103"/>
                    </a:lnTo>
                    <a:lnTo>
                      <a:pt x="0" y="116"/>
                    </a:lnTo>
                    <a:lnTo>
                      <a:pt x="0" y="129"/>
                    </a:lnTo>
                    <a:lnTo>
                      <a:pt x="0" y="144"/>
                    </a:lnTo>
                    <a:lnTo>
                      <a:pt x="0" y="158"/>
                    </a:lnTo>
                    <a:lnTo>
                      <a:pt x="18" y="160"/>
                    </a:lnTo>
                    <a:lnTo>
                      <a:pt x="37" y="162"/>
                    </a:lnTo>
                    <a:lnTo>
                      <a:pt x="57" y="163"/>
                    </a:lnTo>
                    <a:lnTo>
                      <a:pt x="76" y="167"/>
                    </a:lnTo>
                    <a:lnTo>
                      <a:pt x="80" y="167"/>
                    </a:lnTo>
                    <a:lnTo>
                      <a:pt x="83" y="165"/>
                    </a:lnTo>
                    <a:lnTo>
                      <a:pt x="86" y="162"/>
                    </a:lnTo>
                    <a:lnTo>
                      <a:pt x="87" y="159"/>
                    </a:lnTo>
                    <a:lnTo>
                      <a:pt x="88" y="151"/>
                    </a:lnTo>
                    <a:lnTo>
                      <a:pt x="88" y="142"/>
                    </a:lnTo>
                    <a:lnTo>
                      <a:pt x="87" y="128"/>
                    </a:lnTo>
                    <a:lnTo>
                      <a:pt x="86" y="114"/>
                    </a:lnTo>
                    <a:lnTo>
                      <a:pt x="87" y="99"/>
                    </a:lnTo>
                    <a:lnTo>
                      <a:pt x="89" y="86"/>
                    </a:lnTo>
                    <a:lnTo>
                      <a:pt x="94" y="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72"/>
              <p:cNvSpPr>
                <a:spLocks/>
              </p:cNvSpPr>
              <p:nvPr/>
            </p:nvSpPr>
            <p:spPr bwMode="auto">
              <a:xfrm>
                <a:off x="7196138" y="7988300"/>
                <a:ext cx="34925" cy="30163"/>
              </a:xfrm>
              <a:custGeom>
                <a:avLst/>
                <a:gdLst>
                  <a:gd name="T0" fmla="*/ 76 w 88"/>
                  <a:gd name="T1" fmla="*/ 0 h 75"/>
                  <a:gd name="T2" fmla="*/ 70 w 88"/>
                  <a:gd name="T3" fmla="*/ 5 h 75"/>
                  <a:gd name="T4" fmla="*/ 63 w 88"/>
                  <a:gd name="T5" fmla="*/ 8 h 75"/>
                  <a:gd name="T6" fmla="*/ 54 w 88"/>
                  <a:gd name="T7" fmla="*/ 12 h 75"/>
                  <a:gd name="T8" fmla="*/ 46 w 88"/>
                  <a:gd name="T9" fmla="*/ 13 h 75"/>
                  <a:gd name="T10" fmla="*/ 35 w 88"/>
                  <a:gd name="T11" fmla="*/ 14 h 75"/>
                  <a:gd name="T12" fmla="*/ 18 w 88"/>
                  <a:gd name="T13" fmla="*/ 17 h 75"/>
                  <a:gd name="T14" fmla="*/ 10 w 88"/>
                  <a:gd name="T15" fmla="*/ 19 h 75"/>
                  <a:gd name="T16" fmla="*/ 4 w 88"/>
                  <a:gd name="T17" fmla="*/ 22 h 75"/>
                  <a:gd name="T18" fmla="*/ 1 w 88"/>
                  <a:gd name="T19" fmla="*/ 24 h 75"/>
                  <a:gd name="T20" fmla="*/ 0 w 88"/>
                  <a:gd name="T21" fmla="*/ 27 h 75"/>
                  <a:gd name="T22" fmla="*/ 0 w 88"/>
                  <a:gd name="T23" fmla="*/ 29 h 75"/>
                  <a:gd name="T24" fmla="*/ 0 w 88"/>
                  <a:gd name="T25" fmla="*/ 31 h 75"/>
                  <a:gd name="T26" fmla="*/ 4 w 88"/>
                  <a:gd name="T27" fmla="*/ 35 h 75"/>
                  <a:gd name="T28" fmla="*/ 9 w 88"/>
                  <a:gd name="T29" fmla="*/ 37 h 75"/>
                  <a:gd name="T30" fmla="*/ 18 w 88"/>
                  <a:gd name="T31" fmla="*/ 35 h 75"/>
                  <a:gd name="T32" fmla="*/ 29 w 88"/>
                  <a:gd name="T33" fmla="*/ 31 h 75"/>
                  <a:gd name="T34" fmla="*/ 34 w 88"/>
                  <a:gd name="T35" fmla="*/ 31 h 75"/>
                  <a:gd name="T36" fmla="*/ 38 w 88"/>
                  <a:gd name="T37" fmla="*/ 30 h 75"/>
                  <a:gd name="T38" fmla="*/ 41 w 88"/>
                  <a:gd name="T39" fmla="*/ 31 h 75"/>
                  <a:gd name="T40" fmla="*/ 45 w 88"/>
                  <a:gd name="T41" fmla="*/ 33 h 75"/>
                  <a:gd name="T42" fmla="*/ 46 w 88"/>
                  <a:gd name="T43" fmla="*/ 35 h 75"/>
                  <a:gd name="T44" fmla="*/ 48 w 88"/>
                  <a:gd name="T45" fmla="*/ 36 h 75"/>
                  <a:gd name="T46" fmla="*/ 51 w 88"/>
                  <a:gd name="T47" fmla="*/ 39 h 75"/>
                  <a:gd name="T48" fmla="*/ 53 w 88"/>
                  <a:gd name="T49" fmla="*/ 42 h 75"/>
                  <a:gd name="T50" fmla="*/ 54 w 88"/>
                  <a:gd name="T51" fmla="*/ 49 h 75"/>
                  <a:gd name="T52" fmla="*/ 56 w 88"/>
                  <a:gd name="T53" fmla="*/ 59 h 75"/>
                  <a:gd name="T54" fmla="*/ 57 w 88"/>
                  <a:gd name="T55" fmla="*/ 64 h 75"/>
                  <a:gd name="T56" fmla="*/ 58 w 88"/>
                  <a:gd name="T57" fmla="*/ 69 h 75"/>
                  <a:gd name="T58" fmla="*/ 59 w 88"/>
                  <a:gd name="T59" fmla="*/ 71 h 75"/>
                  <a:gd name="T60" fmla="*/ 62 w 88"/>
                  <a:gd name="T61" fmla="*/ 73 h 75"/>
                  <a:gd name="T62" fmla="*/ 63 w 88"/>
                  <a:gd name="T63" fmla="*/ 73 h 75"/>
                  <a:gd name="T64" fmla="*/ 63 w 88"/>
                  <a:gd name="T65" fmla="*/ 75 h 75"/>
                  <a:gd name="T66" fmla="*/ 69 w 88"/>
                  <a:gd name="T67" fmla="*/ 75 h 75"/>
                  <a:gd name="T68" fmla="*/ 70 w 88"/>
                  <a:gd name="T69" fmla="*/ 73 h 75"/>
                  <a:gd name="T70" fmla="*/ 72 w 88"/>
                  <a:gd name="T71" fmla="*/ 71 h 75"/>
                  <a:gd name="T72" fmla="*/ 75 w 88"/>
                  <a:gd name="T73" fmla="*/ 64 h 75"/>
                  <a:gd name="T74" fmla="*/ 77 w 88"/>
                  <a:gd name="T75" fmla="*/ 57 h 75"/>
                  <a:gd name="T76" fmla="*/ 78 w 88"/>
                  <a:gd name="T77" fmla="*/ 48 h 75"/>
                  <a:gd name="T78" fmla="*/ 80 w 88"/>
                  <a:gd name="T79" fmla="*/ 41 h 75"/>
                  <a:gd name="T80" fmla="*/ 81 w 88"/>
                  <a:gd name="T81" fmla="*/ 35 h 75"/>
                  <a:gd name="T82" fmla="*/ 83 w 88"/>
                  <a:gd name="T83" fmla="*/ 29 h 75"/>
                  <a:gd name="T84" fmla="*/ 85 w 88"/>
                  <a:gd name="T85" fmla="*/ 27 h 75"/>
                  <a:gd name="T86" fmla="*/ 87 w 88"/>
                  <a:gd name="T87" fmla="*/ 23 h 75"/>
                  <a:gd name="T88" fmla="*/ 88 w 88"/>
                  <a:gd name="T89" fmla="*/ 19 h 75"/>
                  <a:gd name="T90" fmla="*/ 87 w 88"/>
                  <a:gd name="T91" fmla="*/ 17 h 75"/>
                  <a:gd name="T92" fmla="*/ 76 w 88"/>
                  <a:gd name="T9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8" h="75">
                    <a:moveTo>
                      <a:pt x="76" y="0"/>
                    </a:moveTo>
                    <a:lnTo>
                      <a:pt x="70" y="5"/>
                    </a:lnTo>
                    <a:lnTo>
                      <a:pt x="63" y="8"/>
                    </a:lnTo>
                    <a:lnTo>
                      <a:pt x="54" y="12"/>
                    </a:lnTo>
                    <a:lnTo>
                      <a:pt x="46" y="13"/>
                    </a:lnTo>
                    <a:lnTo>
                      <a:pt x="35" y="14"/>
                    </a:lnTo>
                    <a:lnTo>
                      <a:pt x="18" y="17"/>
                    </a:lnTo>
                    <a:lnTo>
                      <a:pt x="10" y="19"/>
                    </a:lnTo>
                    <a:lnTo>
                      <a:pt x="4" y="22"/>
                    </a:lnTo>
                    <a:lnTo>
                      <a:pt x="1" y="24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4" y="35"/>
                    </a:lnTo>
                    <a:lnTo>
                      <a:pt x="9" y="37"/>
                    </a:lnTo>
                    <a:lnTo>
                      <a:pt x="18" y="35"/>
                    </a:lnTo>
                    <a:lnTo>
                      <a:pt x="29" y="31"/>
                    </a:lnTo>
                    <a:lnTo>
                      <a:pt x="34" y="31"/>
                    </a:lnTo>
                    <a:lnTo>
                      <a:pt x="38" y="30"/>
                    </a:lnTo>
                    <a:lnTo>
                      <a:pt x="41" y="31"/>
                    </a:lnTo>
                    <a:lnTo>
                      <a:pt x="45" y="33"/>
                    </a:lnTo>
                    <a:lnTo>
                      <a:pt x="46" y="35"/>
                    </a:lnTo>
                    <a:lnTo>
                      <a:pt x="48" y="36"/>
                    </a:lnTo>
                    <a:lnTo>
                      <a:pt x="51" y="39"/>
                    </a:lnTo>
                    <a:lnTo>
                      <a:pt x="53" y="42"/>
                    </a:lnTo>
                    <a:lnTo>
                      <a:pt x="54" y="49"/>
                    </a:lnTo>
                    <a:lnTo>
                      <a:pt x="56" y="59"/>
                    </a:lnTo>
                    <a:lnTo>
                      <a:pt x="57" y="64"/>
                    </a:lnTo>
                    <a:lnTo>
                      <a:pt x="58" y="69"/>
                    </a:lnTo>
                    <a:lnTo>
                      <a:pt x="59" y="71"/>
                    </a:lnTo>
                    <a:lnTo>
                      <a:pt x="62" y="73"/>
                    </a:lnTo>
                    <a:lnTo>
                      <a:pt x="63" y="73"/>
                    </a:lnTo>
                    <a:lnTo>
                      <a:pt x="63" y="75"/>
                    </a:lnTo>
                    <a:lnTo>
                      <a:pt x="69" y="75"/>
                    </a:lnTo>
                    <a:lnTo>
                      <a:pt x="70" y="73"/>
                    </a:lnTo>
                    <a:lnTo>
                      <a:pt x="72" y="71"/>
                    </a:lnTo>
                    <a:lnTo>
                      <a:pt x="75" y="64"/>
                    </a:lnTo>
                    <a:lnTo>
                      <a:pt x="77" y="57"/>
                    </a:lnTo>
                    <a:lnTo>
                      <a:pt x="78" y="48"/>
                    </a:lnTo>
                    <a:lnTo>
                      <a:pt x="80" y="41"/>
                    </a:lnTo>
                    <a:lnTo>
                      <a:pt x="81" y="35"/>
                    </a:lnTo>
                    <a:lnTo>
                      <a:pt x="83" y="29"/>
                    </a:lnTo>
                    <a:lnTo>
                      <a:pt x="85" y="27"/>
                    </a:lnTo>
                    <a:lnTo>
                      <a:pt x="87" y="23"/>
                    </a:lnTo>
                    <a:lnTo>
                      <a:pt x="88" y="19"/>
                    </a:lnTo>
                    <a:lnTo>
                      <a:pt x="87" y="17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73"/>
              <p:cNvSpPr>
                <a:spLocks/>
              </p:cNvSpPr>
              <p:nvPr/>
            </p:nvSpPr>
            <p:spPr bwMode="auto">
              <a:xfrm>
                <a:off x="7283451" y="8091488"/>
                <a:ext cx="28575" cy="33338"/>
              </a:xfrm>
              <a:custGeom>
                <a:avLst/>
                <a:gdLst>
                  <a:gd name="T0" fmla="*/ 63 w 70"/>
                  <a:gd name="T1" fmla="*/ 39 h 86"/>
                  <a:gd name="T2" fmla="*/ 67 w 70"/>
                  <a:gd name="T3" fmla="*/ 31 h 86"/>
                  <a:gd name="T4" fmla="*/ 68 w 70"/>
                  <a:gd name="T5" fmla="*/ 24 h 86"/>
                  <a:gd name="T6" fmla="*/ 69 w 70"/>
                  <a:gd name="T7" fmla="*/ 14 h 86"/>
                  <a:gd name="T8" fmla="*/ 70 w 70"/>
                  <a:gd name="T9" fmla="*/ 7 h 86"/>
                  <a:gd name="T10" fmla="*/ 62 w 70"/>
                  <a:gd name="T11" fmla="*/ 4 h 86"/>
                  <a:gd name="T12" fmla="*/ 53 w 70"/>
                  <a:gd name="T13" fmla="*/ 4 h 86"/>
                  <a:gd name="T14" fmla="*/ 45 w 70"/>
                  <a:gd name="T15" fmla="*/ 2 h 86"/>
                  <a:gd name="T16" fmla="*/ 33 w 70"/>
                  <a:gd name="T17" fmla="*/ 0 h 86"/>
                  <a:gd name="T18" fmla="*/ 26 w 70"/>
                  <a:gd name="T19" fmla="*/ 0 h 86"/>
                  <a:gd name="T20" fmla="*/ 21 w 70"/>
                  <a:gd name="T21" fmla="*/ 0 h 86"/>
                  <a:gd name="T22" fmla="*/ 16 w 70"/>
                  <a:gd name="T23" fmla="*/ 1 h 86"/>
                  <a:gd name="T24" fmla="*/ 14 w 70"/>
                  <a:gd name="T25" fmla="*/ 3 h 86"/>
                  <a:gd name="T26" fmla="*/ 11 w 70"/>
                  <a:gd name="T27" fmla="*/ 21 h 86"/>
                  <a:gd name="T28" fmla="*/ 8 w 70"/>
                  <a:gd name="T29" fmla="*/ 38 h 86"/>
                  <a:gd name="T30" fmla="*/ 5 w 70"/>
                  <a:gd name="T31" fmla="*/ 48 h 86"/>
                  <a:gd name="T32" fmla="*/ 2 w 70"/>
                  <a:gd name="T33" fmla="*/ 63 h 86"/>
                  <a:gd name="T34" fmla="*/ 0 w 70"/>
                  <a:gd name="T35" fmla="*/ 72 h 86"/>
                  <a:gd name="T36" fmla="*/ 0 w 70"/>
                  <a:gd name="T37" fmla="*/ 79 h 86"/>
                  <a:gd name="T38" fmla="*/ 0 w 70"/>
                  <a:gd name="T39" fmla="*/ 81 h 86"/>
                  <a:gd name="T40" fmla="*/ 2 w 70"/>
                  <a:gd name="T41" fmla="*/ 84 h 86"/>
                  <a:gd name="T42" fmla="*/ 3 w 70"/>
                  <a:gd name="T43" fmla="*/ 85 h 86"/>
                  <a:gd name="T44" fmla="*/ 4 w 70"/>
                  <a:gd name="T45" fmla="*/ 86 h 86"/>
                  <a:gd name="T46" fmla="*/ 8 w 70"/>
                  <a:gd name="T47" fmla="*/ 86 h 86"/>
                  <a:gd name="T48" fmla="*/ 10 w 70"/>
                  <a:gd name="T49" fmla="*/ 85 h 86"/>
                  <a:gd name="T50" fmla="*/ 13 w 70"/>
                  <a:gd name="T51" fmla="*/ 83 h 86"/>
                  <a:gd name="T52" fmla="*/ 15 w 70"/>
                  <a:gd name="T53" fmla="*/ 80 h 86"/>
                  <a:gd name="T54" fmla="*/ 19 w 70"/>
                  <a:gd name="T55" fmla="*/ 75 h 86"/>
                  <a:gd name="T56" fmla="*/ 23 w 70"/>
                  <a:gd name="T57" fmla="*/ 72 h 86"/>
                  <a:gd name="T58" fmla="*/ 29 w 70"/>
                  <a:gd name="T59" fmla="*/ 68 h 86"/>
                  <a:gd name="T60" fmla="*/ 37 w 70"/>
                  <a:gd name="T61" fmla="*/ 65 h 86"/>
                  <a:gd name="T62" fmla="*/ 43 w 70"/>
                  <a:gd name="T63" fmla="*/ 59 h 86"/>
                  <a:gd name="T64" fmla="*/ 49 w 70"/>
                  <a:gd name="T65" fmla="*/ 55 h 86"/>
                  <a:gd name="T66" fmla="*/ 63 w 70"/>
                  <a:gd name="T67" fmla="*/ 3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86">
                    <a:moveTo>
                      <a:pt x="63" y="39"/>
                    </a:moveTo>
                    <a:lnTo>
                      <a:pt x="67" y="31"/>
                    </a:lnTo>
                    <a:lnTo>
                      <a:pt x="68" y="24"/>
                    </a:lnTo>
                    <a:lnTo>
                      <a:pt x="69" y="14"/>
                    </a:lnTo>
                    <a:lnTo>
                      <a:pt x="70" y="7"/>
                    </a:lnTo>
                    <a:lnTo>
                      <a:pt x="62" y="4"/>
                    </a:lnTo>
                    <a:lnTo>
                      <a:pt x="53" y="4"/>
                    </a:lnTo>
                    <a:lnTo>
                      <a:pt x="45" y="2"/>
                    </a:lnTo>
                    <a:lnTo>
                      <a:pt x="33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6" y="1"/>
                    </a:lnTo>
                    <a:lnTo>
                      <a:pt x="14" y="3"/>
                    </a:lnTo>
                    <a:lnTo>
                      <a:pt x="11" y="21"/>
                    </a:lnTo>
                    <a:lnTo>
                      <a:pt x="8" y="38"/>
                    </a:lnTo>
                    <a:lnTo>
                      <a:pt x="5" y="48"/>
                    </a:lnTo>
                    <a:lnTo>
                      <a:pt x="2" y="63"/>
                    </a:lnTo>
                    <a:lnTo>
                      <a:pt x="0" y="72"/>
                    </a:lnTo>
                    <a:lnTo>
                      <a:pt x="0" y="79"/>
                    </a:lnTo>
                    <a:lnTo>
                      <a:pt x="0" y="81"/>
                    </a:lnTo>
                    <a:lnTo>
                      <a:pt x="2" y="84"/>
                    </a:lnTo>
                    <a:lnTo>
                      <a:pt x="3" y="85"/>
                    </a:lnTo>
                    <a:lnTo>
                      <a:pt x="4" y="86"/>
                    </a:lnTo>
                    <a:lnTo>
                      <a:pt x="8" y="86"/>
                    </a:lnTo>
                    <a:lnTo>
                      <a:pt x="10" y="85"/>
                    </a:lnTo>
                    <a:lnTo>
                      <a:pt x="13" y="83"/>
                    </a:lnTo>
                    <a:lnTo>
                      <a:pt x="15" y="80"/>
                    </a:lnTo>
                    <a:lnTo>
                      <a:pt x="19" y="75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37" y="65"/>
                    </a:lnTo>
                    <a:lnTo>
                      <a:pt x="43" y="59"/>
                    </a:lnTo>
                    <a:lnTo>
                      <a:pt x="49" y="55"/>
                    </a:lnTo>
                    <a:lnTo>
                      <a:pt x="63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74"/>
              <p:cNvSpPr>
                <a:spLocks/>
              </p:cNvSpPr>
              <p:nvPr/>
            </p:nvSpPr>
            <p:spPr bwMode="auto">
              <a:xfrm>
                <a:off x="7339013" y="8242300"/>
                <a:ext cx="58738" cy="61913"/>
              </a:xfrm>
              <a:custGeom>
                <a:avLst/>
                <a:gdLst>
                  <a:gd name="T0" fmla="*/ 130 w 147"/>
                  <a:gd name="T1" fmla="*/ 125 h 155"/>
                  <a:gd name="T2" fmla="*/ 142 w 147"/>
                  <a:gd name="T3" fmla="*/ 108 h 155"/>
                  <a:gd name="T4" fmla="*/ 147 w 147"/>
                  <a:gd name="T5" fmla="*/ 90 h 155"/>
                  <a:gd name="T6" fmla="*/ 146 w 147"/>
                  <a:gd name="T7" fmla="*/ 70 h 155"/>
                  <a:gd name="T8" fmla="*/ 136 w 147"/>
                  <a:gd name="T9" fmla="*/ 43 h 155"/>
                  <a:gd name="T10" fmla="*/ 129 w 147"/>
                  <a:gd name="T11" fmla="*/ 20 h 155"/>
                  <a:gd name="T12" fmla="*/ 124 w 147"/>
                  <a:gd name="T13" fmla="*/ 8 h 155"/>
                  <a:gd name="T14" fmla="*/ 119 w 147"/>
                  <a:gd name="T15" fmla="*/ 1 h 155"/>
                  <a:gd name="T16" fmla="*/ 115 w 147"/>
                  <a:gd name="T17" fmla="*/ 0 h 155"/>
                  <a:gd name="T18" fmla="*/ 107 w 147"/>
                  <a:gd name="T19" fmla="*/ 2 h 155"/>
                  <a:gd name="T20" fmla="*/ 99 w 147"/>
                  <a:gd name="T21" fmla="*/ 12 h 155"/>
                  <a:gd name="T22" fmla="*/ 92 w 147"/>
                  <a:gd name="T23" fmla="*/ 17 h 155"/>
                  <a:gd name="T24" fmla="*/ 77 w 147"/>
                  <a:gd name="T25" fmla="*/ 17 h 155"/>
                  <a:gd name="T26" fmla="*/ 57 w 147"/>
                  <a:gd name="T27" fmla="*/ 13 h 155"/>
                  <a:gd name="T28" fmla="*/ 41 w 147"/>
                  <a:gd name="T29" fmla="*/ 11 h 155"/>
                  <a:gd name="T30" fmla="*/ 32 w 147"/>
                  <a:gd name="T31" fmla="*/ 12 h 155"/>
                  <a:gd name="T32" fmla="*/ 22 w 147"/>
                  <a:gd name="T33" fmla="*/ 18 h 155"/>
                  <a:gd name="T34" fmla="*/ 14 w 147"/>
                  <a:gd name="T35" fmla="*/ 26 h 155"/>
                  <a:gd name="T36" fmla="*/ 6 w 147"/>
                  <a:gd name="T37" fmla="*/ 43 h 155"/>
                  <a:gd name="T38" fmla="*/ 0 w 147"/>
                  <a:gd name="T39" fmla="*/ 82 h 155"/>
                  <a:gd name="T40" fmla="*/ 3 w 147"/>
                  <a:gd name="T41" fmla="*/ 107 h 155"/>
                  <a:gd name="T42" fmla="*/ 5 w 147"/>
                  <a:gd name="T43" fmla="*/ 109 h 155"/>
                  <a:gd name="T44" fmla="*/ 21 w 147"/>
                  <a:gd name="T45" fmla="*/ 99 h 155"/>
                  <a:gd name="T46" fmla="*/ 41 w 147"/>
                  <a:gd name="T47" fmla="*/ 80 h 155"/>
                  <a:gd name="T48" fmla="*/ 56 w 147"/>
                  <a:gd name="T49" fmla="*/ 72 h 155"/>
                  <a:gd name="T50" fmla="*/ 63 w 147"/>
                  <a:gd name="T51" fmla="*/ 76 h 155"/>
                  <a:gd name="T52" fmla="*/ 63 w 147"/>
                  <a:gd name="T53" fmla="*/ 85 h 155"/>
                  <a:gd name="T54" fmla="*/ 58 w 147"/>
                  <a:gd name="T55" fmla="*/ 102 h 155"/>
                  <a:gd name="T56" fmla="*/ 52 w 147"/>
                  <a:gd name="T57" fmla="*/ 124 h 155"/>
                  <a:gd name="T58" fmla="*/ 51 w 147"/>
                  <a:gd name="T59" fmla="*/ 144 h 155"/>
                  <a:gd name="T60" fmla="*/ 56 w 147"/>
                  <a:gd name="T61" fmla="*/ 155 h 155"/>
                  <a:gd name="T62" fmla="*/ 66 w 147"/>
                  <a:gd name="T63" fmla="*/ 150 h 155"/>
                  <a:gd name="T64" fmla="*/ 77 w 147"/>
                  <a:gd name="T65" fmla="*/ 145 h 155"/>
                  <a:gd name="T66" fmla="*/ 88 w 147"/>
                  <a:gd name="T67" fmla="*/ 142 h 155"/>
                  <a:gd name="T68" fmla="*/ 121 w 147"/>
                  <a:gd name="T69" fmla="*/ 13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" h="155">
                    <a:moveTo>
                      <a:pt x="121" y="131"/>
                    </a:moveTo>
                    <a:lnTo>
                      <a:pt x="130" y="125"/>
                    </a:lnTo>
                    <a:lnTo>
                      <a:pt x="136" y="118"/>
                    </a:lnTo>
                    <a:lnTo>
                      <a:pt x="142" y="108"/>
                    </a:lnTo>
                    <a:lnTo>
                      <a:pt x="145" y="100"/>
                    </a:lnTo>
                    <a:lnTo>
                      <a:pt x="147" y="90"/>
                    </a:lnTo>
                    <a:lnTo>
                      <a:pt x="147" y="79"/>
                    </a:lnTo>
                    <a:lnTo>
                      <a:pt x="146" y="70"/>
                    </a:lnTo>
                    <a:lnTo>
                      <a:pt x="142" y="60"/>
                    </a:lnTo>
                    <a:lnTo>
                      <a:pt x="136" y="43"/>
                    </a:lnTo>
                    <a:lnTo>
                      <a:pt x="131" y="28"/>
                    </a:lnTo>
                    <a:lnTo>
                      <a:pt x="129" y="20"/>
                    </a:lnTo>
                    <a:lnTo>
                      <a:pt x="127" y="14"/>
                    </a:lnTo>
                    <a:lnTo>
                      <a:pt x="124" y="8"/>
                    </a:lnTo>
                    <a:lnTo>
                      <a:pt x="121" y="3"/>
                    </a:lnTo>
                    <a:lnTo>
                      <a:pt x="119" y="1"/>
                    </a:lnTo>
                    <a:lnTo>
                      <a:pt x="117" y="1"/>
                    </a:lnTo>
                    <a:lnTo>
                      <a:pt x="115" y="0"/>
                    </a:lnTo>
                    <a:lnTo>
                      <a:pt x="113" y="0"/>
                    </a:lnTo>
                    <a:lnTo>
                      <a:pt x="107" y="2"/>
                    </a:lnTo>
                    <a:lnTo>
                      <a:pt x="103" y="9"/>
                    </a:lnTo>
                    <a:lnTo>
                      <a:pt x="99" y="12"/>
                    </a:lnTo>
                    <a:lnTo>
                      <a:pt x="95" y="14"/>
                    </a:lnTo>
                    <a:lnTo>
                      <a:pt x="92" y="17"/>
                    </a:lnTo>
                    <a:lnTo>
                      <a:pt x="87" y="17"/>
                    </a:lnTo>
                    <a:lnTo>
                      <a:pt x="77" y="17"/>
                    </a:lnTo>
                    <a:lnTo>
                      <a:pt x="68" y="15"/>
                    </a:lnTo>
                    <a:lnTo>
                      <a:pt x="57" y="13"/>
                    </a:lnTo>
                    <a:lnTo>
                      <a:pt x="46" y="11"/>
                    </a:lnTo>
                    <a:lnTo>
                      <a:pt x="41" y="11"/>
                    </a:lnTo>
                    <a:lnTo>
                      <a:pt x="36" y="12"/>
                    </a:lnTo>
                    <a:lnTo>
                      <a:pt x="32" y="12"/>
                    </a:lnTo>
                    <a:lnTo>
                      <a:pt x="27" y="14"/>
                    </a:lnTo>
                    <a:lnTo>
                      <a:pt x="22" y="18"/>
                    </a:lnTo>
                    <a:lnTo>
                      <a:pt x="17" y="22"/>
                    </a:lnTo>
                    <a:lnTo>
                      <a:pt x="14" y="26"/>
                    </a:lnTo>
                    <a:lnTo>
                      <a:pt x="11" y="31"/>
                    </a:lnTo>
                    <a:lnTo>
                      <a:pt x="6" y="43"/>
                    </a:lnTo>
                    <a:lnTo>
                      <a:pt x="3" y="55"/>
                    </a:lnTo>
                    <a:lnTo>
                      <a:pt x="0" y="82"/>
                    </a:lnTo>
                    <a:lnTo>
                      <a:pt x="0" y="106"/>
                    </a:lnTo>
                    <a:lnTo>
                      <a:pt x="3" y="107"/>
                    </a:lnTo>
                    <a:lnTo>
                      <a:pt x="4" y="109"/>
                    </a:lnTo>
                    <a:lnTo>
                      <a:pt x="5" y="109"/>
                    </a:lnTo>
                    <a:lnTo>
                      <a:pt x="9" y="108"/>
                    </a:lnTo>
                    <a:lnTo>
                      <a:pt x="21" y="99"/>
                    </a:lnTo>
                    <a:lnTo>
                      <a:pt x="35" y="86"/>
                    </a:lnTo>
                    <a:lnTo>
                      <a:pt x="41" y="80"/>
                    </a:lnTo>
                    <a:lnTo>
                      <a:pt x="48" y="76"/>
                    </a:lnTo>
                    <a:lnTo>
                      <a:pt x="56" y="72"/>
                    </a:lnTo>
                    <a:lnTo>
                      <a:pt x="62" y="71"/>
                    </a:lnTo>
                    <a:lnTo>
                      <a:pt x="63" y="76"/>
                    </a:lnTo>
                    <a:lnTo>
                      <a:pt x="63" y="80"/>
                    </a:lnTo>
                    <a:lnTo>
                      <a:pt x="63" y="85"/>
                    </a:lnTo>
                    <a:lnTo>
                      <a:pt x="62" y="91"/>
                    </a:lnTo>
                    <a:lnTo>
                      <a:pt x="58" y="102"/>
                    </a:lnTo>
                    <a:lnTo>
                      <a:pt x="54" y="113"/>
                    </a:lnTo>
                    <a:lnTo>
                      <a:pt x="52" y="124"/>
                    </a:lnTo>
                    <a:lnTo>
                      <a:pt x="51" y="133"/>
                    </a:lnTo>
                    <a:lnTo>
                      <a:pt x="51" y="144"/>
                    </a:lnTo>
                    <a:lnTo>
                      <a:pt x="51" y="155"/>
                    </a:lnTo>
                    <a:lnTo>
                      <a:pt x="56" y="155"/>
                    </a:lnTo>
                    <a:lnTo>
                      <a:pt x="62" y="153"/>
                    </a:lnTo>
                    <a:lnTo>
                      <a:pt x="66" y="150"/>
                    </a:lnTo>
                    <a:lnTo>
                      <a:pt x="73" y="148"/>
                    </a:lnTo>
                    <a:lnTo>
                      <a:pt x="77" y="145"/>
                    </a:lnTo>
                    <a:lnTo>
                      <a:pt x="83" y="143"/>
                    </a:lnTo>
                    <a:lnTo>
                      <a:pt x="88" y="142"/>
                    </a:lnTo>
                    <a:lnTo>
                      <a:pt x="94" y="141"/>
                    </a:lnTo>
                    <a:lnTo>
                      <a:pt x="121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75"/>
              <p:cNvSpPr>
                <a:spLocks/>
              </p:cNvSpPr>
              <p:nvPr/>
            </p:nvSpPr>
            <p:spPr bwMode="auto">
              <a:xfrm>
                <a:off x="6924676" y="8215313"/>
                <a:ext cx="234950" cy="233363"/>
              </a:xfrm>
              <a:custGeom>
                <a:avLst/>
                <a:gdLst>
                  <a:gd name="T0" fmla="*/ 227 w 593"/>
                  <a:gd name="T1" fmla="*/ 543 h 590"/>
                  <a:gd name="T2" fmla="*/ 193 w 593"/>
                  <a:gd name="T3" fmla="*/ 507 h 590"/>
                  <a:gd name="T4" fmla="*/ 174 w 593"/>
                  <a:gd name="T5" fmla="*/ 499 h 590"/>
                  <a:gd name="T6" fmla="*/ 166 w 593"/>
                  <a:gd name="T7" fmla="*/ 485 h 590"/>
                  <a:gd name="T8" fmla="*/ 157 w 593"/>
                  <a:gd name="T9" fmla="*/ 465 h 590"/>
                  <a:gd name="T10" fmla="*/ 146 w 593"/>
                  <a:gd name="T11" fmla="*/ 475 h 590"/>
                  <a:gd name="T12" fmla="*/ 134 w 593"/>
                  <a:gd name="T13" fmla="*/ 489 h 590"/>
                  <a:gd name="T14" fmla="*/ 116 w 593"/>
                  <a:gd name="T15" fmla="*/ 482 h 590"/>
                  <a:gd name="T16" fmla="*/ 98 w 593"/>
                  <a:gd name="T17" fmla="*/ 452 h 590"/>
                  <a:gd name="T18" fmla="*/ 94 w 593"/>
                  <a:gd name="T19" fmla="*/ 419 h 590"/>
                  <a:gd name="T20" fmla="*/ 95 w 593"/>
                  <a:gd name="T21" fmla="*/ 400 h 590"/>
                  <a:gd name="T22" fmla="*/ 71 w 593"/>
                  <a:gd name="T23" fmla="*/ 331 h 590"/>
                  <a:gd name="T24" fmla="*/ 9 w 593"/>
                  <a:gd name="T25" fmla="*/ 227 h 590"/>
                  <a:gd name="T26" fmla="*/ 0 w 593"/>
                  <a:gd name="T27" fmla="*/ 186 h 590"/>
                  <a:gd name="T28" fmla="*/ 14 w 593"/>
                  <a:gd name="T29" fmla="*/ 150 h 590"/>
                  <a:gd name="T30" fmla="*/ 19 w 593"/>
                  <a:gd name="T31" fmla="*/ 100 h 590"/>
                  <a:gd name="T32" fmla="*/ 36 w 593"/>
                  <a:gd name="T33" fmla="*/ 0 h 590"/>
                  <a:gd name="T34" fmla="*/ 75 w 593"/>
                  <a:gd name="T35" fmla="*/ 11 h 590"/>
                  <a:gd name="T36" fmla="*/ 165 w 593"/>
                  <a:gd name="T37" fmla="*/ 26 h 590"/>
                  <a:gd name="T38" fmla="*/ 218 w 593"/>
                  <a:gd name="T39" fmla="*/ 41 h 590"/>
                  <a:gd name="T40" fmla="*/ 216 w 593"/>
                  <a:gd name="T41" fmla="*/ 75 h 590"/>
                  <a:gd name="T42" fmla="*/ 192 w 593"/>
                  <a:gd name="T43" fmla="*/ 122 h 590"/>
                  <a:gd name="T44" fmla="*/ 184 w 593"/>
                  <a:gd name="T45" fmla="*/ 151 h 590"/>
                  <a:gd name="T46" fmla="*/ 203 w 593"/>
                  <a:gd name="T47" fmla="*/ 148 h 590"/>
                  <a:gd name="T48" fmla="*/ 226 w 593"/>
                  <a:gd name="T49" fmla="*/ 116 h 590"/>
                  <a:gd name="T50" fmla="*/ 258 w 593"/>
                  <a:gd name="T51" fmla="*/ 75 h 590"/>
                  <a:gd name="T52" fmla="*/ 325 w 593"/>
                  <a:gd name="T53" fmla="*/ 41 h 590"/>
                  <a:gd name="T54" fmla="*/ 341 w 593"/>
                  <a:gd name="T55" fmla="*/ 57 h 590"/>
                  <a:gd name="T56" fmla="*/ 360 w 593"/>
                  <a:gd name="T57" fmla="*/ 79 h 590"/>
                  <a:gd name="T58" fmla="*/ 373 w 593"/>
                  <a:gd name="T59" fmla="*/ 97 h 590"/>
                  <a:gd name="T60" fmla="*/ 399 w 593"/>
                  <a:gd name="T61" fmla="*/ 167 h 590"/>
                  <a:gd name="T62" fmla="*/ 411 w 593"/>
                  <a:gd name="T63" fmla="*/ 216 h 590"/>
                  <a:gd name="T64" fmla="*/ 405 w 593"/>
                  <a:gd name="T65" fmla="*/ 238 h 590"/>
                  <a:gd name="T66" fmla="*/ 358 w 593"/>
                  <a:gd name="T67" fmla="*/ 287 h 590"/>
                  <a:gd name="T68" fmla="*/ 311 w 593"/>
                  <a:gd name="T69" fmla="*/ 306 h 590"/>
                  <a:gd name="T70" fmla="*/ 226 w 593"/>
                  <a:gd name="T71" fmla="*/ 348 h 590"/>
                  <a:gd name="T72" fmla="*/ 211 w 593"/>
                  <a:gd name="T73" fmla="*/ 370 h 590"/>
                  <a:gd name="T74" fmla="*/ 237 w 593"/>
                  <a:gd name="T75" fmla="*/ 375 h 590"/>
                  <a:gd name="T76" fmla="*/ 276 w 593"/>
                  <a:gd name="T77" fmla="*/ 366 h 590"/>
                  <a:gd name="T78" fmla="*/ 281 w 593"/>
                  <a:gd name="T79" fmla="*/ 375 h 590"/>
                  <a:gd name="T80" fmla="*/ 280 w 593"/>
                  <a:gd name="T81" fmla="*/ 401 h 590"/>
                  <a:gd name="T82" fmla="*/ 352 w 593"/>
                  <a:gd name="T83" fmla="*/ 358 h 590"/>
                  <a:gd name="T84" fmla="*/ 357 w 593"/>
                  <a:gd name="T85" fmla="*/ 354 h 590"/>
                  <a:gd name="T86" fmla="*/ 387 w 593"/>
                  <a:gd name="T87" fmla="*/ 346 h 590"/>
                  <a:gd name="T88" fmla="*/ 408 w 593"/>
                  <a:gd name="T89" fmla="*/ 294 h 590"/>
                  <a:gd name="T90" fmla="*/ 429 w 593"/>
                  <a:gd name="T91" fmla="*/ 219 h 590"/>
                  <a:gd name="T92" fmla="*/ 426 w 593"/>
                  <a:gd name="T93" fmla="*/ 171 h 590"/>
                  <a:gd name="T94" fmla="*/ 415 w 593"/>
                  <a:gd name="T95" fmla="*/ 108 h 590"/>
                  <a:gd name="T96" fmla="*/ 463 w 593"/>
                  <a:gd name="T97" fmla="*/ 98 h 590"/>
                  <a:gd name="T98" fmla="*/ 511 w 593"/>
                  <a:gd name="T99" fmla="*/ 88 h 590"/>
                  <a:gd name="T100" fmla="*/ 550 w 593"/>
                  <a:gd name="T101" fmla="*/ 71 h 590"/>
                  <a:gd name="T102" fmla="*/ 593 w 593"/>
                  <a:gd name="T103" fmla="*/ 33 h 590"/>
                  <a:gd name="T104" fmla="*/ 582 w 593"/>
                  <a:gd name="T105" fmla="*/ 86 h 590"/>
                  <a:gd name="T106" fmla="*/ 550 w 593"/>
                  <a:gd name="T107" fmla="*/ 185 h 590"/>
                  <a:gd name="T108" fmla="*/ 521 w 593"/>
                  <a:gd name="T109" fmla="*/ 265 h 590"/>
                  <a:gd name="T110" fmla="*/ 502 w 593"/>
                  <a:gd name="T111" fmla="*/ 382 h 590"/>
                  <a:gd name="T112" fmla="*/ 485 w 593"/>
                  <a:gd name="T113" fmla="*/ 525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3" h="590">
                    <a:moveTo>
                      <a:pt x="297" y="590"/>
                    </a:moveTo>
                    <a:lnTo>
                      <a:pt x="280" y="581"/>
                    </a:lnTo>
                    <a:lnTo>
                      <a:pt x="254" y="562"/>
                    </a:lnTo>
                    <a:lnTo>
                      <a:pt x="227" y="543"/>
                    </a:lnTo>
                    <a:lnTo>
                      <a:pt x="209" y="528"/>
                    </a:lnTo>
                    <a:lnTo>
                      <a:pt x="201" y="518"/>
                    </a:lnTo>
                    <a:lnTo>
                      <a:pt x="196" y="511"/>
                    </a:lnTo>
                    <a:lnTo>
                      <a:pt x="193" y="507"/>
                    </a:lnTo>
                    <a:lnTo>
                      <a:pt x="190" y="505"/>
                    </a:lnTo>
                    <a:lnTo>
                      <a:pt x="184" y="501"/>
                    </a:lnTo>
                    <a:lnTo>
                      <a:pt x="178" y="500"/>
                    </a:lnTo>
                    <a:lnTo>
                      <a:pt x="174" y="499"/>
                    </a:lnTo>
                    <a:lnTo>
                      <a:pt x="172" y="496"/>
                    </a:lnTo>
                    <a:lnTo>
                      <a:pt x="169" y="494"/>
                    </a:lnTo>
                    <a:lnTo>
                      <a:pt x="168" y="491"/>
                    </a:lnTo>
                    <a:lnTo>
                      <a:pt x="166" y="485"/>
                    </a:lnTo>
                    <a:lnTo>
                      <a:pt x="163" y="478"/>
                    </a:lnTo>
                    <a:lnTo>
                      <a:pt x="161" y="472"/>
                    </a:lnTo>
                    <a:lnTo>
                      <a:pt x="159" y="466"/>
                    </a:lnTo>
                    <a:lnTo>
                      <a:pt x="157" y="465"/>
                    </a:lnTo>
                    <a:lnTo>
                      <a:pt x="155" y="464"/>
                    </a:lnTo>
                    <a:lnTo>
                      <a:pt x="153" y="463"/>
                    </a:lnTo>
                    <a:lnTo>
                      <a:pt x="150" y="464"/>
                    </a:lnTo>
                    <a:lnTo>
                      <a:pt x="146" y="475"/>
                    </a:lnTo>
                    <a:lnTo>
                      <a:pt x="142" y="483"/>
                    </a:lnTo>
                    <a:lnTo>
                      <a:pt x="139" y="485"/>
                    </a:lnTo>
                    <a:lnTo>
                      <a:pt x="137" y="488"/>
                    </a:lnTo>
                    <a:lnTo>
                      <a:pt x="134" y="489"/>
                    </a:lnTo>
                    <a:lnTo>
                      <a:pt x="132" y="489"/>
                    </a:lnTo>
                    <a:lnTo>
                      <a:pt x="127" y="489"/>
                    </a:lnTo>
                    <a:lnTo>
                      <a:pt x="121" y="485"/>
                    </a:lnTo>
                    <a:lnTo>
                      <a:pt x="116" y="482"/>
                    </a:lnTo>
                    <a:lnTo>
                      <a:pt x="110" y="476"/>
                    </a:lnTo>
                    <a:lnTo>
                      <a:pt x="106" y="469"/>
                    </a:lnTo>
                    <a:lnTo>
                      <a:pt x="102" y="460"/>
                    </a:lnTo>
                    <a:lnTo>
                      <a:pt x="98" y="452"/>
                    </a:lnTo>
                    <a:lnTo>
                      <a:pt x="96" y="443"/>
                    </a:lnTo>
                    <a:lnTo>
                      <a:pt x="94" y="435"/>
                    </a:lnTo>
                    <a:lnTo>
                      <a:pt x="92" y="426"/>
                    </a:lnTo>
                    <a:lnTo>
                      <a:pt x="94" y="419"/>
                    </a:lnTo>
                    <a:lnTo>
                      <a:pt x="95" y="413"/>
                    </a:lnTo>
                    <a:lnTo>
                      <a:pt x="95" y="411"/>
                    </a:lnTo>
                    <a:lnTo>
                      <a:pt x="95" y="406"/>
                    </a:lnTo>
                    <a:lnTo>
                      <a:pt x="95" y="400"/>
                    </a:lnTo>
                    <a:lnTo>
                      <a:pt x="94" y="394"/>
                    </a:lnTo>
                    <a:lnTo>
                      <a:pt x="89" y="380"/>
                    </a:lnTo>
                    <a:lnTo>
                      <a:pt x="83" y="364"/>
                    </a:lnTo>
                    <a:lnTo>
                      <a:pt x="71" y="331"/>
                    </a:lnTo>
                    <a:lnTo>
                      <a:pt x="61" y="311"/>
                    </a:lnTo>
                    <a:lnTo>
                      <a:pt x="39" y="276"/>
                    </a:lnTo>
                    <a:lnTo>
                      <a:pt x="14" y="238"/>
                    </a:lnTo>
                    <a:lnTo>
                      <a:pt x="9" y="227"/>
                    </a:lnTo>
                    <a:lnTo>
                      <a:pt x="4" y="217"/>
                    </a:lnTo>
                    <a:lnTo>
                      <a:pt x="2" y="206"/>
                    </a:lnTo>
                    <a:lnTo>
                      <a:pt x="0" y="197"/>
                    </a:lnTo>
                    <a:lnTo>
                      <a:pt x="0" y="186"/>
                    </a:lnTo>
                    <a:lnTo>
                      <a:pt x="1" y="176"/>
                    </a:lnTo>
                    <a:lnTo>
                      <a:pt x="4" y="165"/>
                    </a:lnTo>
                    <a:lnTo>
                      <a:pt x="10" y="156"/>
                    </a:lnTo>
                    <a:lnTo>
                      <a:pt x="14" y="150"/>
                    </a:lnTo>
                    <a:lnTo>
                      <a:pt x="17" y="141"/>
                    </a:lnTo>
                    <a:lnTo>
                      <a:pt x="18" y="132"/>
                    </a:lnTo>
                    <a:lnTo>
                      <a:pt x="18" y="121"/>
                    </a:lnTo>
                    <a:lnTo>
                      <a:pt x="19" y="100"/>
                    </a:lnTo>
                    <a:lnTo>
                      <a:pt x="20" y="83"/>
                    </a:lnTo>
                    <a:lnTo>
                      <a:pt x="32" y="3"/>
                    </a:lnTo>
                    <a:lnTo>
                      <a:pt x="35" y="3"/>
                    </a:lnTo>
                    <a:lnTo>
                      <a:pt x="36" y="0"/>
                    </a:lnTo>
                    <a:lnTo>
                      <a:pt x="44" y="2"/>
                    </a:lnTo>
                    <a:lnTo>
                      <a:pt x="54" y="4"/>
                    </a:lnTo>
                    <a:lnTo>
                      <a:pt x="65" y="8"/>
                    </a:lnTo>
                    <a:lnTo>
                      <a:pt x="75" y="11"/>
                    </a:lnTo>
                    <a:lnTo>
                      <a:pt x="100" y="20"/>
                    </a:lnTo>
                    <a:lnTo>
                      <a:pt x="120" y="25"/>
                    </a:lnTo>
                    <a:lnTo>
                      <a:pt x="142" y="27"/>
                    </a:lnTo>
                    <a:lnTo>
                      <a:pt x="165" y="26"/>
                    </a:lnTo>
                    <a:lnTo>
                      <a:pt x="187" y="25"/>
                    </a:lnTo>
                    <a:lnTo>
                      <a:pt x="209" y="25"/>
                    </a:lnTo>
                    <a:lnTo>
                      <a:pt x="215" y="33"/>
                    </a:lnTo>
                    <a:lnTo>
                      <a:pt x="218" y="41"/>
                    </a:lnTo>
                    <a:lnTo>
                      <a:pt x="220" y="50"/>
                    </a:lnTo>
                    <a:lnTo>
                      <a:pt x="220" y="58"/>
                    </a:lnTo>
                    <a:lnTo>
                      <a:pt x="219" y="67"/>
                    </a:lnTo>
                    <a:lnTo>
                      <a:pt x="216" y="75"/>
                    </a:lnTo>
                    <a:lnTo>
                      <a:pt x="213" y="83"/>
                    </a:lnTo>
                    <a:lnTo>
                      <a:pt x="209" y="91"/>
                    </a:lnTo>
                    <a:lnTo>
                      <a:pt x="201" y="108"/>
                    </a:lnTo>
                    <a:lnTo>
                      <a:pt x="192" y="122"/>
                    </a:lnTo>
                    <a:lnTo>
                      <a:pt x="189" y="130"/>
                    </a:lnTo>
                    <a:lnTo>
                      <a:pt x="186" y="138"/>
                    </a:lnTo>
                    <a:lnTo>
                      <a:pt x="185" y="145"/>
                    </a:lnTo>
                    <a:lnTo>
                      <a:pt x="184" y="151"/>
                    </a:lnTo>
                    <a:lnTo>
                      <a:pt x="185" y="152"/>
                    </a:lnTo>
                    <a:lnTo>
                      <a:pt x="192" y="152"/>
                    </a:lnTo>
                    <a:lnTo>
                      <a:pt x="198" y="151"/>
                    </a:lnTo>
                    <a:lnTo>
                      <a:pt x="203" y="148"/>
                    </a:lnTo>
                    <a:lnTo>
                      <a:pt x="208" y="145"/>
                    </a:lnTo>
                    <a:lnTo>
                      <a:pt x="215" y="136"/>
                    </a:lnTo>
                    <a:lnTo>
                      <a:pt x="221" y="127"/>
                    </a:lnTo>
                    <a:lnTo>
                      <a:pt x="226" y="116"/>
                    </a:lnTo>
                    <a:lnTo>
                      <a:pt x="231" y="105"/>
                    </a:lnTo>
                    <a:lnTo>
                      <a:pt x="236" y="94"/>
                    </a:lnTo>
                    <a:lnTo>
                      <a:pt x="242" y="87"/>
                    </a:lnTo>
                    <a:lnTo>
                      <a:pt x="258" y="75"/>
                    </a:lnTo>
                    <a:lnTo>
                      <a:pt x="286" y="59"/>
                    </a:lnTo>
                    <a:lnTo>
                      <a:pt x="301" y="52"/>
                    </a:lnTo>
                    <a:lnTo>
                      <a:pt x="314" y="46"/>
                    </a:lnTo>
                    <a:lnTo>
                      <a:pt x="325" y="41"/>
                    </a:lnTo>
                    <a:lnTo>
                      <a:pt x="331" y="41"/>
                    </a:lnTo>
                    <a:lnTo>
                      <a:pt x="333" y="46"/>
                    </a:lnTo>
                    <a:lnTo>
                      <a:pt x="337" y="51"/>
                    </a:lnTo>
                    <a:lnTo>
                      <a:pt x="341" y="57"/>
                    </a:lnTo>
                    <a:lnTo>
                      <a:pt x="346" y="62"/>
                    </a:lnTo>
                    <a:lnTo>
                      <a:pt x="351" y="68"/>
                    </a:lnTo>
                    <a:lnTo>
                      <a:pt x="356" y="73"/>
                    </a:lnTo>
                    <a:lnTo>
                      <a:pt x="360" y="79"/>
                    </a:lnTo>
                    <a:lnTo>
                      <a:pt x="361" y="85"/>
                    </a:lnTo>
                    <a:lnTo>
                      <a:pt x="366" y="87"/>
                    </a:lnTo>
                    <a:lnTo>
                      <a:pt x="369" y="92"/>
                    </a:lnTo>
                    <a:lnTo>
                      <a:pt x="373" y="97"/>
                    </a:lnTo>
                    <a:lnTo>
                      <a:pt x="376" y="103"/>
                    </a:lnTo>
                    <a:lnTo>
                      <a:pt x="382" y="117"/>
                    </a:lnTo>
                    <a:lnTo>
                      <a:pt x="390" y="134"/>
                    </a:lnTo>
                    <a:lnTo>
                      <a:pt x="399" y="167"/>
                    </a:lnTo>
                    <a:lnTo>
                      <a:pt x="406" y="192"/>
                    </a:lnTo>
                    <a:lnTo>
                      <a:pt x="409" y="200"/>
                    </a:lnTo>
                    <a:lnTo>
                      <a:pt x="411" y="209"/>
                    </a:lnTo>
                    <a:lnTo>
                      <a:pt x="411" y="216"/>
                    </a:lnTo>
                    <a:lnTo>
                      <a:pt x="411" y="222"/>
                    </a:lnTo>
                    <a:lnTo>
                      <a:pt x="410" y="228"/>
                    </a:lnTo>
                    <a:lnTo>
                      <a:pt x="408" y="233"/>
                    </a:lnTo>
                    <a:lnTo>
                      <a:pt x="405" y="238"/>
                    </a:lnTo>
                    <a:lnTo>
                      <a:pt x="402" y="242"/>
                    </a:lnTo>
                    <a:lnTo>
                      <a:pt x="385" y="258"/>
                    </a:lnTo>
                    <a:lnTo>
                      <a:pt x="366" y="280"/>
                    </a:lnTo>
                    <a:lnTo>
                      <a:pt x="358" y="287"/>
                    </a:lnTo>
                    <a:lnTo>
                      <a:pt x="350" y="293"/>
                    </a:lnTo>
                    <a:lnTo>
                      <a:pt x="341" y="298"/>
                    </a:lnTo>
                    <a:lnTo>
                      <a:pt x="332" y="300"/>
                    </a:lnTo>
                    <a:lnTo>
                      <a:pt x="311" y="306"/>
                    </a:lnTo>
                    <a:lnTo>
                      <a:pt x="292" y="312"/>
                    </a:lnTo>
                    <a:lnTo>
                      <a:pt x="272" y="321"/>
                    </a:lnTo>
                    <a:lnTo>
                      <a:pt x="240" y="339"/>
                    </a:lnTo>
                    <a:lnTo>
                      <a:pt x="226" y="348"/>
                    </a:lnTo>
                    <a:lnTo>
                      <a:pt x="215" y="358"/>
                    </a:lnTo>
                    <a:lnTo>
                      <a:pt x="213" y="363"/>
                    </a:lnTo>
                    <a:lnTo>
                      <a:pt x="211" y="366"/>
                    </a:lnTo>
                    <a:lnTo>
                      <a:pt x="211" y="370"/>
                    </a:lnTo>
                    <a:lnTo>
                      <a:pt x="215" y="372"/>
                    </a:lnTo>
                    <a:lnTo>
                      <a:pt x="221" y="375"/>
                    </a:lnTo>
                    <a:lnTo>
                      <a:pt x="228" y="375"/>
                    </a:lnTo>
                    <a:lnTo>
                      <a:pt x="237" y="375"/>
                    </a:lnTo>
                    <a:lnTo>
                      <a:pt x="244" y="372"/>
                    </a:lnTo>
                    <a:lnTo>
                      <a:pt x="260" y="369"/>
                    </a:lnTo>
                    <a:lnTo>
                      <a:pt x="273" y="365"/>
                    </a:lnTo>
                    <a:lnTo>
                      <a:pt x="276" y="366"/>
                    </a:lnTo>
                    <a:lnTo>
                      <a:pt x="278" y="366"/>
                    </a:lnTo>
                    <a:lnTo>
                      <a:pt x="280" y="368"/>
                    </a:lnTo>
                    <a:lnTo>
                      <a:pt x="281" y="370"/>
                    </a:lnTo>
                    <a:lnTo>
                      <a:pt x="281" y="375"/>
                    </a:lnTo>
                    <a:lnTo>
                      <a:pt x="281" y="382"/>
                    </a:lnTo>
                    <a:lnTo>
                      <a:pt x="280" y="388"/>
                    </a:lnTo>
                    <a:lnTo>
                      <a:pt x="280" y="395"/>
                    </a:lnTo>
                    <a:lnTo>
                      <a:pt x="280" y="401"/>
                    </a:lnTo>
                    <a:lnTo>
                      <a:pt x="281" y="405"/>
                    </a:lnTo>
                    <a:lnTo>
                      <a:pt x="350" y="375"/>
                    </a:lnTo>
                    <a:lnTo>
                      <a:pt x="351" y="364"/>
                    </a:lnTo>
                    <a:lnTo>
                      <a:pt x="352" y="358"/>
                    </a:lnTo>
                    <a:lnTo>
                      <a:pt x="352" y="355"/>
                    </a:lnTo>
                    <a:lnTo>
                      <a:pt x="353" y="354"/>
                    </a:lnTo>
                    <a:lnTo>
                      <a:pt x="355" y="354"/>
                    </a:lnTo>
                    <a:lnTo>
                      <a:pt x="357" y="354"/>
                    </a:lnTo>
                    <a:lnTo>
                      <a:pt x="362" y="354"/>
                    </a:lnTo>
                    <a:lnTo>
                      <a:pt x="368" y="354"/>
                    </a:lnTo>
                    <a:lnTo>
                      <a:pt x="376" y="352"/>
                    </a:lnTo>
                    <a:lnTo>
                      <a:pt x="387" y="346"/>
                    </a:lnTo>
                    <a:lnTo>
                      <a:pt x="392" y="340"/>
                    </a:lnTo>
                    <a:lnTo>
                      <a:pt x="397" y="328"/>
                    </a:lnTo>
                    <a:lnTo>
                      <a:pt x="402" y="312"/>
                    </a:lnTo>
                    <a:lnTo>
                      <a:pt x="408" y="294"/>
                    </a:lnTo>
                    <a:lnTo>
                      <a:pt x="418" y="259"/>
                    </a:lnTo>
                    <a:lnTo>
                      <a:pt x="426" y="235"/>
                    </a:lnTo>
                    <a:lnTo>
                      <a:pt x="428" y="227"/>
                    </a:lnTo>
                    <a:lnTo>
                      <a:pt x="429" y="219"/>
                    </a:lnTo>
                    <a:lnTo>
                      <a:pt x="431" y="211"/>
                    </a:lnTo>
                    <a:lnTo>
                      <a:pt x="431" y="204"/>
                    </a:lnTo>
                    <a:lnTo>
                      <a:pt x="428" y="187"/>
                    </a:lnTo>
                    <a:lnTo>
                      <a:pt x="426" y="171"/>
                    </a:lnTo>
                    <a:lnTo>
                      <a:pt x="422" y="156"/>
                    </a:lnTo>
                    <a:lnTo>
                      <a:pt x="418" y="140"/>
                    </a:lnTo>
                    <a:lnTo>
                      <a:pt x="416" y="124"/>
                    </a:lnTo>
                    <a:lnTo>
                      <a:pt x="415" y="108"/>
                    </a:lnTo>
                    <a:lnTo>
                      <a:pt x="427" y="104"/>
                    </a:lnTo>
                    <a:lnTo>
                      <a:pt x="439" y="102"/>
                    </a:lnTo>
                    <a:lnTo>
                      <a:pt x="451" y="100"/>
                    </a:lnTo>
                    <a:lnTo>
                      <a:pt x="463" y="98"/>
                    </a:lnTo>
                    <a:lnTo>
                      <a:pt x="475" y="97"/>
                    </a:lnTo>
                    <a:lnTo>
                      <a:pt x="488" y="94"/>
                    </a:lnTo>
                    <a:lnTo>
                      <a:pt x="500" y="92"/>
                    </a:lnTo>
                    <a:lnTo>
                      <a:pt x="511" y="88"/>
                    </a:lnTo>
                    <a:lnTo>
                      <a:pt x="524" y="85"/>
                    </a:lnTo>
                    <a:lnTo>
                      <a:pt x="538" y="79"/>
                    </a:lnTo>
                    <a:lnTo>
                      <a:pt x="544" y="75"/>
                    </a:lnTo>
                    <a:lnTo>
                      <a:pt x="550" y="71"/>
                    </a:lnTo>
                    <a:lnTo>
                      <a:pt x="556" y="68"/>
                    </a:lnTo>
                    <a:lnTo>
                      <a:pt x="560" y="63"/>
                    </a:lnTo>
                    <a:lnTo>
                      <a:pt x="576" y="46"/>
                    </a:lnTo>
                    <a:lnTo>
                      <a:pt x="593" y="33"/>
                    </a:lnTo>
                    <a:lnTo>
                      <a:pt x="592" y="45"/>
                    </a:lnTo>
                    <a:lnTo>
                      <a:pt x="589" y="58"/>
                    </a:lnTo>
                    <a:lnTo>
                      <a:pt x="587" y="71"/>
                    </a:lnTo>
                    <a:lnTo>
                      <a:pt x="582" y="86"/>
                    </a:lnTo>
                    <a:lnTo>
                      <a:pt x="574" y="114"/>
                    </a:lnTo>
                    <a:lnTo>
                      <a:pt x="565" y="139"/>
                    </a:lnTo>
                    <a:lnTo>
                      <a:pt x="558" y="162"/>
                    </a:lnTo>
                    <a:lnTo>
                      <a:pt x="550" y="185"/>
                    </a:lnTo>
                    <a:lnTo>
                      <a:pt x="541" y="206"/>
                    </a:lnTo>
                    <a:lnTo>
                      <a:pt x="532" y="229"/>
                    </a:lnTo>
                    <a:lnTo>
                      <a:pt x="526" y="247"/>
                    </a:lnTo>
                    <a:lnTo>
                      <a:pt x="521" y="265"/>
                    </a:lnTo>
                    <a:lnTo>
                      <a:pt x="516" y="284"/>
                    </a:lnTo>
                    <a:lnTo>
                      <a:pt x="512" y="304"/>
                    </a:lnTo>
                    <a:lnTo>
                      <a:pt x="508" y="343"/>
                    </a:lnTo>
                    <a:lnTo>
                      <a:pt x="502" y="382"/>
                    </a:lnTo>
                    <a:lnTo>
                      <a:pt x="494" y="417"/>
                    </a:lnTo>
                    <a:lnTo>
                      <a:pt x="489" y="453"/>
                    </a:lnTo>
                    <a:lnTo>
                      <a:pt x="486" y="489"/>
                    </a:lnTo>
                    <a:lnTo>
                      <a:pt x="485" y="525"/>
                    </a:lnTo>
                    <a:lnTo>
                      <a:pt x="486" y="590"/>
                    </a:lnTo>
                    <a:lnTo>
                      <a:pt x="297" y="5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76"/>
              <p:cNvSpPr>
                <a:spLocks/>
              </p:cNvSpPr>
              <p:nvPr/>
            </p:nvSpPr>
            <p:spPr bwMode="auto">
              <a:xfrm>
                <a:off x="3194051" y="7710488"/>
                <a:ext cx="22225" cy="46038"/>
              </a:xfrm>
              <a:custGeom>
                <a:avLst/>
                <a:gdLst>
                  <a:gd name="T0" fmla="*/ 58 w 58"/>
                  <a:gd name="T1" fmla="*/ 86 h 117"/>
                  <a:gd name="T2" fmla="*/ 58 w 58"/>
                  <a:gd name="T3" fmla="*/ 76 h 117"/>
                  <a:gd name="T4" fmla="*/ 57 w 58"/>
                  <a:gd name="T5" fmla="*/ 67 h 117"/>
                  <a:gd name="T6" fmla="*/ 53 w 58"/>
                  <a:gd name="T7" fmla="*/ 51 h 117"/>
                  <a:gd name="T8" fmla="*/ 52 w 58"/>
                  <a:gd name="T9" fmla="*/ 35 h 117"/>
                  <a:gd name="T10" fmla="*/ 51 w 58"/>
                  <a:gd name="T11" fmla="*/ 17 h 117"/>
                  <a:gd name="T12" fmla="*/ 46 w 58"/>
                  <a:gd name="T13" fmla="*/ 0 h 117"/>
                  <a:gd name="T14" fmla="*/ 43 w 58"/>
                  <a:gd name="T15" fmla="*/ 2 h 117"/>
                  <a:gd name="T16" fmla="*/ 41 w 58"/>
                  <a:gd name="T17" fmla="*/ 6 h 117"/>
                  <a:gd name="T18" fmla="*/ 39 w 58"/>
                  <a:gd name="T19" fmla="*/ 12 h 117"/>
                  <a:gd name="T20" fmla="*/ 36 w 58"/>
                  <a:gd name="T21" fmla="*/ 20 h 117"/>
                  <a:gd name="T22" fmla="*/ 33 w 58"/>
                  <a:gd name="T23" fmla="*/ 28 h 117"/>
                  <a:gd name="T24" fmla="*/ 30 w 58"/>
                  <a:gd name="T25" fmla="*/ 35 h 117"/>
                  <a:gd name="T26" fmla="*/ 27 w 58"/>
                  <a:gd name="T27" fmla="*/ 41 h 117"/>
                  <a:gd name="T28" fmla="*/ 23 w 58"/>
                  <a:gd name="T29" fmla="*/ 46 h 117"/>
                  <a:gd name="T30" fmla="*/ 17 w 58"/>
                  <a:gd name="T31" fmla="*/ 50 h 117"/>
                  <a:gd name="T32" fmla="*/ 11 w 58"/>
                  <a:gd name="T33" fmla="*/ 55 h 117"/>
                  <a:gd name="T34" fmla="*/ 5 w 58"/>
                  <a:gd name="T35" fmla="*/ 59 h 117"/>
                  <a:gd name="T36" fmla="*/ 1 w 58"/>
                  <a:gd name="T37" fmla="*/ 65 h 117"/>
                  <a:gd name="T38" fmla="*/ 0 w 58"/>
                  <a:gd name="T39" fmla="*/ 69 h 117"/>
                  <a:gd name="T40" fmla="*/ 0 w 58"/>
                  <a:gd name="T41" fmla="*/ 74 h 117"/>
                  <a:gd name="T42" fmla="*/ 0 w 58"/>
                  <a:gd name="T43" fmla="*/ 75 h 117"/>
                  <a:gd name="T44" fmla="*/ 1 w 58"/>
                  <a:gd name="T45" fmla="*/ 77 h 117"/>
                  <a:gd name="T46" fmla="*/ 3 w 58"/>
                  <a:gd name="T47" fmla="*/ 79 h 117"/>
                  <a:gd name="T48" fmla="*/ 5 w 58"/>
                  <a:gd name="T49" fmla="*/ 80 h 117"/>
                  <a:gd name="T50" fmla="*/ 5 w 58"/>
                  <a:gd name="T51" fmla="*/ 81 h 117"/>
                  <a:gd name="T52" fmla="*/ 6 w 58"/>
                  <a:gd name="T53" fmla="*/ 83 h 117"/>
                  <a:gd name="T54" fmla="*/ 13 w 58"/>
                  <a:gd name="T55" fmla="*/ 91 h 117"/>
                  <a:gd name="T56" fmla="*/ 19 w 58"/>
                  <a:gd name="T57" fmla="*/ 100 h 117"/>
                  <a:gd name="T58" fmla="*/ 24 w 58"/>
                  <a:gd name="T59" fmla="*/ 109 h 117"/>
                  <a:gd name="T60" fmla="*/ 30 w 58"/>
                  <a:gd name="T61" fmla="*/ 115 h 117"/>
                  <a:gd name="T62" fmla="*/ 33 w 58"/>
                  <a:gd name="T63" fmla="*/ 117 h 117"/>
                  <a:gd name="T64" fmla="*/ 35 w 58"/>
                  <a:gd name="T65" fmla="*/ 117 h 117"/>
                  <a:gd name="T66" fmla="*/ 39 w 58"/>
                  <a:gd name="T67" fmla="*/ 117 h 117"/>
                  <a:gd name="T68" fmla="*/ 42 w 58"/>
                  <a:gd name="T69" fmla="*/ 115 h 117"/>
                  <a:gd name="T70" fmla="*/ 49 w 58"/>
                  <a:gd name="T71" fmla="*/ 110 h 117"/>
                  <a:gd name="T72" fmla="*/ 55 w 58"/>
                  <a:gd name="T73" fmla="*/ 108 h 117"/>
                  <a:gd name="T74" fmla="*/ 58 w 58"/>
                  <a:gd name="T75" fmla="*/ 8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117">
                    <a:moveTo>
                      <a:pt x="58" y="86"/>
                    </a:moveTo>
                    <a:lnTo>
                      <a:pt x="58" y="76"/>
                    </a:lnTo>
                    <a:lnTo>
                      <a:pt x="57" y="67"/>
                    </a:lnTo>
                    <a:lnTo>
                      <a:pt x="53" y="51"/>
                    </a:lnTo>
                    <a:lnTo>
                      <a:pt x="52" y="35"/>
                    </a:lnTo>
                    <a:lnTo>
                      <a:pt x="51" y="17"/>
                    </a:lnTo>
                    <a:lnTo>
                      <a:pt x="46" y="0"/>
                    </a:lnTo>
                    <a:lnTo>
                      <a:pt x="43" y="2"/>
                    </a:lnTo>
                    <a:lnTo>
                      <a:pt x="41" y="6"/>
                    </a:lnTo>
                    <a:lnTo>
                      <a:pt x="39" y="12"/>
                    </a:lnTo>
                    <a:lnTo>
                      <a:pt x="36" y="20"/>
                    </a:lnTo>
                    <a:lnTo>
                      <a:pt x="33" y="28"/>
                    </a:lnTo>
                    <a:lnTo>
                      <a:pt x="30" y="35"/>
                    </a:lnTo>
                    <a:lnTo>
                      <a:pt x="27" y="41"/>
                    </a:lnTo>
                    <a:lnTo>
                      <a:pt x="23" y="46"/>
                    </a:lnTo>
                    <a:lnTo>
                      <a:pt x="17" y="50"/>
                    </a:lnTo>
                    <a:lnTo>
                      <a:pt x="11" y="55"/>
                    </a:lnTo>
                    <a:lnTo>
                      <a:pt x="5" y="59"/>
                    </a:lnTo>
                    <a:lnTo>
                      <a:pt x="1" y="65"/>
                    </a:lnTo>
                    <a:lnTo>
                      <a:pt x="0" y="69"/>
                    </a:lnTo>
                    <a:lnTo>
                      <a:pt x="0" y="74"/>
                    </a:lnTo>
                    <a:lnTo>
                      <a:pt x="0" y="75"/>
                    </a:lnTo>
                    <a:lnTo>
                      <a:pt x="1" y="77"/>
                    </a:lnTo>
                    <a:lnTo>
                      <a:pt x="3" y="79"/>
                    </a:lnTo>
                    <a:lnTo>
                      <a:pt x="5" y="80"/>
                    </a:lnTo>
                    <a:lnTo>
                      <a:pt x="5" y="81"/>
                    </a:lnTo>
                    <a:lnTo>
                      <a:pt x="6" y="83"/>
                    </a:lnTo>
                    <a:lnTo>
                      <a:pt x="13" y="91"/>
                    </a:lnTo>
                    <a:lnTo>
                      <a:pt x="19" y="100"/>
                    </a:lnTo>
                    <a:lnTo>
                      <a:pt x="24" y="109"/>
                    </a:lnTo>
                    <a:lnTo>
                      <a:pt x="30" y="115"/>
                    </a:lnTo>
                    <a:lnTo>
                      <a:pt x="33" y="117"/>
                    </a:lnTo>
                    <a:lnTo>
                      <a:pt x="35" y="117"/>
                    </a:lnTo>
                    <a:lnTo>
                      <a:pt x="39" y="117"/>
                    </a:lnTo>
                    <a:lnTo>
                      <a:pt x="42" y="115"/>
                    </a:lnTo>
                    <a:lnTo>
                      <a:pt x="49" y="110"/>
                    </a:lnTo>
                    <a:lnTo>
                      <a:pt x="55" y="108"/>
                    </a:lnTo>
                    <a:lnTo>
                      <a:pt x="58" y="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77"/>
              <p:cNvSpPr>
                <a:spLocks/>
              </p:cNvSpPr>
              <p:nvPr/>
            </p:nvSpPr>
            <p:spPr bwMode="auto">
              <a:xfrm>
                <a:off x="2309813" y="6831013"/>
                <a:ext cx="50800" cy="71438"/>
              </a:xfrm>
              <a:custGeom>
                <a:avLst/>
                <a:gdLst>
                  <a:gd name="T0" fmla="*/ 118 w 126"/>
                  <a:gd name="T1" fmla="*/ 0 h 179"/>
                  <a:gd name="T2" fmla="*/ 114 w 126"/>
                  <a:gd name="T3" fmla="*/ 4 h 179"/>
                  <a:gd name="T4" fmla="*/ 110 w 126"/>
                  <a:gd name="T5" fmla="*/ 6 h 179"/>
                  <a:gd name="T6" fmla="*/ 104 w 126"/>
                  <a:gd name="T7" fmla="*/ 13 h 179"/>
                  <a:gd name="T8" fmla="*/ 94 w 126"/>
                  <a:gd name="T9" fmla="*/ 22 h 179"/>
                  <a:gd name="T10" fmla="*/ 80 w 126"/>
                  <a:gd name="T11" fmla="*/ 29 h 179"/>
                  <a:gd name="T12" fmla="*/ 72 w 126"/>
                  <a:gd name="T13" fmla="*/ 34 h 179"/>
                  <a:gd name="T14" fmla="*/ 51 w 126"/>
                  <a:gd name="T15" fmla="*/ 45 h 179"/>
                  <a:gd name="T16" fmla="*/ 32 w 126"/>
                  <a:gd name="T17" fmla="*/ 54 h 179"/>
                  <a:gd name="T18" fmla="*/ 24 w 126"/>
                  <a:gd name="T19" fmla="*/ 62 h 179"/>
                  <a:gd name="T20" fmla="*/ 17 w 126"/>
                  <a:gd name="T21" fmla="*/ 69 h 179"/>
                  <a:gd name="T22" fmla="*/ 13 w 126"/>
                  <a:gd name="T23" fmla="*/ 74 h 179"/>
                  <a:gd name="T24" fmla="*/ 10 w 126"/>
                  <a:gd name="T25" fmla="*/ 78 h 179"/>
                  <a:gd name="T26" fmla="*/ 8 w 126"/>
                  <a:gd name="T27" fmla="*/ 84 h 179"/>
                  <a:gd name="T28" fmla="*/ 7 w 126"/>
                  <a:gd name="T29" fmla="*/ 90 h 179"/>
                  <a:gd name="T30" fmla="*/ 3 w 126"/>
                  <a:gd name="T31" fmla="*/ 106 h 179"/>
                  <a:gd name="T32" fmla="*/ 1 w 126"/>
                  <a:gd name="T33" fmla="*/ 126 h 179"/>
                  <a:gd name="T34" fmla="*/ 0 w 126"/>
                  <a:gd name="T35" fmla="*/ 136 h 179"/>
                  <a:gd name="T36" fmla="*/ 0 w 126"/>
                  <a:gd name="T37" fmla="*/ 146 h 179"/>
                  <a:gd name="T38" fmla="*/ 1 w 126"/>
                  <a:gd name="T39" fmla="*/ 154 h 179"/>
                  <a:gd name="T40" fmla="*/ 2 w 126"/>
                  <a:gd name="T41" fmla="*/ 161 h 179"/>
                  <a:gd name="T42" fmla="*/ 4 w 126"/>
                  <a:gd name="T43" fmla="*/ 167 h 179"/>
                  <a:gd name="T44" fmla="*/ 9 w 126"/>
                  <a:gd name="T45" fmla="*/ 172 h 179"/>
                  <a:gd name="T46" fmla="*/ 14 w 126"/>
                  <a:gd name="T47" fmla="*/ 176 h 179"/>
                  <a:gd name="T48" fmla="*/ 20 w 126"/>
                  <a:gd name="T49" fmla="*/ 178 h 179"/>
                  <a:gd name="T50" fmla="*/ 24 w 126"/>
                  <a:gd name="T51" fmla="*/ 179 h 179"/>
                  <a:gd name="T52" fmla="*/ 26 w 126"/>
                  <a:gd name="T53" fmla="*/ 178 h 179"/>
                  <a:gd name="T54" fmla="*/ 30 w 126"/>
                  <a:gd name="T55" fmla="*/ 178 h 179"/>
                  <a:gd name="T56" fmla="*/ 33 w 126"/>
                  <a:gd name="T57" fmla="*/ 176 h 179"/>
                  <a:gd name="T58" fmla="*/ 39 w 126"/>
                  <a:gd name="T59" fmla="*/ 171 h 179"/>
                  <a:gd name="T60" fmla="*/ 45 w 126"/>
                  <a:gd name="T61" fmla="*/ 164 h 179"/>
                  <a:gd name="T62" fmla="*/ 55 w 126"/>
                  <a:gd name="T63" fmla="*/ 148 h 179"/>
                  <a:gd name="T64" fmla="*/ 61 w 126"/>
                  <a:gd name="T65" fmla="*/ 136 h 179"/>
                  <a:gd name="T66" fmla="*/ 67 w 126"/>
                  <a:gd name="T67" fmla="*/ 126 h 179"/>
                  <a:gd name="T68" fmla="*/ 72 w 126"/>
                  <a:gd name="T69" fmla="*/ 117 h 179"/>
                  <a:gd name="T70" fmla="*/ 77 w 126"/>
                  <a:gd name="T71" fmla="*/ 107 h 179"/>
                  <a:gd name="T72" fmla="*/ 83 w 126"/>
                  <a:gd name="T73" fmla="*/ 98 h 179"/>
                  <a:gd name="T74" fmla="*/ 91 w 126"/>
                  <a:gd name="T75" fmla="*/ 86 h 179"/>
                  <a:gd name="T76" fmla="*/ 100 w 126"/>
                  <a:gd name="T77" fmla="*/ 74 h 179"/>
                  <a:gd name="T78" fmla="*/ 107 w 126"/>
                  <a:gd name="T79" fmla="*/ 62 h 179"/>
                  <a:gd name="T80" fmla="*/ 113 w 126"/>
                  <a:gd name="T81" fmla="*/ 48 h 179"/>
                  <a:gd name="T82" fmla="*/ 116 w 126"/>
                  <a:gd name="T83" fmla="*/ 39 h 179"/>
                  <a:gd name="T84" fmla="*/ 121 w 126"/>
                  <a:gd name="T85" fmla="*/ 29 h 179"/>
                  <a:gd name="T86" fmla="*/ 125 w 126"/>
                  <a:gd name="T87" fmla="*/ 19 h 179"/>
                  <a:gd name="T88" fmla="*/ 126 w 126"/>
                  <a:gd name="T89" fmla="*/ 10 h 179"/>
                  <a:gd name="T90" fmla="*/ 118 w 126"/>
                  <a:gd name="T91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179">
                    <a:moveTo>
                      <a:pt x="118" y="0"/>
                    </a:moveTo>
                    <a:lnTo>
                      <a:pt x="114" y="4"/>
                    </a:lnTo>
                    <a:lnTo>
                      <a:pt x="110" y="6"/>
                    </a:lnTo>
                    <a:lnTo>
                      <a:pt x="104" y="13"/>
                    </a:lnTo>
                    <a:lnTo>
                      <a:pt x="94" y="22"/>
                    </a:lnTo>
                    <a:lnTo>
                      <a:pt x="80" y="29"/>
                    </a:lnTo>
                    <a:lnTo>
                      <a:pt x="72" y="34"/>
                    </a:lnTo>
                    <a:lnTo>
                      <a:pt x="51" y="45"/>
                    </a:lnTo>
                    <a:lnTo>
                      <a:pt x="32" y="54"/>
                    </a:lnTo>
                    <a:lnTo>
                      <a:pt x="24" y="62"/>
                    </a:lnTo>
                    <a:lnTo>
                      <a:pt x="17" y="69"/>
                    </a:lnTo>
                    <a:lnTo>
                      <a:pt x="13" y="74"/>
                    </a:lnTo>
                    <a:lnTo>
                      <a:pt x="10" y="78"/>
                    </a:lnTo>
                    <a:lnTo>
                      <a:pt x="8" y="84"/>
                    </a:lnTo>
                    <a:lnTo>
                      <a:pt x="7" y="90"/>
                    </a:lnTo>
                    <a:lnTo>
                      <a:pt x="3" y="106"/>
                    </a:lnTo>
                    <a:lnTo>
                      <a:pt x="1" y="126"/>
                    </a:lnTo>
                    <a:lnTo>
                      <a:pt x="0" y="136"/>
                    </a:lnTo>
                    <a:lnTo>
                      <a:pt x="0" y="146"/>
                    </a:lnTo>
                    <a:lnTo>
                      <a:pt x="1" y="154"/>
                    </a:lnTo>
                    <a:lnTo>
                      <a:pt x="2" y="161"/>
                    </a:lnTo>
                    <a:lnTo>
                      <a:pt x="4" y="167"/>
                    </a:lnTo>
                    <a:lnTo>
                      <a:pt x="9" y="172"/>
                    </a:lnTo>
                    <a:lnTo>
                      <a:pt x="14" y="176"/>
                    </a:lnTo>
                    <a:lnTo>
                      <a:pt x="20" y="178"/>
                    </a:lnTo>
                    <a:lnTo>
                      <a:pt x="24" y="179"/>
                    </a:lnTo>
                    <a:lnTo>
                      <a:pt x="26" y="178"/>
                    </a:lnTo>
                    <a:lnTo>
                      <a:pt x="30" y="178"/>
                    </a:lnTo>
                    <a:lnTo>
                      <a:pt x="33" y="176"/>
                    </a:lnTo>
                    <a:lnTo>
                      <a:pt x="39" y="171"/>
                    </a:lnTo>
                    <a:lnTo>
                      <a:pt x="45" y="164"/>
                    </a:lnTo>
                    <a:lnTo>
                      <a:pt x="55" y="148"/>
                    </a:lnTo>
                    <a:lnTo>
                      <a:pt x="61" y="136"/>
                    </a:lnTo>
                    <a:lnTo>
                      <a:pt x="67" y="126"/>
                    </a:lnTo>
                    <a:lnTo>
                      <a:pt x="72" y="117"/>
                    </a:lnTo>
                    <a:lnTo>
                      <a:pt x="77" y="107"/>
                    </a:lnTo>
                    <a:lnTo>
                      <a:pt x="83" y="98"/>
                    </a:lnTo>
                    <a:lnTo>
                      <a:pt x="91" y="86"/>
                    </a:lnTo>
                    <a:lnTo>
                      <a:pt x="100" y="74"/>
                    </a:lnTo>
                    <a:lnTo>
                      <a:pt x="107" y="62"/>
                    </a:lnTo>
                    <a:lnTo>
                      <a:pt x="113" y="48"/>
                    </a:lnTo>
                    <a:lnTo>
                      <a:pt x="116" y="39"/>
                    </a:lnTo>
                    <a:lnTo>
                      <a:pt x="121" y="29"/>
                    </a:lnTo>
                    <a:lnTo>
                      <a:pt x="125" y="19"/>
                    </a:lnTo>
                    <a:lnTo>
                      <a:pt x="126" y="10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78"/>
              <p:cNvSpPr>
                <a:spLocks/>
              </p:cNvSpPr>
              <p:nvPr/>
            </p:nvSpPr>
            <p:spPr bwMode="auto">
              <a:xfrm>
                <a:off x="1009651" y="4333875"/>
                <a:ext cx="7938" cy="17463"/>
              </a:xfrm>
              <a:custGeom>
                <a:avLst/>
                <a:gdLst>
                  <a:gd name="T0" fmla="*/ 22 w 22"/>
                  <a:gd name="T1" fmla="*/ 12 h 41"/>
                  <a:gd name="T2" fmla="*/ 22 w 22"/>
                  <a:gd name="T3" fmla="*/ 8 h 41"/>
                  <a:gd name="T4" fmla="*/ 21 w 22"/>
                  <a:gd name="T5" fmla="*/ 6 h 41"/>
                  <a:gd name="T6" fmla="*/ 18 w 22"/>
                  <a:gd name="T7" fmla="*/ 2 h 41"/>
                  <a:gd name="T8" fmla="*/ 16 w 22"/>
                  <a:gd name="T9" fmla="*/ 0 h 41"/>
                  <a:gd name="T10" fmla="*/ 12 w 22"/>
                  <a:gd name="T11" fmla="*/ 0 h 41"/>
                  <a:gd name="T12" fmla="*/ 9 w 22"/>
                  <a:gd name="T13" fmla="*/ 1 h 41"/>
                  <a:gd name="T14" fmla="*/ 7 w 22"/>
                  <a:gd name="T15" fmla="*/ 2 h 41"/>
                  <a:gd name="T16" fmla="*/ 7 w 22"/>
                  <a:gd name="T17" fmla="*/ 2 h 41"/>
                  <a:gd name="T18" fmla="*/ 5 w 22"/>
                  <a:gd name="T19" fmla="*/ 6 h 41"/>
                  <a:gd name="T20" fmla="*/ 4 w 22"/>
                  <a:gd name="T21" fmla="*/ 10 h 41"/>
                  <a:gd name="T22" fmla="*/ 3 w 22"/>
                  <a:gd name="T23" fmla="*/ 13 h 41"/>
                  <a:gd name="T24" fmla="*/ 1 w 22"/>
                  <a:gd name="T25" fmla="*/ 16 h 41"/>
                  <a:gd name="T26" fmla="*/ 0 w 22"/>
                  <a:gd name="T27" fmla="*/ 22 h 41"/>
                  <a:gd name="T28" fmla="*/ 0 w 22"/>
                  <a:gd name="T29" fmla="*/ 28 h 41"/>
                  <a:gd name="T30" fmla="*/ 0 w 22"/>
                  <a:gd name="T31" fmla="*/ 37 h 41"/>
                  <a:gd name="T32" fmla="*/ 0 w 22"/>
                  <a:gd name="T33" fmla="*/ 38 h 41"/>
                  <a:gd name="T34" fmla="*/ 1 w 22"/>
                  <a:gd name="T35" fmla="*/ 39 h 41"/>
                  <a:gd name="T36" fmla="*/ 1 w 22"/>
                  <a:gd name="T37" fmla="*/ 39 h 41"/>
                  <a:gd name="T38" fmla="*/ 6 w 22"/>
                  <a:gd name="T39" fmla="*/ 41 h 41"/>
                  <a:gd name="T40" fmla="*/ 10 w 22"/>
                  <a:gd name="T41" fmla="*/ 39 h 41"/>
                  <a:gd name="T42" fmla="*/ 12 w 22"/>
                  <a:gd name="T43" fmla="*/ 37 h 41"/>
                  <a:gd name="T44" fmla="*/ 15 w 22"/>
                  <a:gd name="T45" fmla="*/ 35 h 41"/>
                  <a:gd name="T46" fmla="*/ 16 w 22"/>
                  <a:gd name="T47" fmla="*/ 31 h 41"/>
                  <a:gd name="T48" fmla="*/ 18 w 22"/>
                  <a:gd name="T49" fmla="*/ 26 h 41"/>
                  <a:gd name="T50" fmla="*/ 22 w 22"/>
                  <a:gd name="T51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" h="41">
                    <a:moveTo>
                      <a:pt x="22" y="12"/>
                    </a:moveTo>
                    <a:lnTo>
                      <a:pt x="22" y="8"/>
                    </a:lnTo>
                    <a:lnTo>
                      <a:pt x="21" y="6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6"/>
                    </a:lnTo>
                    <a:lnTo>
                      <a:pt x="4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7"/>
                    </a:lnTo>
                    <a:lnTo>
                      <a:pt x="0" y="38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6" y="41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5" y="35"/>
                    </a:lnTo>
                    <a:lnTo>
                      <a:pt x="16" y="31"/>
                    </a:lnTo>
                    <a:lnTo>
                      <a:pt x="18" y="26"/>
                    </a:lnTo>
                    <a:lnTo>
                      <a:pt x="2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468" name="Picture 11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81801" y="1690688"/>
                <a:ext cx="835025" cy="174625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</p:pic>
          <p:sp>
            <p:nvSpPr>
              <p:cNvPr id="469" name="Freeform 119"/>
              <p:cNvSpPr>
                <a:spLocks/>
              </p:cNvSpPr>
              <p:nvPr/>
            </p:nvSpPr>
            <p:spPr bwMode="auto">
              <a:xfrm>
                <a:off x="7172326" y="1741488"/>
                <a:ext cx="68263" cy="73025"/>
              </a:xfrm>
              <a:custGeom>
                <a:avLst/>
                <a:gdLst>
                  <a:gd name="T0" fmla="*/ 0 w 174"/>
                  <a:gd name="T1" fmla="*/ 184 h 184"/>
                  <a:gd name="T2" fmla="*/ 0 w 174"/>
                  <a:gd name="T3" fmla="*/ 0 h 184"/>
                  <a:gd name="T4" fmla="*/ 36 w 174"/>
                  <a:gd name="T5" fmla="*/ 0 h 184"/>
                  <a:gd name="T6" fmla="*/ 79 w 174"/>
                  <a:gd name="T7" fmla="*/ 130 h 184"/>
                  <a:gd name="T8" fmla="*/ 84 w 174"/>
                  <a:gd name="T9" fmla="*/ 146 h 184"/>
                  <a:gd name="T10" fmla="*/ 88 w 174"/>
                  <a:gd name="T11" fmla="*/ 158 h 184"/>
                  <a:gd name="T12" fmla="*/ 93 w 174"/>
                  <a:gd name="T13" fmla="*/ 144 h 184"/>
                  <a:gd name="T14" fmla="*/ 97 w 174"/>
                  <a:gd name="T15" fmla="*/ 128 h 184"/>
                  <a:gd name="T16" fmla="*/ 142 w 174"/>
                  <a:gd name="T17" fmla="*/ 0 h 184"/>
                  <a:gd name="T18" fmla="*/ 174 w 174"/>
                  <a:gd name="T19" fmla="*/ 0 h 184"/>
                  <a:gd name="T20" fmla="*/ 174 w 174"/>
                  <a:gd name="T21" fmla="*/ 184 h 184"/>
                  <a:gd name="T22" fmla="*/ 152 w 174"/>
                  <a:gd name="T23" fmla="*/ 184 h 184"/>
                  <a:gd name="T24" fmla="*/ 152 w 174"/>
                  <a:gd name="T25" fmla="*/ 30 h 184"/>
                  <a:gd name="T26" fmla="*/ 97 w 174"/>
                  <a:gd name="T27" fmla="*/ 184 h 184"/>
                  <a:gd name="T28" fmla="*/ 76 w 174"/>
                  <a:gd name="T29" fmla="*/ 184 h 184"/>
                  <a:gd name="T30" fmla="*/ 23 w 174"/>
                  <a:gd name="T31" fmla="*/ 28 h 184"/>
                  <a:gd name="T32" fmla="*/ 23 w 174"/>
                  <a:gd name="T33" fmla="*/ 184 h 184"/>
                  <a:gd name="T34" fmla="*/ 0 w 174"/>
                  <a:gd name="T3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4" h="184">
                    <a:moveTo>
                      <a:pt x="0" y="184"/>
                    </a:moveTo>
                    <a:lnTo>
                      <a:pt x="0" y="0"/>
                    </a:lnTo>
                    <a:lnTo>
                      <a:pt x="36" y="0"/>
                    </a:lnTo>
                    <a:lnTo>
                      <a:pt x="79" y="130"/>
                    </a:lnTo>
                    <a:lnTo>
                      <a:pt x="84" y="146"/>
                    </a:lnTo>
                    <a:lnTo>
                      <a:pt x="88" y="158"/>
                    </a:lnTo>
                    <a:lnTo>
                      <a:pt x="93" y="144"/>
                    </a:lnTo>
                    <a:lnTo>
                      <a:pt x="97" y="128"/>
                    </a:lnTo>
                    <a:lnTo>
                      <a:pt x="142" y="0"/>
                    </a:lnTo>
                    <a:lnTo>
                      <a:pt x="174" y="0"/>
                    </a:lnTo>
                    <a:lnTo>
                      <a:pt x="174" y="184"/>
                    </a:lnTo>
                    <a:lnTo>
                      <a:pt x="152" y="184"/>
                    </a:lnTo>
                    <a:lnTo>
                      <a:pt x="152" y="30"/>
                    </a:lnTo>
                    <a:lnTo>
                      <a:pt x="97" y="184"/>
                    </a:lnTo>
                    <a:lnTo>
                      <a:pt x="76" y="184"/>
                    </a:lnTo>
                    <a:lnTo>
                      <a:pt x="23" y="28"/>
                    </a:lnTo>
                    <a:lnTo>
                      <a:pt x="23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120"/>
              <p:cNvSpPr>
                <a:spLocks noEditPoints="1"/>
              </p:cNvSpPr>
              <p:nvPr/>
            </p:nvSpPr>
            <p:spPr bwMode="auto">
              <a:xfrm>
                <a:off x="7253288" y="1760538"/>
                <a:ext cx="47625" cy="53975"/>
              </a:xfrm>
              <a:custGeom>
                <a:avLst/>
                <a:gdLst>
                  <a:gd name="T0" fmla="*/ 122 w 122"/>
                  <a:gd name="T1" fmla="*/ 95 h 139"/>
                  <a:gd name="T2" fmla="*/ 113 w 122"/>
                  <a:gd name="T3" fmla="*/ 113 h 139"/>
                  <a:gd name="T4" fmla="*/ 101 w 122"/>
                  <a:gd name="T5" fmla="*/ 128 h 139"/>
                  <a:gd name="T6" fmla="*/ 85 w 122"/>
                  <a:gd name="T7" fmla="*/ 136 h 139"/>
                  <a:gd name="T8" fmla="*/ 63 w 122"/>
                  <a:gd name="T9" fmla="*/ 139 h 139"/>
                  <a:gd name="T10" fmla="*/ 50 w 122"/>
                  <a:gd name="T11" fmla="*/ 137 h 139"/>
                  <a:gd name="T12" fmla="*/ 38 w 122"/>
                  <a:gd name="T13" fmla="*/ 134 h 139"/>
                  <a:gd name="T14" fmla="*/ 27 w 122"/>
                  <a:gd name="T15" fmla="*/ 129 h 139"/>
                  <a:gd name="T16" fmla="*/ 17 w 122"/>
                  <a:gd name="T17" fmla="*/ 120 h 139"/>
                  <a:gd name="T18" fmla="*/ 10 w 122"/>
                  <a:gd name="T19" fmla="*/ 111 h 139"/>
                  <a:gd name="T20" fmla="*/ 4 w 122"/>
                  <a:gd name="T21" fmla="*/ 99 h 139"/>
                  <a:gd name="T22" fmla="*/ 0 w 122"/>
                  <a:gd name="T23" fmla="*/ 70 h 139"/>
                  <a:gd name="T24" fmla="*/ 5 w 122"/>
                  <a:gd name="T25" fmla="*/ 41 h 139"/>
                  <a:gd name="T26" fmla="*/ 10 w 122"/>
                  <a:gd name="T27" fmla="*/ 29 h 139"/>
                  <a:gd name="T28" fmla="*/ 17 w 122"/>
                  <a:gd name="T29" fmla="*/ 18 h 139"/>
                  <a:gd name="T30" fmla="*/ 27 w 122"/>
                  <a:gd name="T31" fmla="*/ 11 h 139"/>
                  <a:gd name="T32" fmla="*/ 38 w 122"/>
                  <a:gd name="T33" fmla="*/ 5 h 139"/>
                  <a:gd name="T34" fmla="*/ 48 w 122"/>
                  <a:gd name="T35" fmla="*/ 1 h 139"/>
                  <a:gd name="T36" fmla="*/ 62 w 122"/>
                  <a:gd name="T37" fmla="*/ 0 h 139"/>
                  <a:gd name="T38" fmla="*/ 75 w 122"/>
                  <a:gd name="T39" fmla="*/ 1 h 139"/>
                  <a:gd name="T40" fmla="*/ 86 w 122"/>
                  <a:gd name="T41" fmla="*/ 5 h 139"/>
                  <a:gd name="T42" fmla="*/ 97 w 122"/>
                  <a:gd name="T43" fmla="*/ 10 h 139"/>
                  <a:gd name="T44" fmla="*/ 105 w 122"/>
                  <a:gd name="T45" fmla="*/ 18 h 139"/>
                  <a:gd name="T46" fmla="*/ 113 w 122"/>
                  <a:gd name="T47" fmla="*/ 28 h 139"/>
                  <a:gd name="T48" fmla="*/ 118 w 122"/>
                  <a:gd name="T49" fmla="*/ 40 h 139"/>
                  <a:gd name="T50" fmla="*/ 122 w 122"/>
                  <a:gd name="T51" fmla="*/ 69 h 139"/>
                  <a:gd name="T52" fmla="*/ 122 w 122"/>
                  <a:gd name="T53" fmla="*/ 75 h 139"/>
                  <a:gd name="T54" fmla="*/ 24 w 122"/>
                  <a:gd name="T55" fmla="*/ 86 h 139"/>
                  <a:gd name="T56" fmla="*/ 30 w 122"/>
                  <a:gd name="T57" fmla="*/ 102 h 139"/>
                  <a:gd name="T58" fmla="*/ 41 w 122"/>
                  <a:gd name="T59" fmla="*/ 113 h 139"/>
                  <a:gd name="T60" fmla="*/ 56 w 122"/>
                  <a:gd name="T61" fmla="*/ 119 h 139"/>
                  <a:gd name="T62" fmla="*/ 69 w 122"/>
                  <a:gd name="T63" fmla="*/ 119 h 139"/>
                  <a:gd name="T64" fmla="*/ 80 w 122"/>
                  <a:gd name="T65" fmla="*/ 117 h 139"/>
                  <a:gd name="T66" fmla="*/ 88 w 122"/>
                  <a:gd name="T67" fmla="*/ 110 h 139"/>
                  <a:gd name="T68" fmla="*/ 95 w 122"/>
                  <a:gd name="T69" fmla="*/ 99 h 139"/>
                  <a:gd name="T70" fmla="*/ 24 w 122"/>
                  <a:gd name="T71" fmla="*/ 57 h 139"/>
                  <a:gd name="T72" fmla="*/ 98 w 122"/>
                  <a:gd name="T73" fmla="*/ 48 h 139"/>
                  <a:gd name="T74" fmla="*/ 93 w 122"/>
                  <a:gd name="T75" fmla="*/ 36 h 139"/>
                  <a:gd name="T76" fmla="*/ 85 w 122"/>
                  <a:gd name="T77" fmla="*/ 25 h 139"/>
                  <a:gd name="T78" fmla="*/ 70 w 122"/>
                  <a:gd name="T79" fmla="*/ 19 h 139"/>
                  <a:gd name="T80" fmla="*/ 54 w 122"/>
                  <a:gd name="T81" fmla="*/ 19 h 139"/>
                  <a:gd name="T82" fmla="*/ 41 w 122"/>
                  <a:gd name="T83" fmla="*/ 24 h 139"/>
                  <a:gd name="T84" fmla="*/ 32 w 122"/>
                  <a:gd name="T85" fmla="*/ 35 h 139"/>
                  <a:gd name="T86" fmla="*/ 26 w 122"/>
                  <a:gd name="T87" fmla="*/ 4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2" h="139">
                    <a:moveTo>
                      <a:pt x="98" y="93"/>
                    </a:moveTo>
                    <a:lnTo>
                      <a:pt x="122" y="95"/>
                    </a:lnTo>
                    <a:lnTo>
                      <a:pt x="118" y="105"/>
                    </a:lnTo>
                    <a:lnTo>
                      <a:pt x="113" y="113"/>
                    </a:lnTo>
                    <a:lnTo>
                      <a:pt x="109" y="122"/>
                    </a:lnTo>
                    <a:lnTo>
                      <a:pt x="101" y="128"/>
                    </a:lnTo>
                    <a:lnTo>
                      <a:pt x="93" y="133"/>
                    </a:lnTo>
                    <a:lnTo>
                      <a:pt x="85" y="136"/>
                    </a:lnTo>
                    <a:lnTo>
                      <a:pt x="75" y="137"/>
                    </a:lnTo>
                    <a:lnTo>
                      <a:pt x="63" y="139"/>
                    </a:lnTo>
                    <a:lnTo>
                      <a:pt x="56" y="139"/>
                    </a:lnTo>
                    <a:lnTo>
                      <a:pt x="50" y="137"/>
                    </a:lnTo>
                    <a:lnTo>
                      <a:pt x="44" y="136"/>
                    </a:lnTo>
                    <a:lnTo>
                      <a:pt x="38" y="134"/>
                    </a:lnTo>
                    <a:lnTo>
                      <a:pt x="32" y="131"/>
                    </a:lnTo>
                    <a:lnTo>
                      <a:pt x="27" y="129"/>
                    </a:lnTo>
                    <a:lnTo>
                      <a:pt x="22" y="125"/>
                    </a:lnTo>
                    <a:lnTo>
                      <a:pt x="17" y="120"/>
                    </a:lnTo>
                    <a:lnTo>
                      <a:pt x="14" y="116"/>
                    </a:lnTo>
                    <a:lnTo>
                      <a:pt x="10" y="111"/>
                    </a:lnTo>
                    <a:lnTo>
                      <a:pt x="6" y="105"/>
                    </a:lnTo>
                    <a:lnTo>
                      <a:pt x="4" y="99"/>
                    </a:lnTo>
                    <a:lnTo>
                      <a:pt x="1" y="86"/>
                    </a:lnTo>
                    <a:lnTo>
                      <a:pt x="0" y="70"/>
                    </a:lnTo>
                    <a:lnTo>
                      <a:pt x="1" y="54"/>
                    </a:lnTo>
                    <a:lnTo>
                      <a:pt x="5" y="41"/>
                    </a:lnTo>
                    <a:lnTo>
                      <a:pt x="7" y="35"/>
                    </a:lnTo>
                    <a:lnTo>
                      <a:pt x="10" y="29"/>
                    </a:lnTo>
                    <a:lnTo>
                      <a:pt x="14" y="23"/>
                    </a:lnTo>
                    <a:lnTo>
                      <a:pt x="17" y="18"/>
                    </a:lnTo>
                    <a:lnTo>
                      <a:pt x="22" y="15"/>
                    </a:lnTo>
                    <a:lnTo>
                      <a:pt x="27" y="11"/>
                    </a:lnTo>
                    <a:lnTo>
                      <a:pt x="32" y="7"/>
                    </a:lnTo>
                    <a:lnTo>
                      <a:pt x="38" y="5"/>
                    </a:lnTo>
                    <a:lnTo>
                      <a:pt x="42" y="3"/>
                    </a:lnTo>
                    <a:lnTo>
                      <a:pt x="48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69" y="0"/>
                    </a:lnTo>
                    <a:lnTo>
                      <a:pt x="75" y="1"/>
                    </a:lnTo>
                    <a:lnTo>
                      <a:pt x="81" y="3"/>
                    </a:lnTo>
                    <a:lnTo>
                      <a:pt x="86" y="5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1" y="13"/>
                    </a:lnTo>
                    <a:lnTo>
                      <a:pt x="105" y="18"/>
                    </a:lnTo>
                    <a:lnTo>
                      <a:pt x="110" y="23"/>
                    </a:lnTo>
                    <a:lnTo>
                      <a:pt x="113" y="28"/>
                    </a:lnTo>
                    <a:lnTo>
                      <a:pt x="116" y="34"/>
                    </a:lnTo>
                    <a:lnTo>
                      <a:pt x="118" y="40"/>
                    </a:lnTo>
                    <a:lnTo>
                      <a:pt x="122" y="53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5"/>
                    </a:lnTo>
                    <a:lnTo>
                      <a:pt x="23" y="75"/>
                    </a:lnTo>
                    <a:lnTo>
                      <a:pt x="24" y="86"/>
                    </a:lnTo>
                    <a:lnTo>
                      <a:pt x="27" y="94"/>
                    </a:lnTo>
                    <a:lnTo>
                      <a:pt x="30" y="102"/>
                    </a:lnTo>
                    <a:lnTo>
                      <a:pt x="35" y="108"/>
                    </a:lnTo>
                    <a:lnTo>
                      <a:pt x="41" y="113"/>
                    </a:lnTo>
                    <a:lnTo>
                      <a:pt x="48" y="117"/>
                    </a:lnTo>
                    <a:lnTo>
                      <a:pt x="56" y="119"/>
                    </a:lnTo>
                    <a:lnTo>
                      <a:pt x="63" y="120"/>
                    </a:lnTo>
                    <a:lnTo>
                      <a:pt x="69" y="119"/>
                    </a:lnTo>
                    <a:lnTo>
                      <a:pt x="75" y="118"/>
                    </a:lnTo>
                    <a:lnTo>
                      <a:pt x="80" y="117"/>
                    </a:lnTo>
                    <a:lnTo>
                      <a:pt x="85" y="113"/>
                    </a:lnTo>
                    <a:lnTo>
                      <a:pt x="88" y="110"/>
                    </a:lnTo>
                    <a:lnTo>
                      <a:pt x="92" y="105"/>
                    </a:lnTo>
                    <a:lnTo>
                      <a:pt x="95" y="99"/>
                    </a:lnTo>
                    <a:lnTo>
                      <a:pt x="98" y="93"/>
                    </a:lnTo>
                    <a:close/>
                    <a:moveTo>
                      <a:pt x="24" y="57"/>
                    </a:moveTo>
                    <a:lnTo>
                      <a:pt x="99" y="57"/>
                    </a:lnTo>
                    <a:lnTo>
                      <a:pt x="98" y="48"/>
                    </a:lnTo>
                    <a:lnTo>
                      <a:pt x="95" y="42"/>
                    </a:lnTo>
                    <a:lnTo>
                      <a:pt x="93" y="36"/>
                    </a:lnTo>
                    <a:lnTo>
                      <a:pt x="91" y="31"/>
                    </a:lnTo>
                    <a:lnTo>
                      <a:pt x="85" y="25"/>
                    </a:lnTo>
                    <a:lnTo>
                      <a:pt x="77" y="22"/>
                    </a:lnTo>
                    <a:lnTo>
                      <a:pt x="70" y="19"/>
                    </a:lnTo>
                    <a:lnTo>
                      <a:pt x="62" y="18"/>
                    </a:lnTo>
                    <a:lnTo>
                      <a:pt x="54" y="19"/>
                    </a:lnTo>
                    <a:lnTo>
                      <a:pt x="48" y="21"/>
                    </a:lnTo>
                    <a:lnTo>
                      <a:pt x="41" y="24"/>
                    </a:lnTo>
                    <a:lnTo>
                      <a:pt x="36" y="29"/>
                    </a:lnTo>
                    <a:lnTo>
                      <a:pt x="32" y="35"/>
                    </a:lnTo>
                    <a:lnTo>
                      <a:pt x="28" y="41"/>
                    </a:lnTo>
                    <a:lnTo>
                      <a:pt x="26" y="48"/>
                    </a:lnTo>
                    <a:lnTo>
                      <a:pt x="24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121"/>
              <p:cNvSpPr>
                <a:spLocks/>
              </p:cNvSpPr>
              <p:nvPr/>
            </p:nvSpPr>
            <p:spPr bwMode="auto">
              <a:xfrm>
                <a:off x="7312026" y="1760538"/>
                <a:ext cx="28575" cy="53975"/>
              </a:xfrm>
              <a:custGeom>
                <a:avLst/>
                <a:gdLst>
                  <a:gd name="T0" fmla="*/ 0 w 72"/>
                  <a:gd name="T1" fmla="*/ 136 h 136"/>
                  <a:gd name="T2" fmla="*/ 0 w 72"/>
                  <a:gd name="T3" fmla="*/ 3 h 136"/>
                  <a:gd name="T4" fmla="*/ 20 w 72"/>
                  <a:gd name="T5" fmla="*/ 3 h 136"/>
                  <a:gd name="T6" fmla="*/ 20 w 72"/>
                  <a:gd name="T7" fmla="*/ 23 h 136"/>
                  <a:gd name="T8" fmla="*/ 24 w 72"/>
                  <a:gd name="T9" fmla="*/ 17 h 136"/>
                  <a:gd name="T10" fmla="*/ 27 w 72"/>
                  <a:gd name="T11" fmla="*/ 11 h 136"/>
                  <a:gd name="T12" fmla="*/ 31 w 72"/>
                  <a:gd name="T13" fmla="*/ 7 h 136"/>
                  <a:gd name="T14" fmla="*/ 34 w 72"/>
                  <a:gd name="T15" fmla="*/ 5 h 136"/>
                  <a:gd name="T16" fmla="*/ 42 w 72"/>
                  <a:gd name="T17" fmla="*/ 1 h 136"/>
                  <a:gd name="T18" fmla="*/ 49 w 72"/>
                  <a:gd name="T19" fmla="*/ 0 h 136"/>
                  <a:gd name="T20" fmla="*/ 55 w 72"/>
                  <a:gd name="T21" fmla="*/ 0 h 136"/>
                  <a:gd name="T22" fmla="*/ 60 w 72"/>
                  <a:gd name="T23" fmla="*/ 1 h 136"/>
                  <a:gd name="T24" fmla="*/ 66 w 72"/>
                  <a:gd name="T25" fmla="*/ 4 h 136"/>
                  <a:gd name="T26" fmla="*/ 72 w 72"/>
                  <a:gd name="T27" fmla="*/ 7 h 136"/>
                  <a:gd name="T28" fmla="*/ 64 w 72"/>
                  <a:gd name="T29" fmla="*/ 28 h 136"/>
                  <a:gd name="T30" fmla="*/ 56 w 72"/>
                  <a:gd name="T31" fmla="*/ 24 h 136"/>
                  <a:gd name="T32" fmla="*/ 48 w 72"/>
                  <a:gd name="T33" fmla="*/ 23 h 136"/>
                  <a:gd name="T34" fmla="*/ 40 w 72"/>
                  <a:gd name="T35" fmla="*/ 24 h 136"/>
                  <a:gd name="T36" fmla="*/ 34 w 72"/>
                  <a:gd name="T37" fmla="*/ 28 h 136"/>
                  <a:gd name="T38" fmla="*/ 30 w 72"/>
                  <a:gd name="T39" fmla="*/ 33 h 136"/>
                  <a:gd name="T40" fmla="*/ 26 w 72"/>
                  <a:gd name="T41" fmla="*/ 40 h 136"/>
                  <a:gd name="T42" fmla="*/ 24 w 72"/>
                  <a:gd name="T43" fmla="*/ 53 h 136"/>
                  <a:gd name="T44" fmla="*/ 22 w 72"/>
                  <a:gd name="T45" fmla="*/ 66 h 136"/>
                  <a:gd name="T46" fmla="*/ 22 w 72"/>
                  <a:gd name="T47" fmla="*/ 136 h 136"/>
                  <a:gd name="T48" fmla="*/ 0 w 72"/>
                  <a:gd name="T4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2" h="136">
                    <a:moveTo>
                      <a:pt x="0" y="136"/>
                    </a:moveTo>
                    <a:lnTo>
                      <a:pt x="0" y="3"/>
                    </a:lnTo>
                    <a:lnTo>
                      <a:pt x="20" y="3"/>
                    </a:lnTo>
                    <a:lnTo>
                      <a:pt x="20" y="23"/>
                    </a:lnTo>
                    <a:lnTo>
                      <a:pt x="24" y="17"/>
                    </a:lnTo>
                    <a:lnTo>
                      <a:pt x="27" y="11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42" y="1"/>
                    </a:lnTo>
                    <a:lnTo>
                      <a:pt x="49" y="0"/>
                    </a:lnTo>
                    <a:lnTo>
                      <a:pt x="55" y="0"/>
                    </a:lnTo>
                    <a:lnTo>
                      <a:pt x="60" y="1"/>
                    </a:lnTo>
                    <a:lnTo>
                      <a:pt x="66" y="4"/>
                    </a:lnTo>
                    <a:lnTo>
                      <a:pt x="72" y="7"/>
                    </a:lnTo>
                    <a:lnTo>
                      <a:pt x="64" y="28"/>
                    </a:lnTo>
                    <a:lnTo>
                      <a:pt x="56" y="24"/>
                    </a:lnTo>
                    <a:lnTo>
                      <a:pt x="48" y="23"/>
                    </a:lnTo>
                    <a:lnTo>
                      <a:pt x="40" y="24"/>
                    </a:lnTo>
                    <a:lnTo>
                      <a:pt x="34" y="28"/>
                    </a:lnTo>
                    <a:lnTo>
                      <a:pt x="30" y="33"/>
                    </a:lnTo>
                    <a:lnTo>
                      <a:pt x="26" y="40"/>
                    </a:lnTo>
                    <a:lnTo>
                      <a:pt x="24" y="53"/>
                    </a:lnTo>
                    <a:lnTo>
                      <a:pt x="22" y="66"/>
                    </a:lnTo>
                    <a:lnTo>
                      <a:pt x="22" y="136"/>
                    </a:lnTo>
                    <a:lnTo>
                      <a:pt x="0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122"/>
              <p:cNvSpPr>
                <a:spLocks/>
              </p:cNvSpPr>
              <p:nvPr/>
            </p:nvSpPr>
            <p:spPr bwMode="auto">
              <a:xfrm>
                <a:off x="7343776" y="1760538"/>
                <a:ext cx="46038" cy="53975"/>
              </a:xfrm>
              <a:custGeom>
                <a:avLst/>
                <a:gdLst>
                  <a:gd name="T0" fmla="*/ 115 w 115"/>
                  <a:gd name="T1" fmla="*/ 90 h 139"/>
                  <a:gd name="T2" fmla="*/ 108 w 115"/>
                  <a:gd name="T3" fmla="*/ 111 h 139"/>
                  <a:gd name="T4" fmla="*/ 96 w 115"/>
                  <a:gd name="T5" fmla="*/ 125 h 139"/>
                  <a:gd name="T6" fmla="*/ 79 w 115"/>
                  <a:gd name="T7" fmla="*/ 135 h 139"/>
                  <a:gd name="T8" fmla="*/ 60 w 115"/>
                  <a:gd name="T9" fmla="*/ 139 h 139"/>
                  <a:gd name="T10" fmla="*/ 47 w 115"/>
                  <a:gd name="T11" fmla="*/ 137 h 139"/>
                  <a:gd name="T12" fmla="*/ 35 w 115"/>
                  <a:gd name="T13" fmla="*/ 134 h 139"/>
                  <a:gd name="T14" fmla="*/ 25 w 115"/>
                  <a:gd name="T15" fmla="*/ 129 h 139"/>
                  <a:gd name="T16" fmla="*/ 16 w 115"/>
                  <a:gd name="T17" fmla="*/ 120 h 139"/>
                  <a:gd name="T18" fmla="*/ 8 w 115"/>
                  <a:gd name="T19" fmla="*/ 111 h 139"/>
                  <a:gd name="T20" fmla="*/ 4 w 115"/>
                  <a:gd name="T21" fmla="*/ 99 h 139"/>
                  <a:gd name="T22" fmla="*/ 0 w 115"/>
                  <a:gd name="T23" fmla="*/ 70 h 139"/>
                  <a:gd name="T24" fmla="*/ 1 w 115"/>
                  <a:gd name="T25" fmla="*/ 49 h 139"/>
                  <a:gd name="T26" fmla="*/ 7 w 115"/>
                  <a:gd name="T27" fmla="*/ 33 h 139"/>
                  <a:gd name="T28" fmla="*/ 16 w 115"/>
                  <a:gd name="T29" fmla="*/ 18 h 139"/>
                  <a:gd name="T30" fmla="*/ 29 w 115"/>
                  <a:gd name="T31" fmla="*/ 9 h 139"/>
                  <a:gd name="T32" fmla="*/ 43 w 115"/>
                  <a:gd name="T33" fmla="*/ 3 h 139"/>
                  <a:gd name="T34" fmla="*/ 60 w 115"/>
                  <a:gd name="T35" fmla="*/ 0 h 139"/>
                  <a:gd name="T36" fmla="*/ 79 w 115"/>
                  <a:gd name="T37" fmla="*/ 3 h 139"/>
                  <a:gd name="T38" fmla="*/ 95 w 115"/>
                  <a:gd name="T39" fmla="*/ 11 h 139"/>
                  <a:gd name="T40" fmla="*/ 107 w 115"/>
                  <a:gd name="T41" fmla="*/ 24 h 139"/>
                  <a:gd name="T42" fmla="*/ 113 w 115"/>
                  <a:gd name="T43" fmla="*/ 42 h 139"/>
                  <a:gd name="T44" fmla="*/ 89 w 115"/>
                  <a:gd name="T45" fmla="*/ 39 h 139"/>
                  <a:gd name="T46" fmla="*/ 84 w 115"/>
                  <a:gd name="T47" fmla="*/ 29 h 139"/>
                  <a:gd name="T48" fmla="*/ 76 w 115"/>
                  <a:gd name="T49" fmla="*/ 22 h 139"/>
                  <a:gd name="T50" fmla="*/ 66 w 115"/>
                  <a:gd name="T51" fmla="*/ 19 h 139"/>
                  <a:gd name="T52" fmla="*/ 53 w 115"/>
                  <a:gd name="T53" fmla="*/ 19 h 139"/>
                  <a:gd name="T54" fmla="*/ 38 w 115"/>
                  <a:gd name="T55" fmla="*/ 25 h 139"/>
                  <a:gd name="T56" fmla="*/ 29 w 115"/>
                  <a:gd name="T57" fmla="*/ 37 h 139"/>
                  <a:gd name="T58" fmla="*/ 23 w 115"/>
                  <a:gd name="T59" fmla="*/ 57 h 139"/>
                  <a:gd name="T60" fmla="*/ 23 w 115"/>
                  <a:gd name="T61" fmla="*/ 82 h 139"/>
                  <a:gd name="T62" fmla="*/ 29 w 115"/>
                  <a:gd name="T63" fmla="*/ 101 h 139"/>
                  <a:gd name="T64" fmla="*/ 38 w 115"/>
                  <a:gd name="T65" fmla="*/ 113 h 139"/>
                  <a:gd name="T66" fmla="*/ 52 w 115"/>
                  <a:gd name="T67" fmla="*/ 119 h 139"/>
                  <a:gd name="T68" fmla="*/ 66 w 115"/>
                  <a:gd name="T69" fmla="*/ 119 h 139"/>
                  <a:gd name="T70" fmla="*/ 77 w 115"/>
                  <a:gd name="T71" fmla="*/ 116 h 139"/>
                  <a:gd name="T72" fmla="*/ 85 w 115"/>
                  <a:gd name="T73" fmla="*/ 107 h 139"/>
                  <a:gd name="T74" fmla="*/ 91 w 115"/>
                  <a:gd name="T75" fmla="*/ 9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5" h="139">
                    <a:moveTo>
                      <a:pt x="93" y="87"/>
                    </a:moveTo>
                    <a:lnTo>
                      <a:pt x="115" y="90"/>
                    </a:lnTo>
                    <a:lnTo>
                      <a:pt x="113" y="101"/>
                    </a:lnTo>
                    <a:lnTo>
                      <a:pt x="108" y="111"/>
                    </a:lnTo>
                    <a:lnTo>
                      <a:pt x="103" y="118"/>
                    </a:lnTo>
                    <a:lnTo>
                      <a:pt x="96" y="125"/>
                    </a:lnTo>
                    <a:lnTo>
                      <a:pt x="89" y="131"/>
                    </a:lnTo>
                    <a:lnTo>
                      <a:pt x="79" y="135"/>
                    </a:lnTo>
                    <a:lnTo>
                      <a:pt x="70" y="137"/>
                    </a:lnTo>
                    <a:lnTo>
                      <a:pt x="60" y="139"/>
                    </a:lnTo>
                    <a:lnTo>
                      <a:pt x="53" y="139"/>
                    </a:lnTo>
                    <a:lnTo>
                      <a:pt x="47" y="137"/>
                    </a:lnTo>
                    <a:lnTo>
                      <a:pt x="41" y="136"/>
                    </a:lnTo>
                    <a:lnTo>
                      <a:pt x="35" y="134"/>
                    </a:lnTo>
                    <a:lnTo>
                      <a:pt x="30" y="131"/>
                    </a:lnTo>
                    <a:lnTo>
                      <a:pt x="25" y="129"/>
                    </a:lnTo>
                    <a:lnTo>
                      <a:pt x="20" y="125"/>
                    </a:lnTo>
                    <a:lnTo>
                      <a:pt x="16" y="120"/>
                    </a:lnTo>
                    <a:lnTo>
                      <a:pt x="12" y="116"/>
                    </a:lnTo>
                    <a:lnTo>
                      <a:pt x="8" y="111"/>
                    </a:lnTo>
                    <a:lnTo>
                      <a:pt x="6" y="105"/>
                    </a:lnTo>
                    <a:lnTo>
                      <a:pt x="4" y="99"/>
                    </a:lnTo>
                    <a:lnTo>
                      <a:pt x="1" y="86"/>
                    </a:lnTo>
                    <a:lnTo>
                      <a:pt x="0" y="70"/>
                    </a:lnTo>
                    <a:lnTo>
                      <a:pt x="0" y="59"/>
                    </a:lnTo>
                    <a:lnTo>
                      <a:pt x="1" y="49"/>
                    </a:lnTo>
                    <a:lnTo>
                      <a:pt x="4" y="41"/>
                    </a:lnTo>
                    <a:lnTo>
                      <a:pt x="7" y="33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2" y="12"/>
                    </a:lnTo>
                    <a:lnTo>
                      <a:pt x="29" y="9"/>
                    </a:lnTo>
                    <a:lnTo>
                      <a:pt x="36" y="5"/>
                    </a:lnTo>
                    <a:lnTo>
                      <a:pt x="43" y="3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71" y="0"/>
                    </a:lnTo>
                    <a:lnTo>
                      <a:pt x="79" y="3"/>
                    </a:lnTo>
                    <a:lnTo>
                      <a:pt x="88" y="6"/>
                    </a:lnTo>
                    <a:lnTo>
                      <a:pt x="95" y="11"/>
                    </a:lnTo>
                    <a:lnTo>
                      <a:pt x="102" y="17"/>
                    </a:lnTo>
                    <a:lnTo>
                      <a:pt x="107" y="24"/>
                    </a:lnTo>
                    <a:lnTo>
                      <a:pt x="111" y="33"/>
                    </a:lnTo>
                    <a:lnTo>
                      <a:pt x="113" y="42"/>
                    </a:lnTo>
                    <a:lnTo>
                      <a:pt x="91" y="46"/>
                    </a:lnTo>
                    <a:lnTo>
                      <a:pt x="89" y="39"/>
                    </a:lnTo>
                    <a:lnTo>
                      <a:pt x="87" y="34"/>
                    </a:lnTo>
                    <a:lnTo>
                      <a:pt x="84" y="29"/>
                    </a:lnTo>
                    <a:lnTo>
                      <a:pt x="81" y="25"/>
                    </a:lnTo>
                    <a:lnTo>
                      <a:pt x="76" y="22"/>
                    </a:lnTo>
                    <a:lnTo>
                      <a:pt x="71" y="21"/>
                    </a:lnTo>
                    <a:lnTo>
                      <a:pt x="66" y="19"/>
                    </a:lnTo>
                    <a:lnTo>
                      <a:pt x="61" y="18"/>
                    </a:lnTo>
                    <a:lnTo>
                      <a:pt x="53" y="19"/>
                    </a:lnTo>
                    <a:lnTo>
                      <a:pt x="46" y="22"/>
                    </a:lnTo>
                    <a:lnTo>
                      <a:pt x="38" y="25"/>
                    </a:lnTo>
                    <a:lnTo>
                      <a:pt x="34" y="30"/>
                    </a:lnTo>
                    <a:lnTo>
                      <a:pt x="29" y="37"/>
                    </a:lnTo>
                    <a:lnTo>
                      <a:pt x="25" y="46"/>
                    </a:lnTo>
                    <a:lnTo>
                      <a:pt x="23" y="57"/>
                    </a:lnTo>
                    <a:lnTo>
                      <a:pt x="23" y="69"/>
                    </a:lnTo>
                    <a:lnTo>
                      <a:pt x="23" y="82"/>
                    </a:lnTo>
                    <a:lnTo>
                      <a:pt x="25" y="93"/>
                    </a:lnTo>
                    <a:lnTo>
                      <a:pt x="29" y="101"/>
                    </a:lnTo>
                    <a:lnTo>
                      <a:pt x="32" y="108"/>
                    </a:lnTo>
                    <a:lnTo>
                      <a:pt x="38" y="113"/>
                    </a:lnTo>
                    <a:lnTo>
                      <a:pt x="44" y="117"/>
                    </a:lnTo>
                    <a:lnTo>
                      <a:pt x="52" y="119"/>
                    </a:lnTo>
                    <a:lnTo>
                      <a:pt x="60" y="120"/>
                    </a:lnTo>
                    <a:lnTo>
                      <a:pt x="66" y="119"/>
                    </a:lnTo>
                    <a:lnTo>
                      <a:pt x="72" y="118"/>
                    </a:lnTo>
                    <a:lnTo>
                      <a:pt x="77" y="116"/>
                    </a:lnTo>
                    <a:lnTo>
                      <a:pt x="82" y="112"/>
                    </a:lnTo>
                    <a:lnTo>
                      <a:pt x="85" y="107"/>
                    </a:lnTo>
                    <a:lnTo>
                      <a:pt x="89" y="101"/>
                    </a:lnTo>
                    <a:lnTo>
                      <a:pt x="91" y="95"/>
                    </a:lnTo>
                    <a:lnTo>
                      <a:pt x="93" y="8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123"/>
              <p:cNvSpPr>
                <a:spLocks noEditPoints="1"/>
              </p:cNvSpPr>
              <p:nvPr/>
            </p:nvSpPr>
            <p:spPr bwMode="auto">
              <a:xfrm>
                <a:off x="7392988" y="1760538"/>
                <a:ext cx="49213" cy="53975"/>
              </a:xfrm>
              <a:custGeom>
                <a:avLst/>
                <a:gdLst>
                  <a:gd name="T0" fmla="*/ 82 w 123"/>
                  <a:gd name="T1" fmla="*/ 128 h 139"/>
                  <a:gd name="T2" fmla="*/ 59 w 123"/>
                  <a:gd name="T3" fmla="*/ 137 h 139"/>
                  <a:gd name="T4" fmla="*/ 35 w 123"/>
                  <a:gd name="T5" fmla="*/ 137 h 139"/>
                  <a:gd name="T6" fmla="*/ 18 w 123"/>
                  <a:gd name="T7" fmla="*/ 133 h 139"/>
                  <a:gd name="T8" fmla="*/ 8 w 123"/>
                  <a:gd name="T9" fmla="*/ 122 h 139"/>
                  <a:gd name="T10" fmla="*/ 2 w 123"/>
                  <a:gd name="T11" fmla="*/ 108 h 139"/>
                  <a:gd name="T12" fmla="*/ 2 w 123"/>
                  <a:gd name="T13" fmla="*/ 92 h 139"/>
                  <a:gd name="T14" fmla="*/ 10 w 123"/>
                  <a:gd name="T15" fmla="*/ 76 h 139"/>
                  <a:gd name="T16" fmla="*/ 24 w 123"/>
                  <a:gd name="T17" fmla="*/ 65 h 139"/>
                  <a:gd name="T18" fmla="*/ 41 w 123"/>
                  <a:gd name="T19" fmla="*/ 60 h 139"/>
                  <a:gd name="T20" fmla="*/ 65 w 123"/>
                  <a:gd name="T21" fmla="*/ 58 h 139"/>
                  <a:gd name="T22" fmla="*/ 86 w 123"/>
                  <a:gd name="T23" fmla="*/ 53 h 139"/>
                  <a:gd name="T24" fmla="*/ 93 w 123"/>
                  <a:gd name="T25" fmla="*/ 48 h 139"/>
                  <a:gd name="T26" fmla="*/ 93 w 123"/>
                  <a:gd name="T27" fmla="*/ 40 h 139"/>
                  <a:gd name="T28" fmla="*/ 89 w 123"/>
                  <a:gd name="T29" fmla="*/ 30 h 139"/>
                  <a:gd name="T30" fmla="*/ 82 w 123"/>
                  <a:gd name="T31" fmla="*/ 23 h 139"/>
                  <a:gd name="T32" fmla="*/ 69 w 123"/>
                  <a:gd name="T33" fmla="*/ 19 h 139"/>
                  <a:gd name="T34" fmla="*/ 53 w 123"/>
                  <a:gd name="T35" fmla="*/ 19 h 139"/>
                  <a:gd name="T36" fmla="*/ 42 w 123"/>
                  <a:gd name="T37" fmla="*/ 22 h 139"/>
                  <a:gd name="T38" fmla="*/ 34 w 123"/>
                  <a:gd name="T39" fmla="*/ 28 h 139"/>
                  <a:gd name="T40" fmla="*/ 28 w 123"/>
                  <a:gd name="T41" fmla="*/ 37 h 139"/>
                  <a:gd name="T42" fmla="*/ 4 w 123"/>
                  <a:gd name="T43" fmla="*/ 41 h 139"/>
                  <a:gd name="T44" fmla="*/ 9 w 123"/>
                  <a:gd name="T45" fmla="*/ 28 h 139"/>
                  <a:gd name="T46" fmla="*/ 15 w 123"/>
                  <a:gd name="T47" fmla="*/ 18 h 139"/>
                  <a:gd name="T48" fmla="*/ 23 w 123"/>
                  <a:gd name="T49" fmla="*/ 11 h 139"/>
                  <a:gd name="T50" fmla="*/ 34 w 123"/>
                  <a:gd name="T51" fmla="*/ 5 h 139"/>
                  <a:gd name="T52" fmla="*/ 48 w 123"/>
                  <a:gd name="T53" fmla="*/ 1 h 139"/>
                  <a:gd name="T54" fmla="*/ 64 w 123"/>
                  <a:gd name="T55" fmla="*/ 0 h 139"/>
                  <a:gd name="T56" fmla="*/ 80 w 123"/>
                  <a:gd name="T57" fmla="*/ 1 h 139"/>
                  <a:gd name="T58" fmla="*/ 92 w 123"/>
                  <a:gd name="T59" fmla="*/ 4 h 139"/>
                  <a:gd name="T60" fmla="*/ 107 w 123"/>
                  <a:gd name="T61" fmla="*/ 15 h 139"/>
                  <a:gd name="T62" fmla="*/ 115 w 123"/>
                  <a:gd name="T63" fmla="*/ 29 h 139"/>
                  <a:gd name="T64" fmla="*/ 116 w 123"/>
                  <a:gd name="T65" fmla="*/ 51 h 139"/>
                  <a:gd name="T66" fmla="*/ 116 w 123"/>
                  <a:gd name="T67" fmla="*/ 94 h 139"/>
                  <a:gd name="T68" fmla="*/ 117 w 123"/>
                  <a:gd name="T69" fmla="*/ 114 h 139"/>
                  <a:gd name="T70" fmla="*/ 119 w 123"/>
                  <a:gd name="T71" fmla="*/ 128 h 139"/>
                  <a:gd name="T72" fmla="*/ 99 w 123"/>
                  <a:gd name="T73" fmla="*/ 136 h 139"/>
                  <a:gd name="T74" fmla="*/ 95 w 123"/>
                  <a:gd name="T75" fmla="*/ 119 h 139"/>
                  <a:gd name="T76" fmla="*/ 86 w 123"/>
                  <a:gd name="T77" fmla="*/ 71 h 139"/>
                  <a:gd name="T78" fmla="*/ 68 w 123"/>
                  <a:gd name="T79" fmla="*/ 76 h 139"/>
                  <a:gd name="T80" fmla="*/ 45 w 123"/>
                  <a:gd name="T81" fmla="*/ 80 h 139"/>
                  <a:gd name="T82" fmla="*/ 32 w 123"/>
                  <a:gd name="T83" fmla="*/ 86 h 139"/>
                  <a:gd name="T84" fmla="*/ 26 w 123"/>
                  <a:gd name="T85" fmla="*/ 94 h 139"/>
                  <a:gd name="T86" fmla="*/ 26 w 123"/>
                  <a:gd name="T87" fmla="*/ 105 h 139"/>
                  <a:gd name="T88" fmla="*/ 28 w 123"/>
                  <a:gd name="T89" fmla="*/ 112 h 139"/>
                  <a:gd name="T90" fmla="*/ 35 w 123"/>
                  <a:gd name="T91" fmla="*/ 118 h 139"/>
                  <a:gd name="T92" fmla="*/ 45 w 123"/>
                  <a:gd name="T93" fmla="*/ 120 h 139"/>
                  <a:gd name="T94" fmla="*/ 58 w 123"/>
                  <a:gd name="T95" fmla="*/ 120 h 139"/>
                  <a:gd name="T96" fmla="*/ 69 w 123"/>
                  <a:gd name="T97" fmla="*/ 118 h 139"/>
                  <a:gd name="T98" fmla="*/ 80 w 123"/>
                  <a:gd name="T99" fmla="*/ 112 h 139"/>
                  <a:gd name="T100" fmla="*/ 87 w 123"/>
                  <a:gd name="T101" fmla="*/ 105 h 139"/>
                  <a:gd name="T102" fmla="*/ 92 w 123"/>
                  <a:gd name="T103" fmla="*/ 90 h 139"/>
                  <a:gd name="T104" fmla="*/ 93 w 123"/>
                  <a:gd name="T105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3" h="139">
                    <a:moveTo>
                      <a:pt x="95" y="119"/>
                    </a:moveTo>
                    <a:lnTo>
                      <a:pt x="82" y="128"/>
                    </a:lnTo>
                    <a:lnTo>
                      <a:pt x="71" y="134"/>
                    </a:lnTo>
                    <a:lnTo>
                      <a:pt x="59" y="137"/>
                    </a:lnTo>
                    <a:lnTo>
                      <a:pt x="46" y="139"/>
                    </a:lnTo>
                    <a:lnTo>
                      <a:pt x="35" y="137"/>
                    </a:lnTo>
                    <a:lnTo>
                      <a:pt x="27" y="136"/>
                    </a:lnTo>
                    <a:lnTo>
                      <a:pt x="18" y="133"/>
                    </a:lnTo>
                    <a:lnTo>
                      <a:pt x="12" y="128"/>
                    </a:lnTo>
                    <a:lnTo>
                      <a:pt x="8" y="122"/>
                    </a:lnTo>
                    <a:lnTo>
                      <a:pt x="4" y="116"/>
                    </a:lnTo>
                    <a:lnTo>
                      <a:pt x="2" y="108"/>
                    </a:lnTo>
                    <a:lnTo>
                      <a:pt x="0" y="101"/>
                    </a:lnTo>
                    <a:lnTo>
                      <a:pt x="2" y="92"/>
                    </a:lnTo>
                    <a:lnTo>
                      <a:pt x="5" y="83"/>
                    </a:lnTo>
                    <a:lnTo>
                      <a:pt x="10" y="76"/>
                    </a:lnTo>
                    <a:lnTo>
                      <a:pt x="17" y="70"/>
                    </a:lnTo>
                    <a:lnTo>
                      <a:pt x="24" y="65"/>
                    </a:lnTo>
                    <a:lnTo>
                      <a:pt x="33" y="63"/>
                    </a:lnTo>
                    <a:lnTo>
                      <a:pt x="41" y="60"/>
                    </a:lnTo>
                    <a:lnTo>
                      <a:pt x="53" y="59"/>
                    </a:lnTo>
                    <a:lnTo>
                      <a:pt x="65" y="58"/>
                    </a:lnTo>
                    <a:lnTo>
                      <a:pt x="76" y="56"/>
                    </a:lnTo>
                    <a:lnTo>
                      <a:pt x="86" y="53"/>
                    </a:lnTo>
                    <a:lnTo>
                      <a:pt x="93" y="52"/>
                    </a:lnTo>
                    <a:lnTo>
                      <a:pt x="93" y="48"/>
                    </a:lnTo>
                    <a:lnTo>
                      <a:pt x="93" y="46"/>
                    </a:lnTo>
                    <a:lnTo>
                      <a:pt x="93" y="40"/>
                    </a:lnTo>
                    <a:lnTo>
                      <a:pt x="92" y="34"/>
                    </a:lnTo>
                    <a:lnTo>
                      <a:pt x="89" y="30"/>
                    </a:lnTo>
                    <a:lnTo>
                      <a:pt x="87" y="27"/>
                    </a:lnTo>
                    <a:lnTo>
                      <a:pt x="82" y="23"/>
                    </a:lnTo>
                    <a:lnTo>
                      <a:pt x="76" y="21"/>
                    </a:lnTo>
                    <a:lnTo>
                      <a:pt x="69" y="19"/>
                    </a:lnTo>
                    <a:lnTo>
                      <a:pt x="62" y="18"/>
                    </a:lnTo>
                    <a:lnTo>
                      <a:pt x="53" y="19"/>
                    </a:lnTo>
                    <a:lnTo>
                      <a:pt x="47" y="21"/>
                    </a:lnTo>
                    <a:lnTo>
                      <a:pt x="42" y="22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2" y="33"/>
                    </a:lnTo>
                    <a:lnTo>
                      <a:pt x="28" y="37"/>
                    </a:lnTo>
                    <a:lnTo>
                      <a:pt x="27" y="45"/>
                    </a:lnTo>
                    <a:lnTo>
                      <a:pt x="4" y="41"/>
                    </a:lnTo>
                    <a:lnTo>
                      <a:pt x="6" y="34"/>
                    </a:lnTo>
                    <a:lnTo>
                      <a:pt x="9" y="28"/>
                    </a:lnTo>
                    <a:lnTo>
                      <a:pt x="11" y="23"/>
                    </a:lnTo>
                    <a:lnTo>
                      <a:pt x="15" y="18"/>
                    </a:lnTo>
                    <a:lnTo>
                      <a:pt x="18" y="15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4" y="5"/>
                    </a:lnTo>
                    <a:lnTo>
                      <a:pt x="41" y="3"/>
                    </a:lnTo>
                    <a:lnTo>
                      <a:pt x="48" y="1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0" y="1"/>
                    </a:lnTo>
                    <a:lnTo>
                      <a:pt x="87" y="3"/>
                    </a:lnTo>
                    <a:lnTo>
                      <a:pt x="92" y="4"/>
                    </a:lnTo>
                    <a:lnTo>
                      <a:pt x="101" y="9"/>
                    </a:lnTo>
                    <a:lnTo>
                      <a:pt x="107" y="15"/>
                    </a:lnTo>
                    <a:lnTo>
                      <a:pt x="112" y="21"/>
                    </a:lnTo>
                    <a:lnTo>
                      <a:pt x="115" y="29"/>
                    </a:lnTo>
                    <a:lnTo>
                      <a:pt x="116" y="37"/>
                    </a:lnTo>
                    <a:lnTo>
                      <a:pt x="116" y="51"/>
                    </a:lnTo>
                    <a:lnTo>
                      <a:pt x="116" y="80"/>
                    </a:lnTo>
                    <a:lnTo>
                      <a:pt x="116" y="94"/>
                    </a:lnTo>
                    <a:lnTo>
                      <a:pt x="116" y="106"/>
                    </a:lnTo>
                    <a:lnTo>
                      <a:pt x="117" y="114"/>
                    </a:lnTo>
                    <a:lnTo>
                      <a:pt x="117" y="119"/>
                    </a:lnTo>
                    <a:lnTo>
                      <a:pt x="119" y="128"/>
                    </a:lnTo>
                    <a:lnTo>
                      <a:pt x="123" y="136"/>
                    </a:lnTo>
                    <a:lnTo>
                      <a:pt x="99" y="136"/>
                    </a:lnTo>
                    <a:lnTo>
                      <a:pt x="97" y="128"/>
                    </a:lnTo>
                    <a:lnTo>
                      <a:pt x="95" y="119"/>
                    </a:lnTo>
                    <a:close/>
                    <a:moveTo>
                      <a:pt x="93" y="69"/>
                    </a:moveTo>
                    <a:lnTo>
                      <a:pt x="86" y="71"/>
                    </a:lnTo>
                    <a:lnTo>
                      <a:pt x="77" y="74"/>
                    </a:lnTo>
                    <a:lnTo>
                      <a:pt x="68" y="76"/>
                    </a:lnTo>
                    <a:lnTo>
                      <a:pt x="57" y="77"/>
                    </a:lnTo>
                    <a:lnTo>
                      <a:pt x="45" y="80"/>
                    </a:lnTo>
                    <a:lnTo>
                      <a:pt x="36" y="82"/>
                    </a:lnTo>
                    <a:lnTo>
                      <a:pt x="32" y="86"/>
                    </a:lnTo>
                    <a:lnTo>
                      <a:pt x="28" y="89"/>
                    </a:lnTo>
                    <a:lnTo>
                      <a:pt x="26" y="94"/>
                    </a:lnTo>
                    <a:lnTo>
                      <a:pt x="24" y="100"/>
                    </a:lnTo>
                    <a:lnTo>
                      <a:pt x="26" y="105"/>
                    </a:lnTo>
                    <a:lnTo>
                      <a:pt x="27" y="108"/>
                    </a:lnTo>
                    <a:lnTo>
                      <a:pt x="28" y="112"/>
                    </a:lnTo>
                    <a:lnTo>
                      <a:pt x="32" y="114"/>
                    </a:lnTo>
                    <a:lnTo>
                      <a:pt x="35" y="118"/>
                    </a:lnTo>
                    <a:lnTo>
                      <a:pt x="40" y="119"/>
                    </a:lnTo>
                    <a:lnTo>
                      <a:pt x="45" y="120"/>
                    </a:lnTo>
                    <a:lnTo>
                      <a:pt x="51" y="120"/>
                    </a:lnTo>
                    <a:lnTo>
                      <a:pt x="58" y="120"/>
                    </a:lnTo>
                    <a:lnTo>
                      <a:pt x="64" y="119"/>
                    </a:lnTo>
                    <a:lnTo>
                      <a:pt x="69" y="118"/>
                    </a:lnTo>
                    <a:lnTo>
                      <a:pt x="75" y="116"/>
                    </a:lnTo>
                    <a:lnTo>
                      <a:pt x="80" y="112"/>
                    </a:lnTo>
                    <a:lnTo>
                      <a:pt x="83" y="108"/>
                    </a:lnTo>
                    <a:lnTo>
                      <a:pt x="87" y="105"/>
                    </a:lnTo>
                    <a:lnTo>
                      <a:pt x="89" y="100"/>
                    </a:lnTo>
                    <a:lnTo>
                      <a:pt x="92" y="90"/>
                    </a:lnTo>
                    <a:lnTo>
                      <a:pt x="93" y="77"/>
                    </a:lnTo>
                    <a:lnTo>
                      <a:pt x="93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124"/>
              <p:cNvSpPr>
                <a:spLocks/>
              </p:cNvSpPr>
              <p:nvPr/>
            </p:nvSpPr>
            <p:spPr bwMode="auto">
              <a:xfrm>
                <a:off x="7448551" y="1743075"/>
                <a:ext cx="25400" cy="71438"/>
              </a:xfrm>
              <a:custGeom>
                <a:avLst/>
                <a:gdLst>
                  <a:gd name="T0" fmla="*/ 63 w 65"/>
                  <a:gd name="T1" fmla="*/ 159 h 180"/>
                  <a:gd name="T2" fmla="*/ 65 w 65"/>
                  <a:gd name="T3" fmla="*/ 178 h 180"/>
                  <a:gd name="T4" fmla="*/ 57 w 65"/>
                  <a:gd name="T5" fmla="*/ 180 h 180"/>
                  <a:gd name="T6" fmla="*/ 49 w 65"/>
                  <a:gd name="T7" fmla="*/ 180 h 180"/>
                  <a:gd name="T8" fmla="*/ 43 w 65"/>
                  <a:gd name="T9" fmla="*/ 180 h 180"/>
                  <a:gd name="T10" fmla="*/ 38 w 65"/>
                  <a:gd name="T11" fmla="*/ 179 h 180"/>
                  <a:gd name="T12" fmla="*/ 33 w 65"/>
                  <a:gd name="T13" fmla="*/ 178 h 180"/>
                  <a:gd name="T14" fmla="*/ 29 w 65"/>
                  <a:gd name="T15" fmla="*/ 177 h 180"/>
                  <a:gd name="T16" fmla="*/ 23 w 65"/>
                  <a:gd name="T17" fmla="*/ 172 h 180"/>
                  <a:gd name="T18" fmla="*/ 20 w 65"/>
                  <a:gd name="T19" fmla="*/ 166 h 180"/>
                  <a:gd name="T20" fmla="*/ 19 w 65"/>
                  <a:gd name="T21" fmla="*/ 156 h 180"/>
                  <a:gd name="T22" fmla="*/ 17 w 65"/>
                  <a:gd name="T23" fmla="*/ 139 h 180"/>
                  <a:gd name="T24" fmla="*/ 17 w 65"/>
                  <a:gd name="T25" fmla="*/ 64 h 180"/>
                  <a:gd name="T26" fmla="*/ 0 w 65"/>
                  <a:gd name="T27" fmla="*/ 64 h 180"/>
                  <a:gd name="T28" fmla="*/ 0 w 65"/>
                  <a:gd name="T29" fmla="*/ 46 h 180"/>
                  <a:gd name="T30" fmla="*/ 17 w 65"/>
                  <a:gd name="T31" fmla="*/ 46 h 180"/>
                  <a:gd name="T32" fmla="*/ 17 w 65"/>
                  <a:gd name="T33" fmla="*/ 13 h 180"/>
                  <a:gd name="T34" fmla="*/ 40 w 65"/>
                  <a:gd name="T35" fmla="*/ 0 h 180"/>
                  <a:gd name="T36" fmla="*/ 40 w 65"/>
                  <a:gd name="T37" fmla="*/ 46 h 180"/>
                  <a:gd name="T38" fmla="*/ 63 w 65"/>
                  <a:gd name="T39" fmla="*/ 46 h 180"/>
                  <a:gd name="T40" fmla="*/ 63 w 65"/>
                  <a:gd name="T41" fmla="*/ 64 h 180"/>
                  <a:gd name="T42" fmla="*/ 40 w 65"/>
                  <a:gd name="T43" fmla="*/ 64 h 180"/>
                  <a:gd name="T44" fmla="*/ 40 w 65"/>
                  <a:gd name="T45" fmla="*/ 141 h 180"/>
                  <a:gd name="T46" fmla="*/ 40 w 65"/>
                  <a:gd name="T47" fmla="*/ 149 h 180"/>
                  <a:gd name="T48" fmla="*/ 41 w 65"/>
                  <a:gd name="T49" fmla="*/ 154 h 180"/>
                  <a:gd name="T50" fmla="*/ 43 w 65"/>
                  <a:gd name="T51" fmla="*/ 156 h 180"/>
                  <a:gd name="T52" fmla="*/ 45 w 65"/>
                  <a:gd name="T53" fmla="*/ 157 h 180"/>
                  <a:gd name="T54" fmla="*/ 49 w 65"/>
                  <a:gd name="T55" fmla="*/ 159 h 180"/>
                  <a:gd name="T56" fmla="*/ 52 w 65"/>
                  <a:gd name="T57" fmla="*/ 160 h 180"/>
                  <a:gd name="T58" fmla="*/ 57 w 65"/>
                  <a:gd name="T59" fmla="*/ 160 h 180"/>
                  <a:gd name="T60" fmla="*/ 63 w 65"/>
                  <a:gd name="T61" fmla="*/ 15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5" h="180">
                    <a:moveTo>
                      <a:pt x="63" y="159"/>
                    </a:moveTo>
                    <a:lnTo>
                      <a:pt x="65" y="178"/>
                    </a:lnTo>
                    <a:lnTo>
                      <a:pt x="57" y="180"/>
                    </a:lnTo>
                    <a:lnTo>
                      <a:pt x="49" y="180"/>
                    </a:lnTo>
                    <a:lnTo>
                      <a:pt x="43" y="180"/>
                    </a:lnTo>
                    <a:lnTo>
                      <a:pt x="38" y="179"/>
                    </a:lnTo>
                    <a:lnTo>
                      <a:pt x="33" y="178"/>
                    </a:lnTo>
                    <a:lnTo>
                      <a:pt x="29" y="177"/>
                    </a:lnTo>
                    <a:lnTo>
                      <a:pt x="23" y="172"/>
                    </a:lnTo>
                    <a:lnTo>
                      <a:pt x="20" y="166"/>
                    </a:lnTo>
                    <a:lnTo>
                      <a:pt x="19" y="156"/>
                    </a:lnTo>
                    <a:lnTo>
                      <a:pt x="17" y="139"/>
                    </a:lnTo>
                    <a:lnTo>
                      <a:pt x="17" y="64"/>
                    </a:lnTo>
                    <a:lnTo>
                      <a:pt x="0" y="64"/>
                    </a:lnTo>
                    <a:lnTo>
                      <a:pt x="0" y="46"/>
                    </a:lnTo>
                    <a:lnTo>
                      <a:pt x="17" y="46"/>
                    </a:lnTo>
                    <a:lnTo>
                      <a:pt x="17" y="13"/>
                    </a:lnTo>
                    <a:lnTo>
                      <a:pt x="40" y="0"/>
                    </a:lnTo>
                    <a:lnTo>
                      <a:pt x="40" y="46"/>
                    </a:lnTo>
                    <a:lnTo>
                      <a:pt x="63" y="46"/>
                    </a:lnTo>
                    <a:lnTo>
                      <a:pt x="63" y="64"/>
                    </a:lnTo>
                    <a:lnTo>
                      <a:pt x="40" y="64"/>
                    </a:lnTo>
                    <a:lnTo>
                      <a:pt x="40" y="141"/>
                    </a:lnTo>
                    <a:lnTo>
                      <a:pt x="40" y="149"/>
                    </a:lnTo>
                    <a:lnTo>
                      <a:pt x="41" y="154"/>
                    </a:lnTo>
                    <a:lnTo>
                      <a:pt x="43" y="156"/>
                    </a:lnTo>
                    <a:lnTo>
                      <a:pt x="45" y="157"/>
                    </a:lnTo>
                    <a:lnTo>
                      <a:pt x="49" y="159"/>
                    </a:lnTo>
                    <a:lnTo>
                      <a:pt x="52" y="160"/>
                    </a:lnTo>
                    <a:lnTo>
                      <a:pt x="57" y="160"/>
                    </a:lnTo>
                    <a:lnTo>
                      <a:pt x="63" y="1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125"/>
              <p:cNvSpPr>
                <a:spLocks noEditPoints="1"/>
              </p:cNvSpPr>
              <p:nvPr/>
            </p:nvSpPr>
            <p:spPr bwMode="auto">
              <a:xfrm>
                <a:off x="7478713" y="1760538"/>
                <a:ext cx="49213" cy="53975"/>
              </a:xfrm>
              <a:custGeom>
                <a:avLst/>
                <a:gdLst>
                  <a:gd name="T0" fmla="*/ 0 w 124"/>
                  <a:gd name="T1" fmla="*/ 60 h 139"/>
                  <a:gd name="T2" fmla="*/ 3 w 124"/>
                  <a:gd name="T3" fmla="*/ 45 h 139"/>
                  <a:gd name="T4" fmla="*/ 9 w 124"/>
                  <a:gd name="T5" fmla="*/ 30 h 139"/>
                  <a:gd name="T6" fmla="*/ 16 w 124"/>
                  <a:gd name="T7" fmla="*/ 19 h 139"/>
                  <a:gd name="T8" fmla="*/ 30 w 124"/>
                  <a:gd name="T9" fmla="*/ 9 h 139"/>
                  <a:gd name="T10" fmla="*/ 51 w 124"/>
                  <a:gd name="T11" fmla="*/ 1 h 139"/>
                  <a:gd name="T12" fmla="*/ 69 w 124"/>
                  <a:gd name="T13" fmla="*/ 0 h 139"/>
                  <a:gd name="T14" fmla="*/ 82 w 124"/>
                  <a:gd name="T15" fmla="*/ 3 h 139"/>
                  <a:gd name="T16" fmla="*/ 93 w 124"/>
                  <a:gd name="T17" fmla="*/ 7 h 139"/>
                  <a:gd name="T18" fmla="*/ 103 w 124"/>
                  <a:gd name="T19" fmla="*/ 13 h 139"/>
                  <a:gd name="T20" fmla="*/ 111 w 124"/>
                  <a:gd name="T21" fmla="*/ 23 h 139"/>
                  <a:gd name="T22" fmla="*/ 118 w 124"/>
                  <a:gd name="T23" fmla="*/ 34 h 139"/>
                  <a:gd name="T24" fmla="*/ 123 w 124"/>
                  <a:gd name="T25" fmla="*/ 52 h 139"/>
                  <a:gd name="T26" fmla="*/ 124 w 124"/>
                  <a:gd name="T27" fmla="*/ 80 h 139"/>
                  <a:gd name="T28" fmla="*/ 121 w 124"/>
                  <a:gd name="T29" fmla="*/ 100 h 139"/>
                  <a:gd name="T30" fmla="*/ 112 w 124"/>
                  <a:gd name="T31" fmla="*/ 114 h 139"/>
                  <a:gd name="T32" fmla="*/ 101 w 124"/>
                  <a:gd name="T33" fmla="*/ 127 h 139"/>
                  <a:gd name="T34" fmla="*/ 87 w 124"/>
                  <a:gd name="T35" fmla="*/ 134 h 139"/>
                  <a:gd name="T36" fmla="*/ 71 w 124"/>
                  <a:gd name="T37" fmla="*/ 139 h 139"/>
                  <a:gd name="T38" fmla="*/ 56 w 124"/>
                  <a:gd name="T39" fmla="*/ 139 h 139"/>
                  <a:gd name="T40" fmla="*/ 44 w 124"/>
                  <a:gd name="T41" fmla="*/ 136 h 139"/>
                  <a:gd name="T42" fmla="*/ 32 w 124"/>
                  <a:gd name="T43" fmla="*/ 131 h 139"/>
                  <a:gd name="T44" fmla="*/ 22 w 124"/>
                  <a:gd name="T45" fmla="*/ 125 h 139"/>
                  <a:gd name="T46" fmla="*/ 14 w 124"/>
                  <a:gd name="T47" fmla="*/ 116 h 139"/>
                  <a:gd name="T48" fmla="*/ 8 w 124"/>
                  <a:gd name="T49" fmla="*/ 105 h 139"/>
                  <a:gd name="T50" fmla="*/ 2 w 124"/>
                  <a:gd name="T51" fmla="*/ 86 h 139"/>
                  <a:gd name="T52" fmla="*/ 23 w 124"/>
                  <a:gd name="T53" fmla="*/ 69 h 139"/>
                  <a:gd name="T54" fmla="*/ 26 w 124"/>
                  <a:gd name="T55" fmla="*/ 92 h 139"/>
                  <a:gd name="T56" fmla="*/ 34 w 124"/>
                  <a:gd name="T57" fmla="*/ 107 h 139"/>
                  <a:gd name="T58" fmla="*/ 47 w 124"/>
                  <a:gd name="T59" fmla="*/ 117 h 139"/>
                  <a:gd name="T60" fmla="*/ 63 w 124"/>
                  <a:gd name="T61" fmla="*/ 120 h 139"/>
                  <a:gd name="T62" fmla="*/ 79 w 124"/>
                  <a:gd name="T63" fmla="*/ 117 h 139"/>
                  <a:gd name="T64" fmla="*/ 91 w 124"/>
                  <a:gd name="T65" fmla="*/ 107 h 139"/>
                  <a:gd name="T66" fmla="*/ 99 w 124"/>
                  <a:gd name="T67" fmla="*/ 92 h 139"/>
                  <a:gd name="T68" fmla="*/ 101 w 124"/>
                  <a:gd name="T69" fmla="*/ 69 h 139"/>
                  <a:gd name="T70" fmla="*/ 99 w 124"/>
                  <a:gd name="T71" fmla="*/ 47 h 139"/>
                  <a:gd name="T72" fmla="*/ 91 w 124"/>
                  <a:gd name="T73" fmla="*/ 31 h 139"/>
                  <a:gd name="T74" fmla="*/ 77 w 124"/>
                  <a:gd name="T75" fmla="*/ 22 h 139"/>
                  <a:gd name="T76" fmla="*/ 63 w 124"/>
                  <a:gd name="T77" fmla="*/ 18 h 139"/>
                  <a:gd name="T78" fmla="*/ 47 w 124"/>
                  <a:gd name="T79" fmla="*/ 22 h 139"/>
                  <a:gd name="T80" fmla="*/ 34 w 124"/>
                  <a:gd name="T81" fmla="*/ 31 h 139"/>
                  <a:gd name="T82" fmla="*/ 26 w 124"/>
                  <a:gd name="T83" fmla="*/ 47 h 139"/>
                  <a:gd name="T84" fmla="*/ 23 w 124"/>
                  <a:gd name="T85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4" h="139">
                    <a:moveTo>
                      <a:pt x="0" y="69"/>
                    </a:moveTo>
                    <a:lnTo>
                      <a:pt x="0" y="60"/>
                    </a:lnTo>
                    <a:lnTo>
                      <a:pt x="2" y="52"/>
                    </a:lnTo>
                    <a:lnTo>
                      <a:pt x="3" y="45"/>
                    </a:lnTo>
                    <a:lnTo>
                      <a:pt x="5" y="37"/>
                    </a:lnTo>
                    <a:lnTo>
                      <a:pt x="9" y="30"/>
                    </a:lnTo>
                    <a:lnTo>
                      <a:pt x="12" y="25"/>
                    </a:lnTo>
                    <a:lnTo>
                      <a:pt x="16" y="19"/>
                    </a:lnTo>
                    <a:lnTo>
                      <a:pt x="21" y="15"/>
                    </a:lnTo>
                    <a:lnTo>
                      <a:pt x="30" y="9"/>
                    </a:lnTo>
                    <a:lnTo>
                      <a:pt x="40" y="4"/>
                    </a:lnTo>
                    <a:lnTo>
                      <a:pt x="51" y="1"/>
                    </a:lnTo>
                    <a:lnTo>
                      <a:pt x="63" y="0"/>
                    </a:lnTo>
                    <a:lnTo>
                      <a:pt x="69" y="0"/>
                    </a:lnTo>
                    <a:lnTo>
                      <a:pt x="76" y="1"/>
                    </a:lnTo>
                    <a:lnTo>
                      <a:pt x="82" y="3"/>
                    </a:lnTo>
                    <a:lnTo>
                      <a:pt x="87" y="5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3" y="13"/>
                    </a:lnTo>
                    <a:lnTo>
                      <a:pt x="107" y="18"/>
                    </a:lnTo>
                    <a:lnTo>
                      <a:pt x="111" y="23"/>
                    </a:lnTo>
                    <a:lnTo>
                      <a:pt x="115" y="28"/>
                    </a:lnTo>
                    <a:lnTo>
                      <a:pt x="118" y="34"/>
                    </a:lnTo>
                    <a:lnTo>
                      <a:pt x="121" y="40"/>
                    </a:lnTo>
                    <a:lnTo>
                      <a:pt x="123" y="52"/>
                    </a:lnTo>
                    <a:lnTo>
                      <a:pt x="124" y="68"/>
                    </a:lnTo>
                    <a:lnTo>
                      <a:pt x="124" y="80"/>
                    </a:lnTo>
                    <a:lnTo>
                      <a:pt x="123" y="90"/>
                    </a:lnTo>
                    <a:lnTo>
                      <a:pt x="121" y="100"/>
                    </a:lnTo>
                    <a:lnTo>
                      <a:pt x="117" y="107"/>
                    </a:lnTo>
                    <a:lnTo>
                      <a:pt x="112" y="114"/>
                    </a:lnTo>
                    <a:lnTo>
                      <a:pt x="107" y="120"/>
                    </a:lnTo>
                    <a:lnTo>
                      <a:pt x="101" y="127"/>
                    </a:lnTo>
                    <a:lnTo>
                      <a:pt x="94" y="130"/>
                    </a:lnTo>
                    <a:lnTo>
                      <a:pt x="87" y="134"/>
                    </a:lnTo>
                    <a:lnTo>
                      <a:pt x="80" y="136"/>
                    </a:lnTo>
                    <a:lnTo>
                      <a:pt x="71" y="139"/>
                    </a:lnTo>
                    <a:lnTo>
                      <a:pt x="63" y="139"/>
                    </a:lnTo>
                    <a:lnTo>
                      <a:pt x="56" y="139"/>
                    </a:lnTo>
                    <a:lnTo>
                      <a:pt x="50" y="137"/>
                    </a:lnTo>
                    <a:lnTo>
                      <a:pt x="44" y="136"/>
                    </a:lnTo>
                    <a:lnTo>
                      <a:pt x="38" y="134"/>
                    </a:lnTo>
                    <a:lnTo>
                      <a:pt x="32" y="131"/>
                    </a:lnTo>
                    <a:lnTo>
                      <a:pt x="27" y="129"/>
                    </a:lnTo>
                    <a:lnTo>
                      <a:pt x="22" y="125"/>
                    </a:lnTo>
                    <a:lnTo>
                      <a:pt x="17" y="120"/>
                    </a:lnTo>
                    <a:lnTo>
                      <a:pt x="14" y="116"/>
                    </a:lnTo>
                    <a:lnTo>
                      <a:pt x="10" y="111"/>
                    </a:lnTo>
                    <a:lnTo>
                      <a:pt x="8" y="105"/>
                    </a:lnTo>
                    <a:lnTo>
                      <a:pt x="5" y="99"/>
                    </a:lnTo>
                    <a:lnTo>
                      <a:pt x="2" y="86"/>
                    </a:lnTo>
                    <a:lnTo>
                      <a:pt x="0" y="69"/>
                    </a:lnTo>
                    <a:close/>
                    <a:moveTo>
                      <a:pt x="23" y="69"/>
                    </a:moveTo>
                    <a:lnTo>
                      <a:pt x="24" y="81"/>
                    </a:lnTo>
                    <a:lnTo>
                      <a:pt x="26" y="92"/>
                    </a:lnTo>
                    <a:lnTo>
                      <a:pt x="29" y="100"/>
                    </a:lnTo>
                    <a:lnTo>
                      <a:pt x="34" y="107"/>
                    </a:lnTo>
                    <a:lnTo>
                      <a:pt x="40" y="113"/>
                    </a:lnTo>
                    <a:lnTo>
                      <a:pt x="47" y="117"/>
                    </a:lnTo>
                    <a:lnTo>
                      <a:pt x="54" y="119"/>
                    </a:lnTo>
                    <a:lnTo>
                      <a:pt x="63" y="120"/>
                    </a:lnTo>
                    <a:lnTo>
                      <a:pt x="70" y="119"/>
                    </a:lnTo>
                    <a:lnTo>
                      <a:pt x="79" y="117"/>
                    </a:lnTo>
                    <a:lnTo>
                      <a:pt x="85" y="113"/>
                    </a:lnTo>
                    <a:lnTo>
                      <a:pt x="91" y="107"/>
                    </a:lnTo>
                    <a:lnTo>
                      <a:pt x="95" y="100"/>
                    </a:lnTo>
                    <a:lnTo>
                      <a:pt x="99" y="92"/>
                    </a:lnTo>
                    <a:lnTo>
                      <a:pt x="101" y="81"/>
                    </a:lnTo>
                    <a:lnTo>
                      <a:pt x="101" y="69"/>
                    </a:lnTo>
                    <a:lnTo>
                      <a:pt x="101" y="57"/>
                    </a:lnTo>
                    <a:lnTo>
                      <a:pt x="99" y="47"/>
                    </a:lnTo>
                    <a:lnTo>
                      <a:pt x="95" y="39"/>
                    </a:lnTo>
                    <a:lnTo>
                      <a:pt x="91" y="31"/>
                    </a:lnTo>
                    <a:lnTo>
                      <a:pt x="85" y="25"/>
                    </a:lnTo>
                    <a:lnTo>
                      <a:pt x="77" y="22"/>
                    </a:lnTo>
                    <a:lnTo>
                      <a:pt x="70" y="19"/>
                    </a:lnTo>
                    <a:lnTo>
                      <a:pt x="63" y="18"/>
                    </a:lnTo>
                    <a:lnTo>
                      <a:pt x="54" y="19"/>
                    </a:lnTo>
                    <a:lnTo>
                      <a:pt x="47" y="22"/>
                    </a:lnTo>
                    <a:lnTo>
                      <a:pt x="40" y="25"/>
                    </a:lnTo>
                    <a:lnTo>
                      <a:pt x="34" y="31"/>
                    </a:lnTo>
                    <a:lnTo>
                      <a:pt x="29" y="39"/>
                    </a:lnTo>
                    <a:lnTo>
                      <a:pt x="26" y="47"/>
                    </a:lnTo>
                    <a:lnTo>
                      <a:pt x="24" y="58"/>
                    </a:lnTo>
                    <a:lnTo>
                      <a:pt x="23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126"/>
              <p:cNvSpPr>
                <a:spLocks/>
              </p:cNvSpPr>
              <p:nvPr/>
            </p:nvSpPr>
            <p:spPr bwMode="auto">
              <a:xfrm>
                <a:off x="7537451" y="1760538"/>
                <a:ext cx="28575" cy="53975"/>
              </a:xfrm>
              <a:custGeom>
                <a:avLst/>
                <a:gdLst>
                  <a:gd name="T0" fmla="*/ 0 w 72"/>
                  <a:gd name="T1" fmla="*/ 136 h 136"/>
                  <a:gd name="T2" fmla="*/ 0 w 72"/>
                  <a:gd name="T3" fmla="*/ 3 h 136"/>
                  <a:gd name="T4" fmla="*/ 20 w 72"/>
                  <a:gd name="T5" fmla="*/ 3 h 136"/>
                  <a:gd name="T6" fmla="*/ 20 w 72"/>
                  <a:gd name="T7" fmla="*/ 23 h 136"/>
                  <a:gd name="T8" fmla="*/ 24 w 72"/>
                  <a:gd name="T9" fmla="*/ 17 h 136"/>
                  <a:gd name="T10" fmla="*/ 27 w 72"/>
                  <a:gd name="T11" fmla="*/ 11 h 136"/>
                  <a:gd name="T12" fmla="*/ 31 w 72"/>
                  <a:gd name="T13" fmla="*/ 7 h 136"/>
                  <a:gd name="T14" fmla="*/ 35 w 72"/>
                  <a:gd name="T15" fmla="*/ 5 h 136"/>
                  <a:gd name="T16" fmla="*/ 42 w 72"/>
                  <a:gd name="T17" fmla="*/ 1 h 136"/>
                  <a:gd name="T18" fmla="*/ 49 w 72"/>
                  <a:gd name="T19" fmla="*/ 0 h 136"/>
                  <a:gd name="T20" fmla="*/ 55 w 72"/>
                  <a:gd name="T21" fmla="*/ 0 h 136"/>
                  <a:gd name="T22" fmla="*/ 60 w 72"/>
                  <a:gd name="T23" fmla="*/ 1 h 136"/>
                  <a:gd name="T24" fmla="*/ 66 w 72"/>
                  <a:gd name="T25" fmla="*/ 4 h 136"/>
                  <a:gd name="T26" fmla="*/ 72 w 72"/>
                  <a:gd name="T27" fmla="*/ 7 h 136"/>
                  <a:gd name="T28" fmla="*/ 64 w 72"/>
                  <a:gd name="T29" fmla="*/ 28 h 136"/>
                  <a:gd name="T30" fmla="*/ 56 w 72"/>
                  <a:gd name="T31" fmla="*/ 24 h 136"/>
                  <a:gd name="T32" fmla="*/ 48 w 72"/>
                  <a:gd name="T33" fmla="*/ 23 h 136"/>
                  <a:gd name="T34" fmla="*/ 41 w 72"/>
                  <a:gd name="T35" fmla="*/ 24 h 136"/>
                  <a:gd name="T36" fmla="*/ 35 w 72"/>
                  <a:gd name="T37" fmla="*/ 28 h 136"/>
                  <a:gd name="T38" fmla="*/ 30 w 72"/>
                  <a:gd name="T39" fmla="*/ 33 h 136"/>
                  <a:gd name="T40" fmla="*/ 26 w 72"/>
                  <a:gd name="T41" fmla="*/ 40 h 136"/>
                  <a:gd name="T42" fmla="*/ 24 w 72"/>
                  <a:gd name="T43" fmla="*/ 53 h 136"/>
                  <a:gd name="T44" fmla="*/ 23 w 72"/>
                  <a:gd name="T45" fmla="*/ 66 h 136"/>
                  <a:gd name="T46" fmla="*/ 23 w 72"/>
                  <a:gd name="T47" fmla="*/ 136 h 136"/>
                  <a:gd name="T48" fmla="*/ 0 w 72"/>
                  <a:gd name="T4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2" h="136">
                    <a:moveTo>
                      <a:pt x="0" y="136"/>
                    </a:moveTo>
                    <a:lnTo>
                      <a:pt x="0" y="3"/>
                    </a:lnTo>
                    <a:lnTo>
                      <a:pt x="20" y="3"/>
                    </a:lnTo>
                    <a:lnTo>
                      <a:pt x="20" y="23"/>
                    </a:lnTo>
                    <a:lnTo>
                      <a:pt x="24" y="17"/>
                    </a:lnTo>
                    <a:lnTo>
                      <a:pt x="27" y="11"/>
                    </a:lnTo>
                    <a:lnTo>
                      <a:pt x="31" y="7"/>
                    </a:lnTo>
                    <a:lnTo>
                      <a:pt x="35" y="5"/>
                    </a:lnTo>
                    <a:lnTo>
                      <a:pt x="42" y="1"/>
                    </a:lnTo>
                    <a:lnTo>
                      <a:pt x="49" y="0"/>
                    </a:lnTo>
                    <a:lnTo>
                      <a:pt x="55" y="0"/>
                    </a:lnTo>
                    <a:lnTo>
                      <a:pt x="60" y="1"/>
                    </a:lnTo>
                    <a:lnTo>
                      <a:pt x="66" y="4"/>
                    </a:lnTo>
                    <a:lnTo>
                      <a:pt x="72" y="7"/>
                    </a:lnTo>
                    <a:lnTo>
                      <a:pt x="64" y="28"/>
                    </a:lnTo>
                    <a:lnTo>
                      <a:pt x="56" y="24"/>
                    </a:lnTo>
                    <a:lnTo>
                      <a:pt x="48" y="23"/>
                    </a:lnTo>
                    <a:lnTo>
                      <a:pt x="41" y="24"/>
                    </a:lnTo>
                    <a:lnTo>
                      <a:pt x="35" y="28"/>
                    </a:lnTo>
                    <a:lnTo>
                      <a:pt x="30" y="33"/>
                    </a:lnTo>
                    <a:lnTo>
                      <a:pt x="26" y="40"/>
                    </a:lnTo>
                    <a:lnTo>
                      <a:pt x="24" y="53"/>
                    </a:lnTo>
                    <a:lnTo>
                      <a:pt x="23" y="66"/>
                    </a:lnTo>
                    <a:lnTo>
                      <a:pt x="23" y="136"/>
                    </a:lnTo>
                    <a:lnTo>
                      <a:pt x="0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127"/>
              <p:cNvSpPr>
                <a:spLocks/>
              </p:cNvSpPr>
              <p:nvPr/>
            </p:nvSpPr>
            <p:spPr bwMode="auto">
              <a:xfrm>
                <a:off x="6819901" y="1733550"/>
                <a:ext cx="85725" cy="85725"/>
              </a:xfrm>
              <a:custGeom>
                <a:avLst/>
                <a:gdLst>
                  <a:gd name="T0" fmla="*/ 119 w 215"/>
                  <a:gd name="T1" fmla="*/ 0 h 215"/>
                  <a:gd name="T2" fmla="*/ 140 w 215"/>
                  <a:gd name="T3" fmla="*/ 5 h 215"/>
                  <a:gd name="T4" fmla="*/ 159 w 215"/>
                  <a:gd name="T5" fmla="*/ 13 h 215"/>
                  <a:gd name="T6" fmla="*/ 176 w 215"/>
                  <a:gd name="T7" fmla="*/ 24 h 215"/>
                  <a:gd name="T8" fmla="*/ 190 w 215"/>
                  <a:gd name="T9" fmla="*/ 38 h 215"/>
                  <a:gd name="T10" fmla="*/ 202 w 215"/>
                  <a:gd name="T11" fmla="*/ 56 h 215"/>
                  <a:gd name="T12" fmla="*/ 211 w 215"/>
                  <a:gd name="T13" fmla="*/ 76 h 215"/>
                  <a:gd name="T14" fmla="*/ 214 w 215"/>
                  <a:gd name="T15" fmla="*/ 96 h 215"/>
                  <a:gd name="T16" fmla="*/ 214 w 215"/>
                  <a:gd name="T17" fmla="*/ 118 h 215"/>
                  <a:gd name="T18" fmla="*/ 211 w 215"/>
                  <a:gd name="T19" fmla="*/ 139 h 215"/>
                  <a:gd name="T20" fmla="*/ 202 w 215"/>
                  <a:gd name="T21" fmla="*/ 159 h 215"/>
                  <a:gd name="T22" fmla="*/ 190 w 215"/>
                  <a:gd name="T23" fmla="*/ 175 h 215"/>
                  <a:gd name="T24" fmla="*/ 176 w 215"/>
                  <a:gd name="T25" fmla="*/ 190 h 215"/>
                  <a:gd name="T26" fmla="*/ 159 w 215"/>
                  <a:gd name="T27" fmla="*/ 202 h 215"/>
                  <a:gd name="T28" fmla="*/ 140 w 215"/>
                  <a:gd name="T29" fmla="*/ 210 h 215"/>
                  <a:gd name="T30" fmla="*/ 119 w 215"/>
                  <a:gd name="T31" fmla="*/ 214 h 215"/>
                  <a:gd name="T32" fmla="*/ 96 w 215"/>
                  <a:gd name="T33" fmla="*/ 214 h 215"/>
                  <a:gd name="T34" fmla="*/ 76 w 215"/>
                  <a:gd name="T35" fmla="*/ 210 h 215"/>
                  <a:gd name="T36" fmla="*/ 56 w 215"/>
                  <a:gd name="T37" fmla="*/ 202 h 215"/>
                  <a:gd name="T38" fmla="*/ 38 w 215"/>
                  <a:gd name="T39" fmla="*/ 190 h 215"/>
                  <a:gd name="T40" fmla="*/ 24 w 215"/>
                  <a:gd name="T41" fmla="*/ 175 h 215"/>
                  <a:gd name="T42" fmla="*/ 13 w 215"/>
                  <a:gd name="T43" fmla="*/ 159 h 215"/>
                  <a:gd name="T44" fmla="*/ 5 w 215"/>
                  <a:gd name="T45" fmla="*/ 139 h 215"/>
                  <a:gd name="T46" fmla="*/ 0 w 215"/>
                  <a:gd name="T47" fmla="*/ 118 h 215"/>
                  <a:gd name="T48" fmla="*/ 0 w 215"/>
                  <a:gd name="T49" fmla="*/ 96 h 215"/>
                  <a:gd name="T50" fmla="*/ 5 w 215"/>
                  <a:gd name="T51" fmla="*/ 76 h 215"/>
                  <a:gd name="T52" fmla="*/ 13 w 215"/>
                  <a:gd name="T53" fmla="*/ 56 h 215"/>
                  <a:gd name="T54" fmla="*/ 24 w 215"/>
                  <a:gd name="T55" fmla="*/ 38 h 215"/>
                  <a:gd name="T56" fmla="*/ 38 w 215"/>
                  <a:gd name="T57" fmla="*/ 24 h 215"/>
                  <a:gd name="T58" fmla="*/ 56 w 215"/>
                  <a:gd name="T59" fmla="*/ 13 h 215"/>
                  <a:gd name="T60" fmla="*/ 76 w 215"/>
                  <a:gd name="T61" fmla="*/ 5 h 215"/>
                  <a:gd name="T62" fmla="*/ 96 w 215"/>
                  <a:gd name="T63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5" h="215">
                    <a:moveTo>
                      <a:pt x="107" y="0"/>
                    </a:moveTo>
                    <a:lnTo>
                      <a:pt x="119" y="0"/>
                    </a:lnTo>
                    <a:lnTo>
                      <a:pt x="129" y="2"/>
                    </a:lnTo>
                    <a:lnTo>
                      <a:pt x="140" y="5"/>
                    </a:lnTo>
                    <a:lnTo>
                      <a:pt x="149" y="8"/>
                    </a:lnTo>
                    <a:lnTo>
                      <a:pt x="159" y="13"/>
                    </a:lnTo>
                    <a:lnTo>
                      <a:pt x="167" y="18"/>
                    </a:lnTo>
                    <a:lnTo>
                      <a:pt x="176" y="24"/>
                    </a:lnTo>
                    <a:lnTo>
                      <a:pt x="184" y="31"/>
                    </a:lnTo>
                    <a:lnTo>
                      <a:pt x="190" y="38"/>
                    </a:lnTo>
                    <a:lnTo>
                      <a:pt x="197" y="47"/>
                    </a:lnTo>
                    <a:lnTo>
                      <a:pt x="202" y="56"/>
                    </a:lnTo>
                    <a:lnTo>
                      <a:pt x="207" y="65"/>
                    </a:lnTo>
                    <a:lnTo>
                      <a:pt x="211" y="76"/>
                    </a:lnTo>
                    <a:lnTo>
                      <a:pt x="213" y="85"/>
                    </a:lnTo>
                    <a:lnTo>
                      <a:pt x="214" y="96"/>
                    </a:lnTo>
                    <a:lnTo>
                      <a:pt x="215" y="107"/>
                    </a:lnTo>
                    <a:lnTo>
                      <a:pt x="214" y="118"/>
                    </a:lnTo>
                    <a:lnTo>
                      <a:pt x="213" y="129"/>
                    </a:lnTo>
                    <a:lnTo>
                      <a:pt x="211" y="139"/>
                    </a:lnTo>
                    <a:lnTo>
                      <a:pt x="207" y="149"/>
                    </a:lnTo>
                    <a:lnTo>
                      <a:pt x="202" y="159"/>
                    </a:lnTo>
                    <a:lnTo>
                      <a:pt x="197" y="167"/>
                    </a:lnTo>
                    <a:lnTo>
                      <a:pt x="190" y="175"/>
                    </a:lnTo>
                    <a:lnTo>
                      <a:pt x="184" y="184"/>
                    </a:lnTo>
                    <a:lnTo>
                      <a:pt x="176" y="190"/>
                    </a:lnTo>
                    <a:lnTo>
                      <a:pt x="167" y="197"/>
                    </a:lnTo>
                    <a:lnTo>
                      <a:pt x="159" y="202"/>
                    </a:lnTo>
                    <a:lnTo>
                      <a:pt x="149" y="207"/>
                    </a:lnTo>
                    <a:lnTo>
                      <a:pt x="140" y="210"/>
                    </a:lnTo>
                    <a:lnTo>
                      <a:pt x="129" y="213"/>
                    </a:lnTo>
                    <a:lnTo>
                      <a:pt x="119" y="214"/>
                    </a:lnTo>
                    <a:lnTo>
                      <a:pt x="107" y="215"/>
                    </a:lnTo>
                    <a:lnTo>
                      <a:pt x="96" y="214"/>
                    </a:lnTo>
                    <a:lnTo>
                      <a:pt x="85" y="213"/>
                    </a:lnTo>
                    <a:lnTo>
                      <a:pt x="76" y="210"/>
                    </a:lnTo>
                    <a:lnTo>
                      <a:pt x="66" y="207"/>
                    </a:lnTo>
                    <a:lnTo>
                      <a:pt x="56" y="202"/>
                    </a:lnTo>
                    <a:lnTo>
                      <a:pt x="47" y="197"/>
                    </a:lnTo>
                    <a:lnTo>
                      <a:pt x="38" y="190"/>
                    </a:lnTo>
                    <a:lnTo>
                      <a:pt x="31" y="184"/>
                    </a:lnTo>
                    <a:lnTo>
                      <a:pt x="24" y="175"/>
                    </a:lnTo>
                    <a:lnTo>
                      <a:pt x="18" y="167"/>
                    </a:lnTo>
                    <a:lnTo>
                      <a:pt x="13" y="159"/>
                    </a:lnTo>
                    <a:lnTo>
                      <a:pt x="8" y="149"/>
                    </a:lnTo>
                    <a:lnTo>
                      <a:pt x="5" y="139"/>
                    </a:lnTo>
                    <a:lnTo>
                      <a:pt x="2" y="129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0" y="96"/>
                    </a:lnTo>
                    <a:lnTo>
                      <a:pt x="2" y="85"/>
                    </a:lnTo>
                    <a:lnTo>
                      <a:pt x="5" y="76"/>
                    </a:lnTo>
                    <a:lnTo>
                      <a:pt x="8" y="65"/>
                    </a:lnTo>
                    <a:lnTo>
                      <a:pt x="13" y="56"/>
                    </a:lnTo>
                    <a:lnTo>
                      <a:pt x="18" y="47"/>
                    </a:lnTo>
                    <a:lnTo>
                      <a:pt x="24" y="38"/>
                    </a:lnTo>
                    <a:lnTo>
                      <a:pt x="31" y="31"/>
                    </a:lnTo>
                    <a:lnTo>
                      <a:pt x="38" y="24"/>
                    </a:lnTo>
                    <a:lnTo>
                      <a:pt x="47" y="18"/>
                    </a:lnTo>
                    <a:lnTo>
                      <a:pt x="56" y="13"/>
                    </a:lnTo>
                    <a:lnTo>
                      <a:pt x="66" y="8"/>
                    </a:lnTo>
                    <a:lnTo>
                      <a:pt x="76" y="5"/>
                    </a:lnTo>
                    <a:lnTo>
                      <a:pt x="85" y="2"/>
                    </a:lnTo>
                    <a:lnTo>
                      <a:pt x="96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128"/>
              <p:cNvSpPr>
                <a:spLocks/>
              </p:cNvSpPr>
              <p:nvPr/>
            </p:nvSpPr>
            <p:spPr bwMode="auto">
              <a:xfrm>
                <a:off x="6819901" y="1733550"/>
                <a:ext cx="85725" cy="85725"/>
              </a:xfrm>
              <a:custGeom>
                <a:avLst/>
                <a:gdLst>
                  <a:gd name="T0" fmla="*/ 119 w 215"/>
                  <a:gd name="T1" fmla="*/ 0 h 215"/>
                  <a:gd name="T2" fmla="*/ 140 w 215"/>
                  <a:gd name="T3" fmla="*/ 5 h 215"/>
                  <a:gd name="T4" fmla="*/ 159 w 215"/>
                  <a:gd name="T5" fmla="*/ 13 h 215"/>
                  <a:gd name="T6" fmla="*/ 176 w 215"/>
                  <a:gd name="T7" fmla="*/ 24 h 215"/>
                  <a:gd name="T8" fmla="*/ 190 w 215"/>
                  <a:gd name="T9" fmla="*/ 38 h 215"/>
                  <a:gd name="T10" fmla="*/ 202 w 215"/>
                  <a:gd name="T11" fmla="*/ 56 h 215"/>
                  <a:gd name="T12" fmla="*/ 211 w 215"/>
                  <a:gd name="T13" fmla="*/ 76 h 215"/>
                  <a:gd name="T14" fmla="*/ 214 w 215"/>
                  <a:gd name="T15" fmla="*/ 96 h 215"/>
                  <a:gd name="T16" fmla="*/ 214 w 215"/>
                  <a:gd name="T17" fmla="*/ 118 h 215"/>
                  <a:gd name="T18" fmla="*/ 211 w 215"/>
                  <a:gd name="T19" fmla="*/ 139 h 215"/>
                  <a:gd name="T20" fmla="*/ 202 w 215"/>
                  <a:gd name="T21" fmla="*/ 159 h 215"/>
                  <a:gd name="T22" fmla="*/ 190 w 215"/>
                  <a:gd name="T23" fmla="*/ 175 h 215"/>
                  <a:gd name="T24" fmla="*/ 176 w 215"/>
                  <a:gd name="T25" fmla="*/ 190 h 215"/>
                  <a:gd name="T26" fmla="*/ 159 w 215"/>
                  <a:gd name="T27" fmla="*/ 202 h 215"/>
                  <a:gd name="T28" fmla="*/ 140 w 215"/>
                  <a:gd name="T29" fmla="*/ 210 h 215"/>
                  <a:gd name="T30" fmla="*/ 119 w 215"/>
                  <a:gd name="T31" fmla="*/ 214 h 215"/>
                  <a:gd name="T32" fmla="*/ 96 w 215"/>
                  <a:gd name="T33" fmla="*/ 214 h 215"/>
                  <a:gd name="T34" fmla="*/ 76 w 215"/>
                  <a:gd name="T35" fmla="*/ 210 h 215"/>
                  <a:gd name="T36" fmla="*/ 56 w 215"/>
                  <a:gd name="T37" fmla="*/ 202 h 215"/>
                  <a:gd name="T38" fmla="*/ 38 w 215"/>
                  <a:gd name="T39" fmla="*/ 190 h 215"/>
                  <a:gd name="T40" fmla="*/ 24 w 215"/>
                  <a:gd name="T41" fmla="*/ 175 h 215"/>
                  <a:gd name="T42" fmla="*/ 13 w 215"/>
                  <a:gd name="T43" fmla="*/ 159 h 215"/>
                  <a:gd name="T44" fmla="*/ 5 w 215"/>
                  <a:gd name="T45" fmla="*/ 139 h 215"/>
                  <a:gd name="T46" fmla="*/ 0 w 215"/>
                  <a:gd name="T47" fmla="*/ 118 h 215"/>
                  <a:gd name="T48" fmla="*/ 0 w 215"/>
                  <a:gd name="T49" fmla="*/ 96 h 215"/>
                  <a:gd name="T50" fmla="*/ 5 w 215"/>
                  <a:gd name="T51" fmla="*/ 76 h 215"/>
                  <a:gd name="T52" fmla="*/ 13 w 215"/>
                  <a:gd name="T53" fmla="*/ 56 h 215"/>
                  <a:gd name="T54" fmla="*/ 24 w 215"/>
                  <a:gd name="T55" fmla="*/ 38 h 215"/>
                  <a:gd name="T56" fmla="*/ 38 w 215"/>
                  <a:gd name="T57" fmla="*/ 24 h 215"/>
                  <a:gd name="T58" fmla="*/ 56 w 215"/>
                  <a:gd name="T59" fmla="*/ 13 h 215"/>
                  <a:gd name="T60" fmla="*/ 76 w 215"/>
                  <a:gd name="T61" fmla="*/ 5 h 215"/>
                  <a:gd name="T62" fmla="*/ 96 w 215"/>
                  <a:gd name="T63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5" h="215">
                    <a:moveTo>
                      <a:pt x="107" y="0"/>
                    </a:moveTo>
                    <a:lnTo>
                      <a:pt x="119" y="0"/>
                    </a:lnTo>
                    <a:lnTo>
                      <a:pt x="129" y="2"/>
                    </a:lnTo>
                    <a:lnTo>
                      <a:pt x="140" y="5"/>
                    </a:lnTo>
                    <a:lnTo>
                      <a:pt x="149" y="8"/>
                    </a:lnTo>
                    <a:lnTo>
                      <a:pt x="159" y="13"/>
                    </a:lnTo>
                    <a:lnTo>
                      <a:pt x="167" y="18"/>
                    </a:lnTo>
                    <a:lnTo>
                      <a:pt x="176" y="24"/>
                    </a:lnTo>
                    <a:lnTo>
                      <a:pt x="184" y="31"/>
                    </a:lnTo>
                    <a:lnTo>
                      <a:pt x="190" y="38"/>
                    </a:lnTo>
                    <a:lnTo>
                      <a:pt x="197" y="47"/>
                    </a:lnTo>
                    <a:lnTo>
                      <a:pt x="202" y="56"/>
                    </a:lnTo>
                    <a:lnTo>
                      <a:pt x="207" y="65"/>
                    </a:lnTo>
                    <a:lnTo>
                      <a:pt x="211" y="76"/>
                    </a:lnTo>
                    <a:lnTo>
                      <a:pt x="213" y="85"/>
                    </a:lnTo>
                    <a:lnTo>
                      <a:pt x="214" y="96"/>
                    </a:lnTo>
                    <a:lnTo>
                      <a:pt x="215" y="107"/>
                    </a:lnTo>
                    <a:lnTo>
                      <a:pt x="214" y="118"/>
                    </a:lnTo>
                    <a:lnTo>
                      <a:pt x="213" y="129"/>
                    </a:lnTo>
                    <a:lnTo>
                      <a:pt x="211" y="139"/>
                    </a:lnTo>
                    <a:lnTo>
                      <a:pt x="207" y="149"/>
                    </a:lnTo>
                    <a:lnTo>
                      <a:pt x="202" y="159"/>
                    </a:lnTo>
                    <a:lnTo>
                      <a:pt x="197" y="167"/>
                    </a:lnTo>
                    <a:lnTo>
                      <a:pt x="190" y="175"/>
                    </a:lnTo>
                    <a:lnTo>
                      <a:pt x="184" y="184"/>
                    </a:lnTo>
                    <a:lnTo>
                      <a:pt x="176" y="190"/>
                    </a:lnTo>
                    <a:lnTo>
                      <a:pt x="167" y="197"/>
                    </a:lnTo>
                    <a:lnTo>
                      <a:pt x="159" y="202"/>
                    </a:lnTo>
                    <a:lnTo>
                      <a:pt x="149" y="207"/>
                    </a:lnTo>
                    <a:lnTo>
                      <a:pt x="140" y="210"/>
                    </a:lnTo>
                    <a:lnTo>
                      <a:pt x="129" y="213"/>
                    </a:lnTo>
                    <a:lnTo>
                      <a:pt x="119" y="214"/>
                    </a:lnTo>
                    <a:lnTo>
                      <a:pt x="107" y="215"/>
                    </a:lnTo>
                    <a:lnTo>
                      <a:pt x="96" y="214"/>
                    </a:lnTo>
                    <a:lnTo>
                      <a:pt x="85" y="213"/>
                    </a:lnTo>
                    <a:lnTo>
                      <a:pt x="76" y="210"/>
                    </a:lnTo>
                    <a:lnTo>
                      <a:pt x="66" y="207"/>
                    </a:lnTo>
                    <a:lnTo>
                      <a:pt x="56" y="202"/>
                    </a:lnTo>
                    <a:lnTo>
                      <a:pt x="47" y="197"/>
                    </a:lnTo>
                    <a:lnTo>
                      <a:pt x="38" y="190"/>
                    </a:lnTo>
                    <a:lnTo>
                      <a:pt x="31" y="184"/>
                    </a:lnTo>
                    <a:lnTo>
                      <a:pt x="24" y="175"/>
                    </a:lnTo>
                    <a:lnTo>
                      <a:pt x="18" y="167"/>
                    </a:lnTo>
                    <a:lnTo>
                      <a:pt x="13" y="159"/>
                    </a:lnTo>
                    <a:lnTo>
                      <a:pt x="8" y="149"/>
                    </a:lnTo>
                    <a:lnTo>
                      <a:pt x="5" y="139"/>
                    </a:lnTo>
                    <a:lnTo>
                      <a:pt x="2" y="129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0" y="96"/>
                    </a:lnTo>
                    <a:lnTo>
                      <a:pt x="2" y="85"/>
                    </a:lnTo>
                    <a:lnTo>
                      <a:pt x="5" y="76"/>
                    </a:lnTo>
                    <a:lnTo>
                      <a:pt x="8" y="65"/>
                    </a:lnTo>
                    <a:lnTo>
                      <a:pt x="13" y="56"/>
                    </a:lnTo>
                    <a:lnTo>
                      <a:pt x="18" y="47"/>
                    </a:lnTo>
                    <a:lnTo>
                      <a:pt x="24" y="38"/>
                    </a:lnTo>
                    <a:lnTo>
                      <a:pt x="31" y="31"/>
                    </a:lnTo>
                    <a:lnTo>
                      <a:pt x="38" y="24"/>
                    </a:lnTo>
                    <a:lnTo>
                      <a:pt x="47" y="18"/>
                    </a:lnTo>
                    <a:lnTo>
                      <a:pt x="56" y="13"/>
                    </a:lnTo>
                    <a:lnTo>
                      <a:pt x="66" y="8"/>
                    </a:lnTo>
                    <a:lnTo>
                      <a:pt x="76" y="5"/>
                    </a:lnTo>
                    <a:lnTo>
                      <a:pt x="85" y="2"/>
                    </a:lnTo>
                    <a:lnTo>
                      <a:pt x="96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Rectangle 129"/>
              <p:cNvSpPr>
                <a:spLocks noChangeArrowheads="1"/>
              </p:cNvSpPr>
              <p:nvPr/>
            </p:nvSpPr>
            <p:spPr bwMode="auto">
              <a:xfrm>
                <a:off x="7027863" y="1736725"/>
                <a:ext cx="80963" cy="82550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Rectangle 130"/>
              <p:cNvSpPr>
                <a:spLocks noChangeArrowheads="1"/>
              </p:cNvSpPr>
              <p:nvPr/>
            </p:nvSpPr>
            <p:spPr bwMode="auto">
              <a:xfrm>
                <a:off x="7027863" y="1736725"/>
                <a:ext cx="80963" cy="82550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Line 131"/>
              <p:cNvSpPr>
                <a:spLocks noChangeShapeType="1"/>
              </p:cNvSpPr>
              <p:nvPr/>
            </p:nvSpPr>
            <p:spPr bwMode="auto">
              <a:xfrm>
                <a:off x="6924676" y="1776413"/>
                <a:ext cx="79375" cy="0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Line 132"/>
              <p:cNvSpPr>
                <a:spLocks noChangeShapeType="1"/>
              </p:cNvSpPr>
              <p:nvPr/>
            </p:nvSpPr>
            <p:spPr bwMode="auto">
              <a:xfrm flipH="1">
                <a:off x="6980238" y="1776413"/>
                <a:ext cx="23813" cy="22225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Line 133"/>
              <p:cNvSpPr>
                <a:spLocks noChangeShapeType="1"/>
              </p:cNvSpPr>
              <p:nvPr/>
            </p:nvSpPr>
            <p:spPr bwMode="auto">
              <a:xfrm flipH="1" flipV="1">
                <a:off x="6980238" y="1754188"/>
                <a:ext cx="23813" cy="20638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78" name="Group 777">
            <a:extLst>
              <a:ext uri="{FF2B5EF4-FFF2-40B4-BE49-F238E27FC236}">
                <a16:creationId xmlns:a16="http://schemas.microsoft.com/office/drawing/2014/main" id="{58953CD1-1FED-4259-93AB-D9DDBA85009F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700040" y="4903282"/>
            <a:chExt cx="6422126" cy="307777"/>
          </a:xfrm>
        </p:grpSpPr>
        <p:sp>
          <p:nvSpPr>
            <p:cNvPr id="779" name="TextBox 778">
              <a:extLst>
                <a:ext uri="{FF2B5EF4-FFF2-40B4-BE49-F238E27FC236}">
                  <a16:creationId xmlns:a16="http://schemas.microsoft.com/office/drawing/2014/main" id="{E90CF4BB-46B1-4F15-850D-12CF04290A01}"/>
                </a:ext>
              </a:extLst>
            </p:cNvPr>
            <p:cNvSpPr txBox="1"/>
            <p:nvPr/>
          </p:nvSpPr>
          <p:spPr>
            <a:xfrm>
              <a:off x="904246" y="4903282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Packaging M&amp;A Count Across the U.S. (2000 – Mar 2024)</a:t>
              </a:r>
            </a:p>
          </p:txBody>
        </p:sp>
        <p:sp>
          <p:nvSpPr>
            <p:cNvPr id="780" name="Rectangle 13">
              <a:extLst>
                <a:ext uri="{FF2B5EF4-FFF2-40B4-BE49-F238E27FC236}">
                  <a16:creationId xmlns:a16="http://schemas.microsoft.com/office/drawing/2014/main" id="{5447B71B-6588-4332-95D5-572AC49282F1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81" name="Straight Connector 780">
              <a:extLst>
                <a:ext uri="{FF2B5EF4-FFF2-40B4-BE49-F238E27FC236}">
                  <a16:creationId xmlns:a16="http://schemas.microsoft.com/office/drawing/2014/main" id="{2F56C793-98BB-491E-BD1C-D78FBFC14483}"/>
                </a:ext>
              </a:extLst>
            </p:cNvPr>
            <p:cNvCxnSpPr>
              <a:cxnSpLocks/>
            </p:cNvCxnSpPr>
            <p:nvPr/>
          </p:nvCxnSpPr>
          <p:spPr>
            <a:xfrm>
              <a:off x="5512856" y="5058131"/>
              <a:ext cx="1566580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BD59F816-09F3-4D14-8F8F-BC2486A22B76}"/>
              </a:ext>
            </a:extLst>
          </p:cNvPr>
          <p:cNvGrpSpPr/>
          <p:nvPr/>
        </p:nvGrpSpPr>
        <p:grpSpPr>
          <a:xfrm>
            <a:off x="692834" y="5571980"/>
            <a:ext cx="6381112" cy="307777"/>
            <a:chOff x="700040" y="4903282"/>
            <a:chExt cx="6381112" cy="307777"/>
          </a:xfrm>
        </p:grpSpPr>
        <p:sp>
          <p:nvSpPr>
            <p:cNvPr id="783" name="TextBox 782">
              <a:extLst>
                <a:ext uri="{FF2B5EF4-FFF2-40B4-BE49-F238E27FC236}">
                  <a16:creationId xmlns:a16="http://schemas.microsoft.com/office/drawing/2014/main" id="{0BC87724-FBC9-4FD3-8262-1304FF0B48DE}"/>
                </a:ext>
              </a:extLst>
            </p:cNvPr>
            <p:cNvSpPr txBox="1"/>
            <p:nvPr/>
          </p:nvSpPr>
          <p:spPr>
            <a:xfrm>
              <a:off x="904246" y="4903282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 dirty="0">
                  <a:solidFill>
                    <a:srgbClr val="145078"/>
                  </a:solidFill>
                </a:rPr>
                <a:t>U.S. Packaging M&amp;A Count </a:t>
              </a:r>
              <a:r>
                <a:rPr lang="en-US" sz="1400" b="1" dirty="0">
                  <a:solidFill>
                    <a:srgbClr val="145078"/>
                  </a:solidFill>
                </a:rPr>
                <a:t>(2000 – Mar 2024)</a:t>
              </a:r>
            </a:p>
          </p:txBody>
        </p:sp>
        <p:sp>
          <p:nvSpPr>
            <p:cNvPr id="784" name="Rectangle 13">
              <a:extLst>
                <a:ext uri="{FF2B5EF4-FFF2-40B4-BE49-F238E27FC236}">
                  <a16:creationId xmlns:a16="http://schemas.microsoft.com/office/drawing/2014/main" id="{335B1FCA-3A5E-405A-AA4F-75085E697733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85" name="Straight Connector 784">
              <a:extLst>
                <a:ext uri="{FF2B5EF4-FFF2-40B4-BE49-F238E27FC236}">
                  <a16:creationId xmlns:a16="http://schemas.microsoft.com/office/drawing/2014/main" id="{0E9C10A3-4289-4987-923C-C420E3ADFE45}"/>
                </a:ext>
              </a:extLst>
            </p:cNvPr>
            <p:cNvCxnSpPr>
              <a:cxnSpLocks/>
            </p:cNvCxnSpPr>
            <p:nvPr/>
          </p:nvCxnSpPr>
          <p:spPr>
            <a:xfrm>
              <a:off x="4633975" y="5058131"/>
              <a:ext cx="2447177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86" name="Chart 785">
            <a:extLst>
              <a:ext uri="{FF2B5EF4-FFF2-40B4-BE49-F238E27FC236}">
                <a16:creationId xmlns:a16="http://schemas.microsoft.com/office/drawing/2014/main" id="{8EF1E416-CD20-4887-9DC1-756AFA35FC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7704170"/>
              </p:ext>
            </p:extLst>
          </p:nvPr>
        </p:nvGraphicFramePr>
        <p:xfrm>
          <a:off x="726948" y="6096000"/>
          <a:ext cx="6318504" cy="276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1306224" y="2693054"/>
            <a:ext cx="5534726" cy="2724744"/>
            <a:chOff x="1305005" y="2691863"/>
            <a:chExt cx="5534726" cy="2724744"/>
          </a:xfrm>
        </p:grpSpPr>
        <p:grpSp>
          <p:nvGrpSpPr>
            <p:cNvPr id="2" name="Group 1"/>
            <p:cNvGrpSpPr/>
            <p:nvPr/>
          </p:nvGrpSpPr>
          <p:grpSpPr>
            <a:xfrm>
              <a:off x="1305005" y="2691863"/>
              <a:ext cx="5534726" cy="2701714"/>
              <a:chOff x="1305005" y="2691863"/>
              <a:chExt cx="5534726" cy="2701714"/>
            </a:xfrm>
          </p:grpSpPr>
          <p:grpSp>
            <p:nvGrpSpPr>
              <p:cNvPr id="787" name="Group 786">
                <a:extLst>
                  <a:ext uri="{FF2B5EF4-FFF2-40B4-BE49-F238E27FC236}">
                    <a16:creationId xmlns:a16="http://schemas.microsoft.com/office/drawing/2014/main" id="{CB844674-47B2-4DDD-903D-990180934AB6}"/>
                  </a:ext>
                </a:extLst>
              </p:cNvPr>
              <p:cNvGrpSpPr/>
              <p:nvPr/>
            </p:nvGrpSpPr>
            <p:grpSpPr>
              <a:xfrm>
                <a:off x="1305005" y="2691863"/>
                <a:ext cx="5534726" cy="2396506"/>
                <a:chOff x="1198973" y="2731244"/>
                <a:chExt cx="5501715" cy="2471825"/>
              </a:xfrm>
            </p:grpSpPr>
            <p:sp>
              <p:nvSpPr>
                <p:cNvPr id="788" name="TextBox 787">
                  <a:extLst>
                    <a:ext uri="{FF2B5EF4-FFF2-40B4-BE49-F238E27FC236}">
                      <a16:creationId xmlns:a16="http://schemas.microsoft.com/office/drawing/2014/main" id="{06F3C4F1-736D-430D-9CBB-296E9FCC4003}"/>
                    </a:ext>
                  </a:extLst>
                </p:cNvPr>
                <p:cNvSpPr txBox="1"/>
                <p:nvPr/>
              </p:nvSpPr>
              <p:spPr>
                <a:xfrm>
                  <a:off x="6153284" y="351451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5</a:t>
                  </a:r>
                </a:p>
              </p:txBody>
            </p:sp>
            <p:sp>
              <p:nvSpPr>
                <p:cNvPr id="789" name="TextBox 788">
                  <a:extLst>
                    <a:ext uri="{FF2B5EF4-FFF2-40B4-BE49-F238E27FC236}">
                      <a16:creationId xmlns:a16="http://schemas.microsoft.com/office/drawing/2014/main" id="{84D6297C-D122-4B25-976B-643277317153}"/>
                    </a:ext>
                  </a:extLst>
                </p:cNvPr>
                <p:cNvSpPr txBox="1"/>
                <p:nvPr/>
              </p:nvSpPr>
              <p:spPr>
                <a:xfrm>
                  <a:off x="1198973" y="2731244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9</a:t>
                  </a:r>
                </a:p>
              </p:txBody>
            </p:sp>
            <p:sp>
              <p:nvSpPr>
                <p:cNvPr id="790" name="TextBox 789">
                  <a:extLst>
                    <a:ext uri="{FF2B5EF4-FFF2-40B4-BE49-F238E27FC236}">
                      <a16:creationId xmlns:a16="http://schemas.microsoft.com/office/drawing/2014/main" id="{2F2403D0-A579-42D6-BA9E-A33D85CC11AA}"/>
                    </a:ext>
                  </a:extLst>
                </p:cNvPr>
                <p:cNvSpPr txBox="1"/>
                <p:nvPr/>
              </p:nvSpPr>
              <p:spPr>
                <a:xfrm>
                  <a:off x="1249828" y="3242369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7</a:t>
                  </a:r>
                </a:p>
              </p:txBody>
            </p:sp>
            <p:sp>
              <p:nvSpPr>
                <p:cNvPr id="791" name="TextBox 790">
                  <a:extLst>
                    <a:ext uri="{FF2B5EF4-FFF2-40B4-BE49-F238E27FC236}">
                      <a16:creationId xmlns:a16="http://schemas.microsoft.com/office/drawing/2014/main" id="{56D61AA9-33FD-4D5A-9599-B0846DE2C1B9}"/>
                    </a:ext>
                  </a:extLst>
                </p:cNvPr>
                <p:cNvSpPr txBox="1"/>
                <p:nvPr/>
              </p:nvSpPr>
              <p:spPr>
                <a:xfrm>
                  <a:off x="1609656" y="3811746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6</a:t>
                  </a:r>
                </a:p>
              </p:txBody>
            </p:sp>
            <p:sp>
              <p:nvSpPr>
                <p:cNvPr id="792" name="TextBox 791">
                  <a:extLst>
                    <a:ext uri="{FF2B5EF4-FFF2-40B4-BE49-F238E27FC236}">
                      <a16:creationId xmlns:a16="http://schemas.microsoft.com/office/drawing/2014/main" id="{912136B0-73CD-4F61-B2C8-CEAC3595B66F}"/>
                    </a:ext>
                  </a:extLst>
                </p:cNvPr>
                <p:cNvSpPr txBox="1"/>
                <p:nvPr/>
              </p:nvSpPr>
              <p:spPr>
                <a:xfrm>
                  <a:off x="1266618" y="4106810"/>
                  <a:ext cx="212422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 dirty="0"/>
                    <a:t>130</a:t>
                  </a:r>
                </a:p>
              </p:txBody>
            </p:sp>
            <p:sp>
              <p:nvSpPr>
                <p:cNvPr id="793" name="TextBox 792">
                  <a:extLst>
                    <a:ext uri="{FF2B5EF4-FFF2-40B4-BE49-F238E27FC236}">
                      <a16:creationId xmlns:a16="http://schemas.microsoft.com/office/drawing/2014/main" id="{9BE3A049-6815-4B5D-BB58-ACDCAE3EEC65}"/>
                    </a:ext>
                  </a:extLst>
                </p:cNvPr>
                <p:cNvSpPr txBox="1"/>
                <p:nvPr/>
              </p:nvSpPr>
              <p:spPr>
                <a:xfrm>
                  <a:off x="2108270" y="437836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7</a:t>
                  </a:r>
                </a:p>
              </p:txBody>
            </p:sp>
            <p:sp>
              <p:nvSpPr>
                <p:cNvPr id="794" name="TextBox 793">
                  <a:extLst>
                    <a:ext uri="{FF2B5EF4-FFF2-40B4-BE49-F238E27FC236}">
                      <a16:creationId xmlns:a16="http://schemas.microsoft.com/office/drawing/2014/main" id="{ED81F062-EF09-4CCD-AFE6-6D3F474FCD87}"/>
                    </a:ext>
                  </a:extLst>
                </p:cNvPr>
                <p:cNvSpPr txBox="1"/>
                <p:nvPr/>
              </p:nvSpPr>
              <p:spPr>
                <a:xfrm>
                  <a:off x="2741193" y="385999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9</a:t>
                  </a:r>
                </a:p>
              </p:txBody>
            </p:sp>
            <p:sp>
              <p:nvSpPr>
                <p:cNvPr id="795" name="TextBox 794">
                  <a:extLst>
                    <a:ext uri="{FF2B5EF4-FFF2-40B4-BE49-F238E27FC236}">
                      <a16:creationId xmlns:a16="http://schemas.microsoft.com/office/drawing/2014/main" id="{497D5EA7-BB05-4016-A8BC-11A8E0CB78A3}"/>
                    </a:ext>
                  </a:extLst>
                </p:cNvPr>
                <p:cNvSpPr txBox="1"/>
                <p:nvPr/>
              </p:nvSpPr>
              <p:spPr>
                <a:xfrm>
                  <a:off x="4924339" y="4000693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2</a:t>
                  </a:r>
                </a:p>
              </p:txBody>
            </p:sp>
            <p:sp>
              <p:nvSpPr>
                <p:cNvPr id="796" name="TextBox 795">
                  <a:extLst>
                    <a:ext uri="{FF2B5EF4-FFF2-40B4-BE49-F238E27FC236}">
                      <a16:creationId xmlns:a16="http://schemas.microsoft.com/office/drawing/2014/main" id="{7ED4110C-D768-407E-8CCF-46DF51FF39DC}"/>
                    </a:ext>
                  </a:extLst>
                </p:cNvPr>
                <p:cNvSpPr txBox="1"/>
                <p:nvPr/>
              </p:nvSpPr>
              <p:spPr>
                <a:xfrm>
                  <a:off x="2649753" y="4430585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6</a:t>
                  </a:r>
                </a:p>
              </p:txBody>
            </p:sp>
            <p:sp>
              <p:nvSpPr>
                <p:cNvPr id="797" name="TextBox 796">
                  <a:extLst>
                    <a:ext uri="{FF2B5EF4-FFF2-40B4-BE49-F238E27FC236}">
                      <a16:creationId xmlns:a16="http://schemas.microsoft.com/office/drawing/2014/main" id="{46C2326F-EDAE-4079-A622-2612CB66CEDC}"/>
                    </a:ext>
                  </a:extLst>
                </p:cNvPr>
                <p:cNvSpPr txBox="1"/>
                <p:nvPr/>
              </p:nvSpPr>
              <p:spPr>
                <a:xfrm>
                  <a:off x="2092310" y="380830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7</a:t>
                  </a:r>
                </a:p>
              </p:txBody>
            </p:sp>
            <p:sp>
              <p:nvSpPr>
                <p:cNvPr id="798" name="TextBox 797">
                  <a:extLst>
                    <a:ext uri="{FF2B5EF4-FFF2-40B4-BE49-F238E27FC236}">
                      <a16:creationId xmlns:a16="http://schemas.microsoft.com/office/drawing/2014/main" id="{233834FD-8DB3-4AAB-8A99-B6456847B475}"/>
                    </a:ext>
                  </a:extLst>
                </p:cNvPr>
                <p:cNvSpPr txBox="1"/>
                <p:nvPr/>
              </p:nvSpPr>
              <p:spPr>
                <a:xfrm>
                  <a:off x="3482508" y="3899204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1</a:t>
                  </a:r>
                </a:p>
              </p:txBody>
            </p:sp>
            <p:sp>
              <p:nvSpPr>
                <p:cNvPr id="799" name="TextBox 798">
                  <a:extLst>
                    <a:ext uri="{FF2B5EF4-FFF2-40B4-BE49-F238E27FC236}">
                      <a16:creationId xmlns:a16="http://schemas.microsoft.com/office/drawing/2014/main" id="{B4F5C669-E2FA-4F51-AF89-E5BEEF51A75A}"/>
                    </a:ext>
                  </a:extLst>
                </p:cNvPr>
                <p:cNvSpPr txBox="1"/>
                <p:nvPr/>
              </p:nvSpPr>
              <p:spPr>
                <a:xfrm>
                  <a:off x="3355508" y="35550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7</a:t>
                  </a:r>
                </a:p>
              </p:txBody>
            </p:sp>
            <p:sp>
              <p:nvSpPr>
                <p:cNvPr id="800" name="TextBox 799">
                  <a:extLst>
                    <a:ext uri="{FF2B5EF4-FFF2-40B4-BE49-F238E27FC236}">
                      <a16:creationId xmlns:a16="http://schemas.microsoft.com/office/drawing/2014/main" id="{649AF440-9FF3-403E-8F7C-C50F2F788F2C}"/>
                    </a:ext>
                  </a:extLst>
                </p:cNvPr>
                <p:cNvSpPr txBox="1"/>
                <p:nvPr/>
              </p:nvSpPr>
              <p:spPr>
                <a:xfrm>
                  <a:off x="3965108" y="34788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7</a:t>
                  </a:r>
                </a:p>
              </p:txBody>
            </p:sp>
            <p:sp>
              <p:nvSpPr>
                <p:cNvPr id="801" name="TextBox 800">
                  <a:extLst>
                    <a:ext uri="{FF2B5EF4-FFF2-40B4-BE49-F238E27FC236}">
                      <a16:creationId xmlns:a16="http://schemas.microsoft.com/office/drawing/2014/main" id="{C975230A-06FE-4506-8398-4A7FF0A351BB}"/>
                    </a:ext>
                  </a:extLst>
                </p:cNvPr>
                <p:cNvSpPr txBox="1"/>
                <p:nvPr/>
              </p:nvSpPr>
              <p:spPr>
                <a:xfrm>
                  <a:off x="3876208" y="2927350"/>
                  <a:ext cx="175092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5</a:t>
                  </a:r>
                </a:p>
              </p:txBody>
            </p:sp>
            <p:sp>
              <p:nvSpPr>
                <p:cNvPr id="802" name="TextBox 801">
                  <a:extLst>
                    <a:ext uri="{FF2B5EF4-FFF2-40B4-BE49-F238E27FC236}">
                      <a16:creationId xmlns:a16="http://schemas.microsoft.com/office/drawing/2014/main" id="{7C5E31D8-35E0-425E-BBB3-F9DC2AED223D}"/>
                    </a:ext>
                  </a:extLst>
                </p:cNvPr>
                <p:cNvSpPr txBox="1"/>
                <p:nvPr/>
              </p:nvSpPr>
              <p:spPr>
                <a:xfrm>
                  <a:off x="4371508" y="3142263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58</a:t>
                  </a:r>
                </a:p>
              </p:txBody>
            </p:sp>
            <p:sp>
              <p:nvSpPr>
                <p:cNvPr id="803" name="TextBox 802">
                  <a:extLst>
                    <a:ext uri="{FF2B5EF4-FFF2-40B4-BE49-F238E27FC236}">
                      <a16:creationId xmlns:a16="http://schemas.microsoft.com/office/drawing/2014/main" id="{A15C4A05-8A59-41E2-9CAB-6AE737F77BE9}"/>
                    </a:ext>
                  </a:extLst>
                </p:cNvPr>
                <p:cNvSpPr txBox="1"/>
                <p:nvPr/>
              </p:nvSpPr>
              <p:spPr>
                <a:xfrm>
                  <a:off x="4884190" y="3338528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41</a:t>
                  </a:r>
                </a:p>
              </p:txBody>
            </p:sp>
            <p:sp>
              <p:nvSpPr>
                <p:cNvPr id="804" name="TextBox 803">
                  <a:extLst>
                    <a:ext uri="{FF2B5EF4-FFF2-40B4-BE49-F238E27FC236}">
                      <a16:creationId xmlns:a16="http://schemas.microsoft.com/office/drawing/2014/main" id="{05E0FE67-EB0E-4C6A-91A2-8DD11486B5D3}"/>
                    </a:ext>
                  </a:extLst>
                </p:cNvPr>
                <p:cNvSpPr txBox="1"/>
                <p:nvPr/>
              </p:nvSpPr>
              <p:spPr>
                <a:xfrm>
                  <a:off x="5092234" y="36820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IN" sz="900" dirty="0"/>
                    <a:t>91</a:t>
                  </a:r>
                  <a:endParaRPr lang="en-US" sz="900" dirty="0"/>
                </a:p>
              </p:txBody>
            </p:sp>
            <p:sp>
              <p:nvSpPr>
                <p:cNvPr id="805" name="TextBox 804">
                  <a:extLst>
                    <a:ext uri="{FF2B5EF4-FFF2-40B4-BE49-F238E27FC236}">
                      <a16:creationId xmlns:a16="http://schemas.microsoft.com/office/drawing/2014/main" id="{88581C7A-837D-475A-9EBB-E7DE184DD5B5}"/>
                    </a:ext>
                  </a:extLst>
                </p:cNvPr>
                <p:cNvSpPr txBox="1"/>
                <p:nvPr/>
              </p:nvSpPr>
              <p:spPr>
                <a:xfrm>
                  <a:off x="4724789" y="3693269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5</a:t>
                  </a:r>
                </a:p>
              </p:txBody>
            </p:sp>
            <p:sp>
              <p:nvSpPr>
                <p:cNvPr id="806" name="TextBox 805">
                  <a:extLst>
                    <a:ext uri="{FF2B5EF4-FFF2-40B4-BE49-F238E27FC236}">
                      <a16:creationId xmlns:a16="http://schemas.microsoft.com/office/drawing/2014/main" id="{2EFDD0E9-17F0-4663-B3A5-1D440864A9BB}"/>
                    </a:ext>
                  </a:extLst>
                </p:cNvPr>
                <p:cNvSpPr txBox="1"/>
                <p:nvPr/>
              </p:nvSpPr>
              <p:spPr>
                <a:xfrm>
                  <a:off x="5565308" y="3602637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 dirty="0"/>
                    <a:t>55</a:t>
                  </a:r>
                </a:p>
              </p:txBody>
            </p:sp>
            <p:sp>
              <p:nvSpPr>
                <p:cNvPr id="807" name="TextBox 806">
                  <a:extLst>
                    <a:ext uri="{FF2B5EF4-FFF2-40B4-BE49-F238E27FC236}">
                      <a16:creationId xmlns:a16="http://schemas.microsoft.com/office/drawing/2014/main" id="{26599621-0161-4DD4-BC88-8D9FC4B949D6}"/>
                    </a:ext>
                  </a:extLst>
                </p:cNvPr>
                <p:cNvSpPr txBox="1"/>
                <p:nvPr/>
              </p:nvSpPr>
              <p:spPr>
                <a:xfrm>
                  <a:off x="5901858" y="33264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56</a:t>
                  </a:r>
                </a:p>
              </p:txBody>
            </p:sp>
            <p:sp>
              <p:nvSpPr>
                <p:cNvPr id="808" name="TextBox 807">
                  <a:extLst>
                    <a:ext uri="{FF2B5EF4-FFF2-40B4-BE49-F238E27FC236}">
                      <a16:creationId xmlns:a16="http://schemas.microsoft.com/office/drawing/2014/main" id="{7D8F5BF2-DA1C-4D7D-9A4D-2DF326AF0700}"/>
                    </a:ext>
                  </a:extLst>
                </p:cNvPr>
                <p:cNvSpPr txBox="1"/>
                <p:nvPr/>
              </p:nvSpPr>
              <p:spPr>
                <a:xfrm>
                  <a:off x="6136336" y="3192443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</a:t>
                  </a:r>
                </a:p>
              </p:txBody>
            </p:sp>
            <p:sp>
              <p:nvSpPr>
                <p:cNvPr id="809" name="TextBox 808">
                  <a:extLst>
                    <a:ext uri="{FF2B5EF4-FFF2-40B4-BE49-F238E27FC236}">
                      <a16:creationId xmlns:a16="http://schemas.microsoft.com/office/drawing/2014/main" id="{79E2EF87-A87F-42D0-BF51-23ECA48AA603}"/>
                    </a:ext>
                  </a:extLst>
                </p:cNvPr>
                <p:cNvSpPr txBox="1"/>
                <p:nvPr/>
              </p:nvSpPr>
              <p:spPr>
                <a:xfrm>
                  <a:off x="6517808" y="30216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</a:t>
                  </a:r>
                </a:p>
              </p:txBody>
            </p:sp>
            <p:sp>
              <p:nvSpPr>
                <p:cNvPr id="810" name="TextBox 809">
                  <a:extLst>
                    <a:ext uri="{FF2B5EF4-FFF2-40B4-BE49-F238E27FC236}">
                      <a16:creationId xmlns:a16="http://schemas.microsoft.com/office/drawing/2014/main" id="{D480CB14-0700-49E0-B733-F499DFD0B016}"/>
                    </a:ext>
                  </a:extLst>
                </p:cNvPr>
                <p:cNvSpPr txBox="1"/>
                <p:nvPr/>
              </p:nvSpPr>
              <p:spPr>
                <a:xfrm>
                  <a:off x="6198131" y="3399436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5</a:t>
                  </a:r>
                </a:p>
              </p:txBody>
            </p:sp>
            <p:sp>
              <p:nvSpPr>
                <p:cNvPr id="811" name="TextBox 810">
                  <a:extLst>
                    <a:ext uri="{FF2B5EF4-FFF2-40B4-BE49-F238E27FC236}">
                      <a16:creationId xmlns:a16="http://schemas.microsoft.com/office/drawing/2014/main" id="{88A99CF0-2A41-43B7-950C-9BFF5C0962D9}"/>
                    </a:ext>
                  </a:extLst>
                </p:cNvPr>
                <p:cNvSpPr txBox="1"/>
                <p:nvPr/>
              </p:nvSpPr>
              <p:spPr>
                <a:xfrm>
                  <a:off x="5562768" y="401983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3</a:t>
                  </a:r>
                </a:p>
              </p:txBody>
            </p:sp>
            <p:sp>
              <p:nvSpPr>
                <p:cNvPr id="812" name="TextBox 811">
                  <a:extLst>
                    <a:ext uri="{FF2B5EF4-FFF2-40B4-BE49-F238E27FC236}">
                      <a16:creationId xmlns:a16="http://schemas.microsoft.com/office/drawing/2014/main" id="{EE551B1A-9BE6-4204-9D9D-D5A27B10CD4F}"/>
                    </a:ext>
                  </a:extLst>
                </p:cNvPr>
                <p:cNvSpPr txBox="1"/>
                <p:nvPr/>
              </p:nvSpPr>
              <p:spPr>
                <a:xfrm>
                  <a:off x="5400301" y="42260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45</a:t>
                  </a:r>
                </a:p>
              </p:txBody>
            </p:sp>
            <p:sp>
              <p:nvSpPr>
                <p:cNvPr id="813" name="TextBox 812">
                  <a:extLst>
                    <a:ext uri="{FF2B5EF4-FFF2-40B4-BE49-F238E27FC236}">
                      <a16:creationId xmlns:a16="http://schemas.microsoft.com/office/drawing/2014/main" id="{2864752D-55F9-4EFD-9D13-BBDFCFDF4470}"/>
                    </a:ext>
                  </a:extLst>
                </p:cNvPr>
                <p:cNvSpPr txBox="1"/>
                <p:nvPr/>
              </p:nvSpPr>
              <p:spPr>
                <a:xfrm>
                  <a:off x="5287319" y="444427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0</a:t>
                  </a:r>
                </a:p>
              </p:txBody>
            </p:sp>
            <p:sp>
              <p:nvSpPr>
                <p:cNvPr id="814" name="TextBox 813">
                  <a:extLst>
                    <a:ext uri="{FF2B5EF4-FFF2-40B4-BE49-F238E27FC236}">
                      <a16:creationId xmlns:a16="http://schemas.microsoft.com/office/drawing/2014/main" id="{7D7C1ADF-F55F-4F9C-AC6A-04E6F757701D}"/>
                    </a:ext>
                  </a:extLst>
                </p:cNvPr>
                <p:cNvSpPr txBox="1"/>
                <p:nvPr/>
              </p:nvSpPr>
              <p:spPr>
                <a:xfrm>
                  <a:off x="5020619" y="458397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64</a:t>
                  </a:r>
                </a:p>
              </p:txBody>
            </p:sp>
            <p:sp>
              <p:nvSpPr>
                <p:cNvPr id="815" name="TextBox 814">
                  <a:extLst>
                    <a:ext uri="{FF2B5EF4-FFF2-40B4-BE49-F238E27FC236}">
                      <a16:creationId xmlns:a16="http://schemas.microsoft.com/office/drawing/2014/main" id="{778DA4B3-757D-4C0D-B1BB-0DFDEA52768A}"/>
                    </a:ext>
                  </a:extLst>
                </p:cNvPr>
                <p:cNvSpPr txBox="1"/>
                <p:nvPr/>
              </p:nvSpPr>
              <p:spPr>
                <a:xfrm>
                  <a:off x="5204769" y="504117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43</a:t>
                  </a:r>
                </a:p>
              </p:txBody>
            </p:sp>
            <p:sp>
              <p:nvSpPr>
                <p:cNvPr id="816" name="TextBox 815">
                  <a:extLst>
                    <a:ext uri="{FF2B5EF4-FFF2-40B4-BE49-F238E27FC236}">
                      <a16:creationId xmlns:a16="http://schemas.microsoft.com/office/drawing/2014/main" id="{0F0EDC11-BF12-43A1-88C2-A02F9A547B6F}"/>
                    </a:ext>
                  </a:extLst>
                </p:cNvPr>
                <p:cNvSpPr txBox="1"/>
                <p:nvPr/>
              </p:nvSpPr>
              <p:spPr>
                <a:xfrm>
                  <a:off x="4657464" y="4561537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8</a:t>
                  </a:r>
                </a:p>
              </p:txBody>
            </p:sp>
            <p:sp>
              <p:nvSpPr>
                <p:cNvPr id="817" name="TextBox 816">
                  <a:extLst>
                    <a:ext uri="{FF2B5EF4-FFF2-40B4-BE49-F238E27FC236}">
                      <a16:creationId xmlns:a16="http://schemas.microsoft.com/office/drawing/2014/main" id="{A3D97593-934D-447E-94FF-EB0FD5568C63}"/>
                    </a:ext>
                  </a:extLst>
                </p:cNvPr>
                <p:cNvSpPr txBox="1"/>
                <p:nvPr/>
              </p:nvSpPr>
              <p:spPr>
                <a:xfrm>
                  <a:off x="4066708" y="43043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6</a:t>
                  </a:r>
                </a:p>
              </p:txBody>
            </p:sp>
            <p:sp>
              <p:nvSpPr>
                <p:cNvPr id="818" name="TextBox 817">
                  <a:extLst>
                    <a:ext uri="{FF2B5EF4-FFF2-40B4-BE49-F238E27FC236}">
                      <a16:creationId xmlns:a16="http://schemas.microsoft.com/office/drawing/2014/main" id="{E5E35DBD-7BE2-4FCF-896C-696C8009B3FA}"/>
                    </a:ext>
                  </a:extLst>
                </p:cNvPr>
                <p:cNvSpPr txBox="1"/>
                <p:nvPr/>
              </p:nvSpPr>
              <p:spPr>
                <a:xfrm>
                  <a:off x="3609508" y="4253513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8</a:t>
                  </a:r>
                </a:p>
              </p:txBody>
            </p:sp>
            <p:sp>
              <p:nvSpPr>
                <p:cNvPr id="819" name="TextBox 818">
                  <a:extLst>
                    <a:ext uri="{FF2B5EF4-FFF2-40B4-BE49-F238E27FC236}">
                      <a16:creationId xmlns:a16="http://schemas.microsoft.com/office/drawing/2014/main" id="{F4F10C57-1667-4A7B-9768-AC1771824C60}"/>
                    </a:ext>
                  </a:extLst>
                </p:cNvPr>
                <p:cNvSpPr txBox="1"/>
                <p:nvPr/>
              </p:nvSpPr>
              <p:spPr>
                <a:xfrm>
                  <a:off x="4028608" y="388521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 dirty="0"/>
                    <a:t>30</a:t>
                  </a:r>
                </a:p>
              </p:txBody>
            </p:sp>
            <p:sp>
              <p:nvSpPr>
                <p:cNvPr id="820" name="TextBox 819">
                  <a:extLst>
                    <a:ext uri="{FF2B5EF4-FFF2-40B4-BE49-F238E27FC236}">
                      <a16:creationId xmlns:a16="http://schemas.microsoft.com/office/drawing/2014/main" id="{F252D7A0-C300-4037-8A9B-208F68D0AB44}"/>
                    </a:ext>
                  </a:extLst>
                </p:cNvPr>
                <p:cNvSpPr txBox="1"/>
                <p:nvPr/>
              </p:nvSpPr>
              <p:spPr>
                <a:xfrm>
                  <a:off x="3411846" y="4784371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57</a:t>
                  </a:r>
                </a:p>
              </p:txBody>
            </p:sp>
            <p:sp>
              <p:nvSpPr>
                <p:cNvPr id="821" name="TextBox 820">
                  <a:extLst>
                    <a:ext uri="{FF2B5EF4-FFF2-40B4-BE49-F238E27FC236}">
                      <a16:creationId xmlns:a16="http://schemas.microsoft.com/office/drawing/2014/main" id="{99D5B1C9-41FC-49C8-B18A-2ED9CF4772DA}"/>
                    </a:ext>
                  </a:extLst>
                </p:cNvPr>
                <p:cNvSpPr txBox="1"/>
                <p:nvPr/>
              </p:nvSpPr>
              <p:spPr>
                <a:xfrm>
                  <a:off x="5975663" y="3663448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51</a:t>
                  </a:r>
                </a:p>
              </p:txBody>
            </p:sp>
            <p:sp>
              <p:nvSpPr>
                <p:cNvPr id="822" name="TextBox 821">
                  <a:extLst>
                    <a:ext uri="{FF2B5EF4-FFF2-40B4-BE49-F238E27FC236}">
                      <a16:creationId xmlns:a16="http://schemas.microsoft.com/office/drawing/2014/main" id="{764CC888-CFB9-49CA-B762-006B5E6E9F27}"/>
                    </a:ext>
                  </a:extLst>
                </p:cNvPr>
                <p:cNvSpPr txBox="1"/>
                <p:nvPr/>
              </p:nvSpPr>
              <p:spPr>
                <a:xfrm>
                  <a:off x="4372974" y="3701898"/>
                  <a:ext cx="2534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41</a:t>
                  </a:r>
                </a:p>
              </p:txBody>
            </p:sp>
            <p:sp>
              <p:nvSpPr>
                <p:cNvPr id="823" name="TextBox 822">
                  <a:extLst>
                    <a:ext uri="{FF2B5EF4-FFF2-40B4-BE49-F238E27FC236}">
                      <a16:creationId xmlns:a16="http://schemas.microsoft.com/office/drawing/2014/main" id="{F44CA56F-37E9-4338-9B96-8223DDFCCF20}"/>
                    </a:ext>
                  </a:extLst>
                </p:cNvPr>
                <p:cNvSpPr txBox="1"/>
                <p:nvPr/>
              </p:nvSpPr>
              <p:spPr>
                <a:xfrm>
                  <a:off x="6286725" y="3519455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2</a:t>
                  </a:r>
                </a:p>
              </p:txBody>
            </p:sp>
            <p:sp>
              <p:nvSpPr>
                <p:cNvPr id="824" name="TextBox 823">
                  <a:extLst>
                    <a:ext uri="{FF2B5EF4-FFF2-40B4-BE49-F238E27FC236}">
                      <a16:creationId xmlns:a16="http://schemas.microsoft.com/office/drawing/2014/main" id="{F21AF786-2BA1-4AAE-A4C0-4BB5C79057DB}"/>
                    </a:ext>
                  </a:extLst>
                </p:cNvPr>
                <p:cNvSpPr txBox="1"/>
                <p:nvPr/>
              </p:nvSpPr>
              <p:spPr>
                <a:xfrm>
                  <a:off x="4727490" y="421659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27</a:t>
                  </a:r>
                </a:p>
              </p:txBody>
            </p:sp>
            <p:sp>
              <p:nvSpPr>
                <p:cNvPr id="825" name="TextBox 824">
                  <a:extLst>
                    <a:ext uri="{FF2B5EF4-FFF2-40B4-BE49-F238E27FC236}">
                      <a16:creationId xmlns:a16="http://schemas.microsoft.com/office/drawing/2014/main" id="{B972F54F-527D-4BA5-8B7C-75323D1086BF}"/>
                    </a:ext>
                  </a:extLst>
                </p:cNvPr>
                <p:cNvSpPr txBox="1"/>
                <p:nvPr/>
              </p:nvSpPr>
              <p:spPr>
                <a:xfrm>
                  <a:off x="5717452" y="380259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8</a:t>
                  </a:r>
                </a:p>
              </p:txBody>
            </p:sp>
            <p:sp>
              <p:nvSpPr>
                <p:cNvPr id="826" name="TextBox 825">
                  <a:extLst>
                    <a:ext uri="{FF2B5EF4-FFF2-40B4-BE49-F238E27FC236}">
                      <a16:creationId xmlns:a16="http://schemas.microsoft.com/office/drawing/2014/main" id="{860114DB-F1E7-46FC-A97C-56C353F4E383}"/>
                    </a:ext>
                  </a:extLst>
                </p:cNvPr>
                <p:cNvSpPr txBox="1"/>
                <p:nvPr/>
              </p:nvSpPr>
              <p:spPr>
                <a:xfrm>
                  <a:off x="4066708" y="469293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7</a:t>
                  </a:r>
                </a:p>
              </p:txBody>
            </p:sp>
            <p:sp>
              <p:nvSpPr>
                <p:cNvPr id="827" name="TextBox 826">
                  <a:extLst>
                    <a:ext uri="{FF2B5EF4-FFF2-40B4-BE49-F238E27FC236}">
                      <a16:creationId xmlns:a16="http://schemas.microsoft.com/office/drawing/2014/main" id="{442D217B-8D00-4597-9359-6312A831245B}"/>
                    </a:ext>
                  </a:extLst>
                </p:cNvPr>
                <p:cNvSpPr txBox="1"/>
                <p:nvPr/>
              </p:nvSpPr>
              <p:spPr>
                <a:xfrm>
                  <a:off x="6239830" y="3256518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8</a:t>
                  </a:r>
                </a:p>
              </p:txBody>
            </p:sp>
            <p:sp>
              <p:nvSpPr>
                <p:cNvPr id="828" name="TextBox 827">
                  <a:extLst>
                    <a:ext uri="{FF2B5EF4-FFF2-40B4-BE49-F238E27FC236}">
                      <a16:creationId xmlns:a16="http://schemas.microsoft.com/office/drawing/2014/main" id="{3DD619B1-37F7-4F27-9CCC-6A96A17D8C80}"/>
                    </a:ext>
                  </a:extLst>
                </p:cNvPr>
                <p:cNvSpPr txBox="1"/>
                <p:nvPr/>
              </p:nvSpPr>
              <p:spPr>
                <a:xfrm>
                  <a:off x="5324407" y="3892952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4</a:t>
                  </a:r>
                </a:p>
              </p:txBody>
            </p:sp>
            <p:sp>
              <p:nvSpPr>
                <p:cNvPr id="829" name="TextBox 828">
                  <a:extLst>
                    <a:ext uri="{FF2B5EF4-FFF2-40B4-BE49-F238E27FC236}">
                      <a16:creationId xmlns:a16="http://schemas.microsoft.com/office/drawing/2014/main" id="{07D706CE-1099-404F-AB59-3213C8C15545}"/>
                    </a:ext>
                  </a:extLst>
                </p:cNvPr>
                <p:cNvSpPr txBox="1"/>
                <p:nvPr/>
              </p:nvSpPr>
              <p:spPr>
                <a:xfrm>
                  <a:off x="4393042" y="4572327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</a:t>
                  </a:r>
                </a:p>
              </p:txBody>
            </p:sp>
            <p:sp>
              <p:nvSpPr>
                <p:cNvPr id="830" name="TextBox 829">
                  <a:extLst>
                    <a:ext uri="{FF2B5EF4-FFF2-40B4-BE49-F238E27FC236}">
                      <a16:creationId xmlns:a16="http://schemas.microsoft.com/office/drawing/2014/main" id="{4854E663-96B1-49D2-9E2E-CD6F786265F8}"/>
                    </a:ext>
                  </a:extLst>
                </p:cNvPr>
                <p:cNvSpPr txBox="1"/>
                <p:nvPr/>
              </p:nvSpPr>
              <p:spPr>
                <a:xfrm>
                  <a:off x="5884488" y="3852156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4</a:t>
                  </a:r>
                </a:p>
              </p:txBody>
            </p:sp>
            <p:sp>
              <p:nvSpPr>
                <p:cNvPr id="831" name="TextBox 830">
                  <a:extLst>
                    <a:ext uri="{FF2B5EF4-FFF2-40B4-BE49-F238E27FC236}">
                      <a16:creationId xmlns:a16="http://schemas.microsoft.com/office/drawing/2014/main" id="{87BB702D-FED4-4FF0-9D8D-3549CDD3525D}"/>
                    </a:ext>
                  </a:extLst>
                </p:cNvPr>
                <p:cNvSpPr txBox="1"/>
                <p:nvPr/>
              </p:nvSpPr>
              <p:spPr>
                <a:xfrm>
                  <a:off x="3275353" y="3153960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3</a:t>
                  </a:r>
                </a:p>
              </p:txBody>
            </p:sp>
            <p:sp>
              <p:nvSpPr>
                <p:cNvPr id="832" name="TextBox 831">
                  <a:extLst>
                    <a:ext uri="{FF2B5EF4-FFF2-40B4-BE49-F238E27FC236}">
                      <a16:creationId xmlns:a16="http://schemas.microsoft.com/office/drawing/2014/main" id="{AEDB8AC9-11A6-4CE7-8787-81B4F35285A3}"/>
                    </a:ext>
                  </a:extLst>
                </p:cNvPr>
                <p:cNvSpPr txBox="1"/>
                <p:nvPr/>
              </p:nvSpPr>
              <p:spPr>
                <a:xfrm>
                  <a:off x="1879428" y="3241971"/>
                  <a:ext cx="182880" cy="161899"/>
                </a:xfrm>
                <a:prstGeom prst="rect">
                  <a:avLst/>
                </a:prstGeom>
                <a:noFill/>
              </p:spPr>
              <p:txBody>
                <a:bodyPr wrap="square" lIns="9144" tIns="9144" rIns="9144" bIns="9144" rtlCol="0">
                  <a:spAutoFit/>
                </a:bodyPr>
                <a:lstStyle/>
                <a:p>
                  <a:pPr algn="ctr"/>
                  <a:r>
                    <a:rPr lang="en-US" sz="900"/>
                    <a:t>1</a:t>
                  </a:r>
                </a:p>
              </p:txBody>
            </p:sp>
          </p:grpSp>
          <p:sp>
            <p:nvSpPr>
              <p:cNvPr id="303" name="TextBox 302">
                <a:extLst>
                  <a:ext uri="{FF2B5EF4-FFF2-40B4-BE49-F238E27FC236}">
                    <a16:creationId xmlns:a16="http://schemas.microsoft.com/office/drawing/2014/main" id="{2864752D-55F9-4EFD-9D13-BBDFCFDF4470}"/>
                  </a:ext>
                </a:extLst>
              </p:cNvPr>
              <p:cNvSpPr txBox="1"/>
              <p:nvPr/>
            </p:nvSpPr>
            <p:spPr>
              <a:xfrm>
                <a:off x="5913739" y="5236611"/>
                <a:ext cx="183977" cy="156966"/>
              </a:xfrm>
              <a:prstGeom prst="rect">
                <a:avLst/>
              </a:prstGeom>
              <a:noFill/>
            </p:spPr>
            <p:txBody>
              <a:bodyPr wrap="square" lIns="9144" tIns="9144" rIns="9144" bIns="9144" rtlCol="0">
                <a:spAutoFit/>
              </a:bodyPr>
              <a:lstStyle/>
              <a:p>
                <a:pPr algn="ctr"/>
                <a:r>
                  <a:rPr lang="en-US" sz="900" dirty="0"/>
                  <a:t>3</a:t>
                </a:r>
              </a:p>
            </p:txBody>
          </p:sp>
        </p:grp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DB24DAE2-D98F-4DA9-827F-866F827BB0B5}"/>
                </a:ext>
              </a:extLst>
            </p:cNvPr>
            <p:cNvSpPr txBox="1"/>
            <p:nvPr/>
          </p:nvSpPr>
          <p:spPr>
            <a:xfrm>
              <a:off x="2102177" y="5259641"/>
              <a:ext cx="183977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/>
                <a:t>1</a:t>
              </a: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530943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8500" y="5875482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1294" y="2434711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Transaction Analysi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E75163A2-26E5-4FA8-819E-F809925EDC09}" type="slidenum">
              <a:rPr lang="en-US" smtClean="0"/>
              <a:t>4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0E8B799-7D55-4623-A727-5291A28BC627}"/>
              </a:ext>
            </a:extLst>
          </p:cNvPr>
          <p:cNvSpPr/>
          <p:nvPr/>
        </p:nvSpPr>
        <p:spPr>
          <a:xfrm>
            <a:off x="797816" y="2459837"/>
            <a:ext cx="62998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900" i="1">
                <a:solidFill>
                  <a:srgbClr val="145078"/>
                </a:solidFill>
              </a:rPr>
              <a:t>($ in millions)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49B5C28C-BD89-4940-BFBE-3A19A2B3AF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7922973"/>
              </p:ext>
            </p:extLst>
          </p:nvPr>
        </p:nvGraphicFramePr>
        <p:xfrm>
          <a:off x="726948" y="2612999"/>
          <a:ext cx="6318504" cy="276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67F96713-D82D-49FF-8528-054C342FA4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454882"/>
              </p:ext>
            </p:extLst>
          </p:nvPr>
        </p:nvGraphicFramePr>
        <p:xfrm>
          <a:off x="726332" y="6062666"/>
          <a:ext cx="6319737" cy="2702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AA84791C-8BD6-71D6-5A21-2822FD6F7B89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692834" y="2136053"/>
            <a:chExt cx="6422126" cy="30777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617BD3E-2B00-16DF-7B8C-8B7FCC5FEF52}"/>
                </a:ext>
              </a:extLst>
            </p:cNvPr>
            <p:cNvSpPr txBox="1"/>
            <p:nvPr/>
          </p:nvSpPr>
          <p:spPr>
            <a:xfrm>
              <a:off x="897040" y="2136053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Median Transaction Value (2000 – Mar 2024)</a:t>
              </a: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16D7183A-A9C5-98D5-458D-4E4148894C0E}"/>
                </a:ext>
              </a:extLst>
            </p:cNvPr>
            <p:cNvSpPr/>
            <p:nvPr/>
          </p:nvSpPr>
          <p:spPr>
            <a:xfrm>
              <a:off x="692834" y="219936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FEE6019-90AE-35EF-98F8-D939B88F9397}"/>
                </a:ext>
              </a:extLst>
            </p:cNvPr>
            <p:cNvCxnSpPr>
              <a:cxnSpLocks/>
            </p:cNvCxnSpPr>
            <p:nvPr/>
          </p:nvCxnSpPr>
          <p:spPr>
            <a:xfrm>
              <a:off x="4610100" y="2290902"/>
              <a:ext cx="2465922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CFCD03-7579-57A6-750A-FE8191CE19BB}"/>
              </a:ext>
            </a:extLst>
          </p:cNvPr>
          <p:cNvGrpSpPr/>
          <p:nvPr/>
        </p:nvGrpSpPr>
        <p:grpSpPr>
          <a:xfrm>
            <a:off x="692834" y="5571980"/>
            <a:ext cx="6383188" cy="307777"/>
            <a:chOff x="692834" y="5571980"/>
            <a:chExt cx="6383188" cy="30777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888980D-D05B-8B93-DD97-E4D66526F082}"/>
                </a:ext>
              </a:extLst>
            </p:cNvPr>
            <p:cNvSpPr txBox="1"/>
            <p:nvPr/>
          </p:nvSpPr>
          <p:spPr>
            <a:xfrm>
              <a:off x="897040" y="5571980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Median EV Multiples (2000 – Mar 2024) </a:t>
              </a: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BC774BE8-8B0C-7B72-D2D4-9A9A9925A29F}"/>
                </a:ext>
              </a:extLst>
            </p:cNvPr>
            <p:cNvSpPr/>
            <p:nvPr/>
          </p:nvSpPr>
          <p:spPr>
            <a:xfrm>
              <a:off x="692834" y="5635290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EAEE51B7-6893-E224-628F-F259FF0DE76C}"/>
                </a:ext>
              </a:extLst>
            </p:cNvPr>
            <p:cNvCxnSpPr>
              <a:cxnSpLocks/>
            </p:cNvCxnSpPr>
            <p:nvPr/>
          </p:nvCxnSpPr>
          <p:spPr>
            <a:xfrm>
              <a:off x="4295775" y="5726829"/>
              <a:ext cx="2780247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9F92AA8-9795-8C3C-C4B4-05C6FD638D76}"/>
              </a:ext>
            </a:extLst>
          </p:cNvPr>
          <p:cNvSpPr txBox="1"/>
          <p:nvPr/>
        </p:nvSpPr>
        <p:spPr>
          <a:xfrm>
            <a:off x="652532" y="8988789"/>
            <a:ext cx="5434370" cy="38779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2024 EV/EBITDA, EV/Revenue and Median Transaction value are shown as the average of the preceding years due to the presence of outliers; As of March 31, 2024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00780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82BC394-655A-1AB3-5AE9-48E7384745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387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BC394-655A-1AB3-5AE9-48E738474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8322526"/>
              </p:ext>
            </p:extLst>
          </p:nvPr>
        </p:nvGraphicFramePr>
        <p:xfrm>
          <a:off x="698500" y="5147353"/>
          <a:ext cx="6391656" cy="2350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2051110"/>
              </p:ext>
            </p:extLst>
          </p:nvPr>
        </p:nvGraphicFramePr>
        <p:xfrm>
          <a:off x="704088" y="2434711"/>
          <a:ext cx="6364224" cy="2368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Trading Analysi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E75163A2-26E5-4FA8-819E-F809925EDC09}" type="slidenum">
              <a:rPr lang="en-US" smtClean="0"/>
              <a:t>5</a:t>
            </a:fld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438B066-DC74-4B0D-8968-F83A498F5885}"/>
              </a:ext>
            </a:extLst>
          </p:cNvPr>
          <p:cNvSpPr txBox="1"/>
          <p:nvPr/>
        </p:nvSpPr>
        <p:spPr>
          <a:xfrm>
            <a:off x="642804" y="8988789"/>
            <a:ext cx="6002000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As of March 31, 202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8500" y="5147353"/>
            <a:ext cx="6386793" cy="23500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1294" y="2434711"/>
            <a:ext cx="6388100" cy="2346839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7193" y="7848600"/>
            <a:ext cx="6388100" cy="1126959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D59F816-09F3-4D14-8F8F-BC2486A22B76}"/>
              </a:ext>
            </a:extLst>
          </p:cNvPr>
          <p:cNvGrpSpPr/>
          <p:nvPr/>
        </p:nvGrpSpPr>
        <p:grpSpPr>
          <a:xfrm>
            <a:off x="690515" y="7534491"/>
            <a:ext cx="6386560" cy="307777"/>
            <a:chOff x="700040" y="4903282"/>
            <a:chExt cx="6386560" cy="307777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BC87724-FBC9-4FD3-8262-1304FF0B48DE}"/>
                </a:ext>
              </a:extLst>
            </p:cNvPr>
            <p:cNvSpPr txBox="1"/>
            <p:nvPr/>
          </p:nvSpPr>
          <p:spPr>
            <a:xfrm>
              <a:off x="904246" y="4903282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>
                  <a:solidFill>
                    <a:srgbClr val="145078"/>
                  </a:solidFill>
                </a:rPr>
                <a:t>Key</a:t>
              </a:r>
              <a:endParaRPr lang="en-US" sz="1400" b="1">
                <a:solidFill>
                  <a:srgbClr val="145078"/>
                </a:solidFill>
              </a:endParaRPr>
            </a:p>
          </p:txBody>
        </p:sp>
        <p:sp>
          <p:nvSpPr>
            <p:cNvPr id="59" name="Rectangle 13">
              <a:extLst>
                <a:ext uri="{FF2B5EF4-FFF2-40B4-BE49-F238E27FC236}">
                  <a16:creationId xmlns:a16="http://schemas.microsoft.com/office/drawing/2014/main" id="{335B1FCA-3A5E-405A-AA4F-75085E697733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0E9C10A3-4289-4987-923C-C420E3ADFE45}"/>
                </a:ext>
              </a:extLst>
            </p:cNvPr>
            <p:cNvCxnSpPr>
              <a:cxnSpLocks/>
            </p:cNvCxnSpPr>
            <p:nvPr/>
          </p:nvCxnSpPr>
          <p:spPr>
            <a:xfrm>
              <a:off x="1354999" y="5057170"/>
              <a:ext cx="5731601" cy="961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361965"/>
              </p:ext>
            </p:extLst>
          </p:nvPr>
        </p:nvGraphicFramePr>
        <p:xfrm>
          <a:off x="5835650" y="2535807"/>
          <a:ext cx="924046" cy="146685"/>
        </p:xfrm>
        <a:graphic>
          <a:graphicData uri="http://schemas.openxmlformats.org/drawingml/2006/table">
            <a:tbl>
              <a:tblPr/>
              <a:tblGrid>
                <a:gridCol w="9240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37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:  2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5" name="Table 74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577987"/>
              </p:ext>
            </p:extLst>
          </p:nvPr>
        </p:nvGraphicFramePr>
        <p:xfrm>
          <a:off x="5835650" y="5554770"/>
          <a:ext cx="859309" cy="152400"/>
        </p:xfrm>
        <a:graphic>
          <a:graphicData uri="http://schemas.openxmlformats.org/drawingml/2006/table">
            <a:tbl>
              <a:tblPr/>
              <a:tblGrid>
                <a:gridCol w="8593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:  16.6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68739D9A-3323-4875-858C-5D2FCCD66B99}"/>
              </a:ext>
            </a:extLst>
          </p:cNvPr>
          <p:cNvSpPr/>
          <p:nvPr/>
        </p:nvSpPr>
        <p:spPr>
          <a:xfrm>
            <a:off x="704925" y="8346670"/>
            <a:ext cx="6400725" cy="406265"/>
          </a:xfrm>
          <a:prstGeom prst="rect">
            <a:avLst/>
          </a:prstGeom>
        </p:spPr>
        <p:txBody>
          <a:bodyPr wrap="square" lIns="18288" tIns="18288" rIns="18288" bIns="18288">
            <a:spAutoFit/>
          </a:bodyPr>
          <a:lstStyle/>
          <a:p>
            <a:r>
              <a:rPr lang="en-US" sz="800" b="1" i="1">
                <a:solidFill>
                  <a:srgbClr val="000000"/>
                </a:solidFill>
              </a:rPr>
              <a:t>Peakstone Plastic, Metal and Glass Containers Index: </a:t>
            </a:r>
            <a:r>
              <a:rPr lang="en-US" sz="800" i="1">
                <a:solidFill>
                  <a:srgbClr val="000000"/>
                </a:solidFill>
              </a:rPr>
              <a:t>BALL, NWL, CCK, BERY, AVY, ATR, SLGN, OI, TUP, HUH1V, GEF, MYE</a:t>
            </a:r>
          </a:p>
          <a:p>
            <a:r>
              <a:rPr lang="en-US" sz="800" b="1" i="1">
                <a:solidFill>
                  <a:srgbClr val="000000"/>
                </a:solidFill>
              </a:rPr>
              <a:t>Peakstone Paper Packaging Index</a:t>
            </a:r>
            <a:r>
              <a:rPr lang="en-IN" sz="800" i="1">
                <a:solidFill>
                  <a:srgbClr val="000000"/>
                </a:solidFill>
              </a:rPr>
              <a:t>: IP, WRK, PKG, SEE, GPK, SON, UFPT</a:t>
            </a:r>
          </a:p>
          <a:p>
            <a:r>
              <a:rPr lang="en-IN" sz="800" b="1" i="1">
                <a:solidFill>
                  <a:srgbClr val="000000"/>
                </a:solidFill>
              </a:rPr>
              <a:t>Peakstone Paper Products Index</a:t>
            </a:r>
            <a:r>
              <a:rPr lang="en-IN" sz="800" i="1">
                <a:solidFill>
                  <a:srgbClr val="000000"/>
                </a:solidFill>
              </a:rPr>
              <a:t>: CLW, GLT, KMB, MERC</a:t>
            </a:r>
          </a:p>
        </p:txBody>
      </p:sp>
      <p:graphicFrame>
        <p:nvGraphicFramePr>
          <p:cNvPr id="38" name="Table 37"/>
          <p:cNvGraphicFramePr>
            <a:graphicFrameLocks noGrp="1"/>
          </p:cNvGraphicFramePr>
          <p:nvPr/>
        </p:nvGraphicFramePr>
        <p:xfrm>
          <a:off x="635075" y="7882057"/>
          <a:ext cx="3498776" cy="304800"/>
        </p:xfrm>
        <a:graphic>
          <a:graphicData uri="http://schemas.openxmlformats.org/drawingml/2006/table">
            <a:tbl>
              <a:tblPr/>
              <a:tblGrid>
                <a:gridCol w="3498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kern="1200" err="1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akstone</a:t>
                      </a:r>
                      <a:r>
                        <a:rPr lang="en-US" sz="900" b="1" i="0" u="none" strike="noStrike" kern="120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lastic, Metal and Glass Containers </a:t>
                      </a:r>
                      <a:r>
                        <a:rPr lang="en-US" sz="900" b="1" i="0" u="none" strike="noStrike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Index (“Plastic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err="1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eakstone</a:t>
                      </a:r>
                      <a:r>
                        <a:rPr lang="en-US" sz="9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Paper Packaging Index (“Paper Pack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/>
        </p:nvGraphicFramePr>
        <p:xfrm>
          <a:off x="4273550" y="7882057"/>
          <a:ext cx="2779993" cy="304800"/>
        </p:xfrm>
        <a:graphic>
          <a:graphicData uri="http://schemas.openxmlformats.org/drawingml/2006/table">
            <a:tbl>
              <a:tblPr/>
              <a:tblGrid>
                <a:gridCol w="27799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akstone</a:t>
                      </a:r>
                      <a:r>
                        <a:rPr lang="en-US" sz="900" b="1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Paper Products Index (“Paper Pro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41" name="Straight Connector 40"/>
          <p:cNvCxnSpPr/>
          <p:nvPr/>
        </p:nvCxnSpPr>
        <p:spPr>
          <a:xfrm>
            <a:off x="744599" y="7961950"/>
            <a:ext cx="196247" cy="0"/>
          </a:xfrm>
          <a:prstGeom prst="line">
            <a:avLst/>
          </a:prstGeom>
          <a:ln w="19050" cap="rnd">
            <a:solidFill>
              <a:srgbClr val="145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cxnSpLocks/>
          </p:cNvCxnSpPr>
          <p:nvPr/>
        </p:nvCxnSpPr>
        <p:spPr>
          <a:xfrm>
            <a:off x="744599" y="8130089"/>
            <a:ext cx="196247" cy="0"/>
          </a:xfrm>
          <a:prstGeom prst="line">
            <a:avLst/>
          </a:prstGeom>
          <a:ln w="19050" cap="rnd">
            <a:solidFill>
              <a:srgbClr val="99B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4367821" y="7961950"/>
            <a:ext cx="196247" cy="0"/>
          </a:xfrm>
          <a:prstGeom prst="line">
            <a:avLst/>
          </a:prstGeom>
          <a:ln w="1905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4367821" y="8130089"/>
            <a:ext cx="196247" cy="0"/>
          </a:xfrm>
          <a:prstGeom prst="line">
            <a:avLst/>
          </a:prstGeom>
          <a:ln w="19050" cap="rnd">
            <a:solidFill>
              <a:srgbClr val="66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80762"/>
              </p:ext>
            </p:extLst>
          </p:nvPr>
        </p:nvGraphicFramePr>
        <p:xfrm>
          <a:off x="5835650" y="6273422"/>
          <a:ext cx="1094111" cy="146685"/>
        </p:xfrm>
        <a:graphic>
          <a:graphicData uri="http://schemas.openxmlformats.org/drawingml/2006/table">
            <a:tbl>
              <a:tblPr/>
              <a:tblGrid>
                <a:gridCol w="1094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44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Plastic:</a:t>
                      </a:r>
                      <a:r>
                        <a:rPr lang="en-US" sz="900" b="1" i="0" u="none" strike="noStrike" baseline="0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  8.7</a:t>
                      </a:r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/>
        </p:nvGraphicFramePr>
        <p:xfrm>
          <a:off x="5835650" y="6380314"/>
          <a:ext cx="1188717" cy="152400"/>
        </p:xfrm>
        <a:graphic>
          <a:graphicData uri="http://schemas.openxmlformats.org/drawingml/2006/table">
            <a:tbl>
              <a:tblPr/>
              <a:tblGrid>
                <a:gridCol w="1188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aper</a:t>
                      </a:r>
                      <a:r>
                        <a:rPr lang="en-US" sz="900" b="1" i="0" u="none" strike="noStrike" baseline="0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Pack</a:t>
                      </a:r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r>
                        <a:rPr lang="en-US" sz="900" b="1" i="0" u="none" strike="noStrike" baseline="0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 7.8x</a:t>
                      </a:r>
                      <a:endParaRPr lang="en-US" sz="900" b="1" i="0" u="none" strike="noStrike" dirty="0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605604"/>
              </p:ext>
            </p:extLst>
          </p:nvPr>
        </p:nvGraphicFramePr>
        <p:xfrm>
          <a:off x="5835650" y="6148540"/>
          <a:ext cx="1188718" cy="152400"/>
        </p:xfrm>
        <a:graphic>
          <a:graphicData uri="http://schemas.openxmlformats.org/drawingml/2006/table">
            <a:tbl>
              <a:tblPr/>
              <a:tblGrid>
                <a:gridCol w="1188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aper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Pro</a:t>
                      </a:r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10.4x</a:t>
                      </a:r>
                      <a:endParaRPr lang="en-US" sz="9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2" name="Table 71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953786"/>
              </p:ext>
            </p:extLst>
          </p:nvPr>
        </p:nvGraphicFramePr>
        <p:xfrm>
          <a:off x="5835650" y="3222847"/>
          <a:ext cx="1094111" cy="146685"/>
        </p:xfrm>
        <a:graphic>
          <a:graphicData uri="http://schemas.openxmlformats.org/drawingml/2006/table">
            <a:tbl>
              <a:tblPr/>
              <a:tblGrid>
                <a:gridCol w="1094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44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Plastic:</a:t>
                      </a:r>
                      <a:r>
                        <a:rPr lang="en-US" sz="900" b="1" i="0" u="none" strike="noStrike" baseline="0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1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3" name="Table 72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049775"/>
              </p:ext>
            </p:extLst>
          </p:nvPr>
        </p:nvGraphicFramePr>
        <p:xfrm>
          <a:off x="5835650" y="3645762"/>
          <a:ext cx="1188717" cy="152400"/>
        </p:xfrm>
        <a:graphic>
          <a:graphicData uri="http://schemas.openxmlformats.org/drawingml/2006/table">
            <a:tbl>
              <a:tblPr/>
              <a:tblGrid>
                <a:gridCol w="1188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aper</a:t>
                      </a:r>
                      <a:r>
                        <a:rPr lang="en-US" sz="900" b="1" i="0" u="none" strike="noStrike" baseline="0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Pack</a:t>
                      </a:r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r>
                        <a:rPr lang="en-US" sz="900" b="1" i="0" u="none" strike="noStrike" baseline="0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 40%</a:t>
                      </a:r>
                      <a:endParaRPr lang="en-US" sz="900" b="1" i="0" u="none" strike="noStrike" dirty="0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76" name="Table 75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344281"/>
              </p:ext>
            </p:extLst>
          </p:nvPr>
        </p:nvGraphicFramePr>
        <p:xfrm>
          <a:off x="5835650" y="4027195"/>
          <a:ext cx="1188718" cy="152400"/>
        </p:xfrm>
        <a:graphic>
          <a:graphicData uri="http://schemas.openxmlformats.org/drawingml/2006/table">
            <a:tbl>
              <a:tblPr/>
              <a:tblGrid>
                <a:gridCol w="1188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aper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Pro</a:t>
                      </a:r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(28%)</a:t>
                      </a:r>
                      <a:endParaRPr lang="en-US" sz="900" b="1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A55CF7D4-D36C-CEB5-D587-70A849B0573A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692834" y="2136053"/>
            <a:chExt cx="6422126" cy="3077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6CB9CA8-14E2-47A0-E483-8EB136955A34}"/>
                </a:ext>
              </a:extLst>
            </p:cNvPr>
            <p:cNvSpPr txBox="1"/>
            <p:nvPr/>
          </p:nvSpPr>
          <p:spPr>
            <a:xfrm>
              <a:off x="897040" y="2136053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Relative Stock Performance (2013 – Mar 2024)</a:t>
              </a: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BB1D1F9F-7983-D7E1-881E-41E7E436A18B}"/>
                </a:ext>
              </a:extLst>
            </p:cNvPr>
            <p:cNvSpPr/>
            <p:nvPr/>
          </p:nvSpPr>
          <p:spPr>
            <a:xfrm>
              <a:off x="692834" y="219936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820E5E8-2E09-21D1-8C19-15E38A268B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95825" y="2290902"/>
              <a:ext cx="2385998" cy="1066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5E98741-6BEA-199E-EC39-E578116E4610}"/>
              </a:ext>
            </a:extLst>
          </p:cNvPr>
          <p:cNvGrpSpPr/>
          <p:nvPr/>
        </p:nvGrpSpPr>
        <p:grpSpPr>
          <a:xfrm>
            <a:off x="692834" y="4844607"/>
            <a:ext cx="6388989" cy="307777"/>
            <a:chOff x="692834" y="4844607"/>
            <a:chExt cx="6388989" cy="30777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1FF7001-CDF6-5C0F-8BD9-40A1866E189F}"/>
                </a:ext>
              </a:extLst>
            </p:cNvPr>
            <p:cNvSpPr txBox="1"/>
            <p:nvPr/>
          </p:nvSpPr>
          <p:spPr>
            <a:xfrm>
              <a:off x="897040" y="4844607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 dirty="0">
                  <a:solidFill>
                    <a:srgbClr val="145078"/>
                  </a:solidFill>
                </a:rPr>
                <a:t>EV/EBITDA Trend (2013 – Mar 2024) </a:t>
              </a:r>
              <a:endParaRPr lang="en-US" sz="1400" b="1" dirty="0">
                <a:solidFill>
                  <a:srgbClr val="145078"/>
                </a:solidFill>
              </a:endParaRPr>
            </a:p>
          </p:txBody>
        </p: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id="{55F21B79-4089-B6A6-2D62-02C4902F9BFA}"/>
                </a:ext>
              </a:extLst>
            </p:cNvPr>
            <p:cNvSpPr/>
            <p:nvPr/>
          </p:nvSpPr>
          <p:spPr>
            <a:xfrm>
              <a:off x="692834" y="4907917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4695998-6E52-4035-9FE8-757DAE8C6E56}"/>
                </a:ext>
              </a:extLst>
            </p:cNvPr>
            <p:cNvCxnSpPr>
              <a:cxnSpLocks/>
            </p:cNvCxnSpPr>
            <p:nvPr/>
          </p:nvCxnSpPr>
          <p:spPr>
            <a:xfrm>
              <a:off x="3971925" y="5008017"/>
              <a:ext cx="3109898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290398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Selected Transactions</a:t>
            </a:r>
          </a:p>
        </p:txBody>
      </p:sp>
      <p:graphicFrame>
        <p:nvGraphicFramePr>
          <p:cNvPr id="20" name="Table 3">
            <a:extLst>
              <a:ext uri="{FF2B5EF4-FFF2-40B4-BE49-F238E27FC236}">
                <a16:creationId xmlns:a16="http://schemas.microsoft.com/office/drawing/2014/main" id="{4B0B7E55-D9B9-4999-8420-171EED5B57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226824"/>
              </p:ext>
            </p:extLst>
          </p:nvPr>
        </p:nvGraphicFramePr>
        <p:xfrm>
          <a:off x="681265" y="2166505"/>
          <a:ext cx="6395809" cy="655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3658">
                  <a:extLst>
                    <a:ext uri="{9D8B030D-6E8A-4147-A177-3AD203B41FA5}">
                      <a16:colId xmlns:a16="http://schemas.microsoft.com/office/drawing/2014/main" val="3767021102"/>
                    </a:ext>
                  </a:extLst>
                </a:gridCol>
                <a:gridCol w="770665">
                  <a:extLst>
                    <a:ext uri="{9D8B030D-6E8A-4147-A177-3AD203B41FA5}">
                      <a16:colId xmlns:a16="http://schemas.microsoft.com/office/drawing/2014/main" val="3349122845"/>
                    </a:ext>
                  </a:extLst>
                </a:gridCol>
                <a:gridCol w="856204">
                  <a:extLst>
                    <a:ext uri="{9D8B030D-6E8A-4147-A177-3AD203B41FA5}">
                      <a16:colId xmlns:a16="http://schemas.microsoft.com/office/drawing/2014/main" val="2665152498"/>
                    </a:ext>
                  </a:extLst>
                </a:gridCol>
                <a:gridCol w="625719">
                  <a:extLst>
                    <a:ext uri="{9D8B030D-6E8A-4147-A177-3AD203B41FA5}">
                      <a16:colId xmlns:a16="http://schemas.microsoft.com/office/drawing/2014/main" val="291302194"/>
                    </a:ext>
                  </a:extLst>
                </a:gridCol>
                <a:gridCol w="15594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300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9142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Buyer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Deal Size </a:t>
                      </a:r>
                    </a:p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($mm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bg1"/>
                          </a:solidFill>
                        </a:rPr>
                        <a:t>Target</a:t>
                      </a:r>
                      <a:r>
                        <a:rPr lang="en-US" sz="800" baseline="0">
                          <a:solidFill>
                            <a:schemeClr val="bg1"/>
                          </a:solidFill>
                        </a:rPr>
                        <a:t> Description</a:t>
                      </a:r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>
                          <a:solidFill>
                            <a:schemeClr val="bg1"/>
                          </a:solidFill>
                        </a:rPr>
                        <a:t>Transaction Comments</a:t>
                      </a:r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161853"/>
                  </a:ext>
                </a:extLst>
              </a:tr>
              <a:tr h="619770">
                <a:tc>
                  <a:txBody>
                    <a:bodyPr/>
                    <a:lstStyle/>
                    <a:p>
                      <a:pPr algn="l"/>
                      <a:r>
                        <a:rPr lang="en-US" sz="800" b="0" dirty="0">
                          <a:latin typeface="+mn-lt"/>
                        </a:rPr>
                        <a:t>Feb-2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phic Packaging (Paperboard facility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earwater Paper Corporation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0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phic Packaging operates as a manufacturing facility of paper-based packaging solutions</a:t>
                      </a:r>
                      <a:endParaRPr lang="en-IN" sz="800" b="0" kern="1200" dirty="0">
                        <a:solidFill>
                          <a:schemeClr val="dk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arwater Paper Corporation acquired Paperboard manufacturing facility of Graphic Packaging Holding Company for $700 million on February 19, 2024</a:t>
                      </a:r>
                      <a:endParaRPr lang="en-US" sz="800" b="0" kern="1200" dirty="0">
                        <a:solidFill>
                          <a:schemeClr val="dk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84502"/>
                  </a:ext>
                </a:extLst>
              </a:tr>
              <a:tr h="666543">
                <a:tc>
                  <a:txBody>
                    <a:bodyPr/>
                    <a:lstStyle/>
                    <a:p>
                      <a:pPr algn="l"/>
                      <a:r>
                        <a:rPr lang="en-US" sz="800" b="0" dirty="0">
                          <a:latin typeface="+mn-lt"/>
                        </a:rPr>
                        <a:t>Feb-2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olidated Container Company (All Assets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WAY Corporation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5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olidated Container Company operates as a steel and plastic container manufacturing business</a:t>
                      </a:r>
                      <a:endParaRPr lang="en-IN" sz="800" b="0" kern="1200" dirty="0">
                        <a:solidFill>
                          <a:schemeClr val="dk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WAY Corporation acquired substantially all the assets of Consolidated Container Company for $56 million on February 1, 2024</a:t>
                      </a:r>
                      <a:endParaRPr lang="en-US" sz="800" b="0" kern="1200" dirty="0">
                        <a:solidFill>
                          <a:schemeClr val="dk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048453"/>
                  </a:ext>
                </a:extLst>
              </a:tr>
              <a:tr h="730023">
                <a:tc>
                  <a:txBody>
                    <a:bodyPr/>
                    <a:lstStyle/>
                    <a:p>
                      <a:pPr algn="l"/>
                      <a:r>
                        <a:rPr lang="en-US" sz="800" b="0" dirty="0">
                          <a:latin typeface="+mn-lt"/>
                        </a:rPr>
                        <a:t>Oct-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ypsum Paper Board Liner Manufacturing Facilit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gnie de Saint-Gobain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ypsum paper operates as a paper board liner manufacturing facility</a:t>
                      </a:r>
                      <a:endParaRPr lang="en-IN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agnie de Saint-Gobain acquired the remaining minority stake in the Gypsum paper board liner manufacturing facility in Lynchburg, Virginia from WestRock Company for $11 million on October 2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791448"/>
                  </a:ext>
                </a:extLst>
              </a:tr>
              <a:tr h="666543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latin typeface="+mn-lt"/>
                        </a:rPr>
                        <a:t>Sep-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stRock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urfit Kappa Group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1,50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stRock Company, together with its subsidiaries, provides fiber-based paper and packaging solutions </a:t>
                      </a:r>
                      <a:endParaRPr lang="en-IN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urfit Kappa Group entered into a definitive transaction agreement to acquire WestRock Company for $11.5 billion on September 7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3611">
                <a:tc>
                  <a:txBody>
                    <a:bodyPr/>
                    <a:lstStyle/>
                    <a:p>
                      <a:pPr algn="l"/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ug-2023</a:t>
                      </a:r>
                      <a:endParaRPr lang="en-US" sz="800" b="0">
                        <a:latin typeface="+mn-lt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ePak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if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75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ePak</a:t>
                      </a:r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nufactures interior paper packing partitions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if  acquired 51% of the ownership interest in </a:t>
                      </a:r>
                      <a:r>
                        <a:rPr lang="en-US" sz="8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lePak</a:t>
                      </a:r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rom Jason and Ryan Cole for $75 million on August 23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634729"/>
                  </a:ext>
                </a:extLst>
              </a:tr>
              <a:tr h="603063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ug-2023</a:t>
                      </a:r>
                      <a:endParaRPr lang="en-US" sz="800" b="0">
                        <a:latin typeface="+mn-lt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ll Incorporated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phic Packaging Holding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6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ll Incorporated manufactures and supplies folding cartons in the United States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phic Packaging Holding Company entered into a definitive agreement to acquire Bell Incorporated for approximately $263 million on August 1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122968"/>
                  </a:ext>
                </a:extLst>
              </a:tr>
              <a:tr h="856984">
                <a:tc>
                  <a:txBody>
                    <a:bodyPr/>
                    <a:lstStyle/>
                    <a:p>
                      <a:pPr marL="0" marR="0" lvl="0" indent="0" algn="l" defTabSz="777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ug-2023</a:t>
                      </a:r>
                      <a:endParaRPr lang="en-US" sz="800" b="0">
                        <a:latin typeface="+mn-lt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oco Products Company (U.S. </a:t>
                      </a:r>
                      <a:r>
                        <a:rPr lang="en-US" sz="8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lkSak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usinesses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disclosed Buyer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72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oco Products Company </a:t>
                      </a:r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vides diversified consumer packaging, industrial products, protective packaging, and packaging supply chain services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 undisclosed buyer acquired U.S. </a:t>
                      </a:r>
                      <a:r>
                        <a:rPr lang="en-US" sz="8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lkSak</a:t>
                      </a:r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usinesses from Sonoco Products Company for $21 million on August 1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230701"/>
                  </a:ext>
                </a:extLst>
              </a:tr>
              <a:tr h="609736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latin typeface="+mn-lt"/>
                        </a:rPr>
                        <a:t>May-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trum Plastics Group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uPont de Nemour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1,750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ctrum Plastics Group manufactures specialty packaging products for food and industrial markets 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Pont de Nemours entered into a definitive agreement to acquire Spectrum Plastics Group from AEA Investors LP for $1.8 billion on May 2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4634676"/>
                  </a:ext>
                </a:extLst>
              </a:tr>
              <a:tr h="812980">
                <a:tc>
                  <a:txBody>
                    <a:bodyPr/>
                    <a:lstStyle/>
                    <a:p>
                      <a:pPr algn="l"/>
                      <a:r>
                        <a:rPr lang="en-US" sz="800" b="0">
                          <a:latin typeface="+mn-lt"/>
                        </a:rPr>
                        <a:t>Nov-202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e Container Corporation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eif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00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b" latinLnBrk="0" hangingPunct="1"/>
                      <a:r>
                        <a:rPr lang="en-US" sz="8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e Container Corporation operates as a containers and packaging (metal, glass, and plastic) company</a:t>
                      </a:r>
                      <a:endParaRPr lang="en-IN" sz="8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latinLnBrk="0" hangingPunct="1"/>
                      <a:r>
                        <a:rPr lang="en-US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if entered into a definitive agreement to acquire Lee Container Corporation for $300 million on November 9, 202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4411070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E75163A2-26E5-4FA8-819E-F809925EDC09}" type="slidenum">
              <a:rPr lang="en-US" smtClean="0"/>
              <a:t>6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B0DC63-AF6D-CD9C-D1E0-90865EAD2E37}"/>
              </a:ext>
            </a:extLst>
          </p:cNvPr>
          <p:cNvSpPr txBox="1"/>
          <p:nvPr/>
        </p:nvSpPr>
        <p:spPr>
          <a:xfrm>
            <a:off x="642804" y="8987841"/>
            <a:ext cx="6002000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/>
              <a:t>Source: Capital IQ</a:t>
            </a:r>
          </a:p>
          <a:p>
            <a:r>
              <a:rPr lang="en-US" sz="800" i="1"/>
              <a:t>Note: Selected transactions have transaction value greater than $5 million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28509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a 6 6 a f b 6 e - d 2 4 7 - 4 f 7 b - 9 c 3 a - 5 6 4 a d 5 0 5 c 3 c b < / I d >  
 < / I d W r a p p e r > 
</file>

<file path=customXml/item10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7 9 9 e 5 1 3 0 - 7 c 3 e - 4 4 6 b - 8 5 c f - d 4 2 0 b c c 3 a d 9 d < / I d >  
 < / I d W r a p p e r > 
</file>

<file path=customXml/item2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7 7 4 e 6 b d 9 - 5 3 a 6 - 4 f 0 c - 9 2 3 7 - 5 1 3 7 3 4 c 0 c 1 6 3 < / I d >  
 < / I d W r a p p e r > 
</file>

<file path=customXml/item3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7 9 9 e 5 1 3 0 - 7 c 3 e - 4 4 6 b - 8 5 c f - d 4 2 0 b c c 3 a d 9 d < / I d >  
 < / I d W r a p p e r > 
</file>

<file path=customXml/item4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a 6 6 a f b 6 e - d 2 4 7 - 4 f 7 b - 9 c 3 a - 5 6 4 a d 5 0 5 c 3 c b < / I d >  
 < / I d W r a p p e r > 
</file>

<file path=customXml/item5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7 1 a 1 3 f e 3 - 6 c 7 d - 4 d d 6 - b 6 7 1 - c c 5 e 1 8 9 7 e b 5 4 < / I d >  
 < / I d W r a p p e r > 
</file>

<file path=customXml/item6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a 2 3 7 d 2 e 3 - 2 d 3 7 - 4 5 5 9 - 9 f e 2 - f 1 9 b 2 9 b 6 f e f 2 < / I d >  
 < / I d W r a p p e r > 
</file>

<file path=customXml/item7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a 6 6 a f b 6 e - d 2 4 7 - 4 f 7 b - 9 c 3 a - 5 6 4 a d 5 0 5 c 3 c b < / I d >  
 < / I d W r a p p e r > 
</file>

<file path=customXml/item8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f b e 8 6 a 1 4 - 1 3 3 0 - 4 c b 8 - 8 9 5 6 - 2 8 9 2 c 5 e 6 8 8 9 c < / I d >  
 < / I d W r a p p e r > 
</file>

<file path=customXml/item9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7 1 a 1 3 f e 3 - 6 c 7 d - 4 d d 6 - b 6 7 1 - c c 5 e 1 8 9 7 e b 5 4 < / I d >  
 < / I d W r a p p e r > 
</file>

<file path=customXml/itemProps1.xml><?xml version="1.0" encoding="utf-8"?>
<ds:datastoreItem xmlns:ds="http://schemas.openxmlformats.org/officeDocument/2006/customXml" ds:itemID="{2075C6C8-9046-49D4-B94C-47B45AE8DC76}">
  <ds:schemaRefs>
    <ds:schemaRef ds:uri="http://www.w3.org/2001/XMLSchema"/>
    <ds:schemaRef ds:uri="pb-wrapper"/>
  </ds:schemaRefs>
</ds:datastoreItem>
</file>

<file path=customXml/itemProps10.xml><?xml version="1.0" encoding="utf-8"?>
<ds:datastoreItem xmlns:ds="http://schemas.openxmlformats.org/officeDocument/2006/customXml" ds:itemID="{9A54C857-891D-4398-86D4-CC0DB1039587}">
  <ds:schemaRefs>
    <ds:schemaRef ds:uri="http://www.w3.org/2001/XMLSchema"/>
    <ds:schemaRef ds:uri="pb-wrapper"/>
  </ds:schemaRefs>
</ds:datastoreItem>
</file>

<file path=customXml/itemProps2.xml><?xml version="1.0" encoding="utf-8"?>
<ds:datastoreItem xmlns:ds="http://schemas.openxmlformats.org/officeDocument/2006/customXml" ds:itemID="{7114FAEB-2740-458A-AFD8-392E13EB8F25}">
  <ds:schemaRefs>
    <ds:schemaRef ds:uri="http://www.w3.org/2001/XMLSchema"/>
    <ds:schemaRef ds:uri="pb-wrapper"/>
  </ds:schemaRefs>
</ds:datastoreItem>
</file>

<file path=customXml/itemProps3.xml><?xml version="1.0" encoding="utf-8"?>
<ds:datastoreItem xmlns:ds="http://schemas.openxmlformats.org/officeDocument/2006/customXml" ds:itemID="{954B3187-F94B-4EE5-8D46-64B521C751C6}">
  <ds:schemaRefs>
    <ds:schemaRef ds:uri="http://www.w3.org/2001/XMLSchema"/>
    <ds:schemaRef ds:uri="pb-wrapper"/>
  </ds:schemaRefs>
</ds:datastoreItem>
</file>

<file path=customXml/itemProps4.xml><?xml version="1.0" encoding="utf-8"?>
<ds:datastoreItem xmlns:ds="http://schemas.openxmlformats.org/officeDocument/2006/customXml" ds:itemID="{03B522B1-8BFD-46AC-9871-D7F6F34CDE55}">
  <ds:schemaRefs>
    <ds:schemaRef ds:uri="http://www.w3.org/2001/XMLSchema"/>
    <ds:schemaRef ds:uri="pb-wrapper"/>
  </ds:schemaRefs>
</ds:datastoreItem>
</file>

<file path=customXml/itemProps5.xml><?xml version="1.0" encoding="utf-8"?>
<ds:datastoreItem xmlns:ds="http://schemas.openxmlformats.org/officeDocument/2006/customXml" ds:itemID="{5A10198E-D474-4700-8F44-8580287D5420}">
  <ds:schemaRefs>
    <ds:schemaRef ds:uri="http://www.w3.org/2001/XMLSchema"/>
    <ds:schemaRef ds:uri="pb-wrapper"/>
  </ds:schemaRefs>
</ds:datastoreItem>
</file>

<file path=customXml/itemProps6.xml><?xml version="1.0" encoding="utf-8"?>
<ds:datastoreItem xmlns:ds="http://schemas.openxmlformats.org/officeDocument/2006/customXml" ds:itemID="{7C65025D-E10C-4FD4-9147-BBFC68E3D5F8}">
  <ds:schemaRefs>
    <ds:schemaRef ds:uri="http://www.w3.org/2001/XMLSchema"/>
    <ds:schemaRef ds:uri="pb-wrapper"/>
  </ds:schemaRefs>
</ds:datastoreItem>
</file>

<file path=customXml/itemProps7.xml><?xml version="1.0" encoding="utf-8"?>
<ds:datastoreItem xmlns:ds="http://schemas.openxmlformats.org/officeDocument/2006/customXml" ds:itemID="{A097E390-DC45-4B54-8F00-F3831B68F5C4}">
  <ds:schemaRefs>
    <ds:schemaRef ds:uri="http://www.w3.org/2001/XMLSchema"/>
    <ds:schemaRef ds:uri="pb-wrapper"/>
  </ds:schemaRefs>
</ds:datastoreItem>
</file>

<file path=customXml/itemProps8.xml><?xml version="1.0" encoding="utf-8"?>
<ds:datastoreItem xmlns:ds="http://schemas.openxmlformats.org/officeDocument/2006/customXml" ds:itemID="{764B3BF4-48AB-4501-A25A-E8D37304C02D}">
  <ds:schemaRefs>
    <ds:schemaRef ds:uri="http://www.w3.org/2001/XMLSchema"/>
    <ds:schemaRef ds:uri="pb-wrapper"/>
  </ds:schemaRefs>
</ds:datastoreItem>
</file>

<file path=customXml/itemProps9.xml><?xml version="1.0" encoding="utf-8"?>
<ds:datastoreItem xmlns:ds="http://schemas.openxmlformats.org/officeDocument/2006/customXml" ds:itemID="{DC179FA7-BF65-41B9-B096-EFD9316CE42D}">
  <ds:schemaRefs>
    <ds:schemaRef ds:uri="http://www.w3.org/2001/XMLSchema"/>
    <ds:schemaRef ds:uri="pb-wrapper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2</TotalTime>
  <Words>978</Words>
  <Application>Microsoft Office PowerPoint</Application>
  <PresentationFormat>Custom</PresentationFormat>
  <Paragraphs>20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ＭＳ Ｐゴシック</vt:lpstr>
      <vt:lpstr>ＭＳ Ｐゴシック</vt:lpstr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rendra</dc:creator>
  <cp:lastModifiedBy>Jessica Macias</cp:lastModifiedBy>
  <cp:revision>2</cp:revision>
  <dcterms:created xsi:type="dcterms:W3CDTF">2021-09-20T04:45:17Z</dcterms:created>
  <dcterms:modified xsi:type="dcterms:W3CDTF">2024-07-09T19:24:40Z</dcterms:modified>
</cp:coreProperties>
</file>